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diagrams/data1.xml" ContentType="application/vnd.openxmlformats-officedocument.drawingml.diagramData+xml"/>
  <Override PartName="/ppt/diagrams/data4.xml" ContentType="application/vnd.openxmlformats-officedocument.drawingml.diagramData+xml"/>
  <Override PartName="/ppt/diagrams/data3.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2.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2.xml" ContentType="application/vnd.openxmlformats-officedocument.presentationml.slide+xml"/>
  <Override PartName="/ppt/slides/slide51.xml" ContentType="application/vnd.openxmlformats-officedocument.presentationml.slide+xml"/>
  <Override PartName="/ppt/slides/slide50.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90.xml" ContentType="application/vnd.openxmlformats-officedocument.presentationml.slide+xml"/>
  <Override PartName="/ppt/slides/slide89.xml" ContentType="application/vnd.openxmlformats-officedocument.presentationml.slide+xml"/>
  <Override PartName="/ppt/slides/slide88.xml" ContentType="application/vnd.openxmlformats-officedocument.presentationml.slide+xml"/>
  <Override PartName="/ppt/slides/slide1.xml" ContentType="application/vnd.openxmlformats-officedocument.presentationml.slide+xml"/>
  <Override PartName="/ppt/slides/slide86.xml" ContentType="application/vnd.openxmlformats-officedocument.presentationml.slide+xml"/>
  <Override PartName="/ppt/slides/slide85.xml" ContentType="application/vnd.openxmlformats-officedocument.presentationml.slide+xml"/>
  <Override PartName="/ppt/slides/slide84.xml" ContentType="application/vnd.openxmlformats-officedocument.presentationml.slide+xml"/>
  <Override PartName="/ppt/slides/slide83.xml" ContentType="application/vnd.openxmlformats-officedocument.presentationml.slide+xml"/>
  <Override PartName="/ppt/slides/slide82.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s/slide100.xml" ContentType="application/vnd.openxmlformats-officedocument.presentationml.slide+xml"/>
  <Override PartName="/ppt/slides/slide99.xml" ContentType="application/vnd.openxmlformats-officedocument.presentationml.slide+xml"/>
  <Override PartName="/ppt/slides/slide98.xml" ContentType="application/vnd.openxmlformats-officedocument.presentationml.slide+xml"/>
  <Override PartName="/ppt/slides/slide97.xml" ContentType="application/vnd.openxmlformats-officedocument.presentationml.slide+xml"/>
  <Override PartName="/ppt/slides/slide96.xml" ContentType="application/vnd.openxmlformats-officedocument.presentationml.slide+xml"/>
  <Override PartName="/ppt/slides/slide95.xml" ContentType="application/vnd.openxmlformats-officedocument.presentationml.slide+xml"/>
  <Override PartName="/ppt/slides/slide94.xml" ContentType="application/vnd.openxmlformats-officedocument.presentationml.slide+xml"/>
  <Override PartName="/ppt/slides/slide81.xml" ContentType="application/vnd.openxmlformats-officedocument.presentationml.slide+xml"/>
  <Override PartName="/ppt/slides/slide87.xml" ContentType="application/vnd.openxmlformats-officedocument.presentationml.slide+xml"/>
  <Override PartName="/ppt/slides/slide79.xml" ContentType="application/vnd.openxmlformats-officedocument.presentationml.slide+xml"/>
  <Override PartName="/ppt/slides/slide67.xml" ContentType="application/vnd.openxmlformats-officedocument.presentationml.slide+xml"/>
  <Override PartName="/ppt/slides/slide66.xml" ContentType="application/vnd.openxmlformats-officedocument.presentationml.slide+xml"/>
  <Override PartName="/ppt/slides/slide65.xml" ContentType="application/vnd.openxmlformats-officedocument.presentationml.slide+xml"/>
  <Override PartName="/ppt/slides/slide64.xml" ContentType="application/vnd.openxmlformats-officedocument.presentationml.slide+xml"/>
  <Override PartName="/ppt/slides/slide80.xml" ContentType="application/vnd.openxmlformats-officedocument.presentationml.slide+xml"/>
  <Override PartName="/ppt/slides/slide62.xml" ContentType="application/vnd.openxmlformats-officedocument.presentationml.slide+xml"/>
  <Override PartName="/ppt/slides/slide61.xml" ContentType="application/vnd.openxmlformats-officedocument.presentationml.slide+xml"/>
  <Override PartName="/ppt/slides/slide60.xml" ContentType="application/vnd.openxmlformats-officedocument.presentationml.slide+xml"/>
  <Override PartName="/ppt/slides/slide68.xml" ContentType="application/vnd.openxmlformats-officedocument.presentationml.slide+xml"/>
  <Override PartName="/ppt/slides/slide63.xml" ContentType="application/vnd.openxmlformats-officedocument.presentationml.slide+xml"/>
  <Override PartName="/ppt/slides/slide70.xml" ContentType="application/vnd.openxmlformats-officedocument.presentationml.slide+xml"/>
  <Override PartName="/ppt/slides/slide69.xml" ContentType="application/vnd.openxmlformats-officedocument.presentationml.slide+xml"/>
  <Override PartName="/ppt/slides/slide77.xml" ContentType="application/vnd.openxmlformats-officedocument.presentationml.slide+xml"/>
  <Override PartName="/ppt/slides/slide76.xml" ContentType="application/vnd.openxmlformats-officedocument.presentationml.slide+xml"/>
  <Override PartName="/ppt/slides/slide75.xml" ContentType="application/vnd.openxmlformats-officedocument.presentationml.slide+xml"/>
  <Override PartName="/ppt/slides/slide78.xml" ContentType="application/vnd.openxmlformats-officedocument.presentationml.slide+xml"/>
  <Override PartName="/ppt/slides/slide73.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4.xml" ContentType="application/vnd.openxmlformats-officedocument.presentationml.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0.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22.xml" ContentType="application/vnd.openxmlformats-officedocument.presentationml.notesSlide+xml"/>
  <Override PartName="/ppt/notesSlides/notesSlide9.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notesSlides/notesSlide8.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4.xml" ContentType="application/vnd.openxmlformats-officedocument.presentationml.notesSlide+xml"/>
  <Override PartName="/ppt/diagrams/quickStyle3.xml" ContentType="application/vnd.openxmlformats-officedocument.drawingml.diagramStyle+xml"/>
  <Override PartName="/ppt/diagrams/colors3.xml" ContentType="application/vnd.openxmlformats-officedocument.drawingml.diagramColors+xml"/>
  <Override PartName="/ppt/diagrams/layout3.xml" ContentType="application/vnd.openxmlformats-officedocument.drawingml.diagramLayout+xml"/>
  <Override PartName="/ppt/theme/theme2.xml" ContentType="application/vnd.openxmlformats-officedocument.theme+xml"/>
  <Override PartName="/ppt/diagrams/drawing2.xml" ContentType="application/vnd.ms-office.drawingml.diagramDrawing+xml"/>
  <Override PartName="/ppt/handoutMasters/handoutMaster1.xml" ContentType="application/vnd.openxmlformats-officedocument.presentationml.handoutMaster+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Masters/notesMaster1.xml" ContentType="application/vnd.openxmlformats-officedocument.presentationml.notesMaster+xml"/>
  <Override PartName="/ppt/theme/theme1.xml" ContentType="application/vnd.openxmlformats-officedocument.theme+xml"/>
  <Override PartName="/ppt/diagrams/drawing3.xml" ContentType="application/vnd.ms-office.drawingml.diagramDrawing+xml"/>
  <Override PartName="/ppt/diagrams/quickStyle2.xml" ContentType="application/vnd.openxmlformats-officedocument.drawingml.diagramStyle+xml"/>
  <Override PartName="/ppt/diagrams/colors2.xml" ContentType="application/vnd.openxmlformats-officedocument.drawingml.diagramColors+xml"/>
  <Override PartName="/ppt/theme/theme3.xml" ContentType="application/vnd.openxmlformats-officedocument.theme+xml"/>
  <Override PartName="/ppt/commentAuthors.xml" ContentType="application/vnd.openxmlformats-officedocument.presentationml.commentAuthors+xml"/>
  <Override PartName="/ppt/diagrams/layout1.xml" ContentType="application/vnd.openxmlformats-officedocument.drawingml.diagramLayout+xml"/>
  <Override PartName="/ppt/diagrams/quickStyle1.xml" ContentType="application/vnd.openxmlformats-officedocument.drawingml.diagramStyle+xml"/>
  <Override PartName="/ppt/diagrams/layout2.xml" ContentType="application/vnd.openxmlformats-officedocument.drawingml.diagramLayout+xml"/>
  <Override PartName="/ppt/diagrams/drawing1.xml" ContentType="application/vnd.ms-office.drawingml.diagramDrawing+xml"/>
  <Override PartName="/ppt/diagrams/colors1.xml" ContentType="application/vnd.openxmlformats-officedocument.drawingml.diagramColors+xml"/>
  <Override PartName="/ppt/theme/theme4.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18.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5.xml" ContentType="application/vnd.openxmlformats-officedocument.presentationml.tags+xml"/>
  <Override PartName="/ppt/tags/tag151.xml" ContentType="application/vnd.openxmlformats-officedocument.presentationml.tags+xml"/>
  <Override PartName="/ppt/tags/tag156.xml" ContentType="application/vnd.openxmlformats-officedocument.presentationml.tags+xml"/>
  <Override PartName="/ppt/tags/tag154.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44.xml" ContentType="application/vnd.openxmlformats-officedocument.presentationml.tags+xml"/>
  <Override PartName="/ppt/tags/tag142.xml" ContentType="application/vnd.openxmlformats-officedocument.presentationml.tags+xml"/>
  <Override PartName="/ppt/tags/tag171.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43.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455.xml" ContentType="application/vnd.openxmlformats-officedocument.presentationml.tags+xml"/>
  <Override PartName="/ppt/tags/tag447.xml" ContentType="application/vnd.openxmlformats-officedocument.presentationml.tags+xml"/>
  <Override PartName="/ppt/tags/tag446.xml" ContentType="application/vnd.openxmlformats-officedocument.presentationml.tags+xml"/>
  <Override PartName="/ppt/tags/tag445.xml" ContentType="application/vnd.openxmlformats-officedocument.presentationml.tags+xml"/>
  <Override PartName="/ppt/tags/tag444.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4.xml" ContentType="application/vnd.openxmlformats-officedocument.presentationml.tags+xml"/>
  <Override PartName="/ppt/tags/tag453.xml" ContentType="application/vnd.openxmlformats-officedocument.presentationml.tags+xml"/>
  <Override PartName="/ppt/tags/tag452.xml" ContentType="application/vnd.openxmlformats-officedocument.presentationml.tags+xml"/>
  <Override PartName="/ppt/tags/tag451.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79.xml" ContentType="application/vnd.openxmlformats-officedocument.presentationml.tags+xml"/>
  <Override PartName="/ppt/tags/tag457.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7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456.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15.xml" ContentType="application/vnd.openxmlformats-officedocument.presentationml.tags+xml"/>
  <Override PartName="/ppt/tags/tag113.xml" ContentType="application/vnd.openxmlformats-officedocument.presentationml.tags+xml"/>
  <Override PartName="/ppt/tags/tag21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1.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114.xml" ContentType="application/vnd.openxmlformats-officedocument.presentationml.tags+xml"/>
  <Override PartName="/ppt/tags/tag443.xml" ContentType="application/vnd.openxmlformats-officedocument.presentationml.tags+xml"/>
  <Override PartName="/ppt/tags/tag441.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302.xml" ContentType="application/vnd.openxmlformats-officedocument.presentationml.tags+xml"/>
  <Override PartName="/ppt/tags/tag301.xml" ContentType="application/vnd.openxmlformats-officedocument.presentationml.tags+xml"/>
  <Override PartName="/ppt/tags/tag300.xml" ContentType="application/vnd.openxmlformats-officedocument.presentationml.tags+xml"/>
  <Override PartName="/ppt/tags/tag299.xml" ContentType="application/vnd.openxmlformats-officedocument.presentationml.tags+xml"/>
  <Override PartName="/ppt/tags/tag290.xml" ContentType="application/vnd.openxmlformats-officedocument.presentationml.tags+xml"/>
  <Override PartName="/ppt/tags/tag289.xml" ContentType="application/vnd.openxmlformats-officedocument.presentationml.tags+xml"/>
  <Override PartName="/ppt/tags/tag288.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77.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23.xml" ContentType="application/vnd.openxmlformats-officedocument.presentationml.tags+xml"/>
  <Override PartName="/ppt/tags/tag322.xml" ContentType="application/vnd.openxmlformats-officedocument.presentationml.tags+xml"/>
  <Override PartName="/ppt/tags/tag321.xml" ContentType="application/vnd.openxmlformats-officedocument.presentationml.tags+xml"/>
  <Override PartName="/ppt/tags/tag216.xml" ContentType="application/vnd.openxmlformats-officedocument.presentationml.tags+xml"/>
  <Override PartName="/ppt/tags/tag320.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30.xml" ContentType="application/vnd.openxmlformats-officedocument.presentationml.tags+xml"/>
  <Override PartName="/ppt/tags/tag329.xml" ContentType="application/vnd.openxmlformats-officedocument.presentationml.tags+xml"/>
  <Override PartName="/ppt/tags/tag328.xml" ContentType="application/vnd.openxmlformats-officedocument.presentationml.tags+xml"/>
  <Override PartName="/ppt/tags/tag327.xml" ContentType="application/vnd.openxmlformats-officedocument.presentationml.tags+xml"/>
  <Override PartName="/ppt/tags/tag319.xml" ContentType="application/vnd.openxmlformats-officedocument.presentationml.tags+xml"/>
  <Override PartName="/ppt/tags/tag318.xml" ContentType="application/vnd.openxmlformats-officedocument.presentationml.tags+xml"/>
  <Override PartName="/ppt/tags/tag317.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6.xml" ContentType="application/vnd.openxmlformats-officedocument.presentationml.tags+xml"/>
  <Override PartName="/ppt/tags/tag315.xml" ContentType="application/vnd.openxmlformats-officedocument.presentationml.tags+xml"/>
  <Override PartName="/ppt/tags/tag314.xml" ContentType="application/vnd.openxmlformats-officedocument.presentationml.tags+xml"/>
  <Override PartName="/ppt/tags/tag313.xml" ContentType="application/vnd.openxmlformats-officedocument.presentationml.tags+xml"/>
  <Override PartName="/ppt/tags/tag276.xml" ContentType="application/vnd.openxmlformats-officedocument.presentationml.tags+xml"/>
  <Override PartName="/ppt/tags/tag275.xml" ContentType="application/vnd.openxmlformats-officedocument.presentationml.tags+xml"/>
  <Override PartName="/ppt/tags/tag274.xml" ContentType="application/vnd.openxmlformats-officedocument.presentationml.tags+xml"/>
  <Override PartName="/ppt/tags/tag237.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41.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2.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19.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26.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66.xml" ContentType="application/vnd.openxmlformats-officedocument.presentationml.tags+xml"/>
  <Override PartName="/ppt/tags/tag265.xml" ContentType="application/vnd.openxmlformats-officedocument.presentationml.tags+xml"/>
  <Override PartName="/ppt/tags/tag264.xml" ContentType="application/vnd.openxmlformats-officedocument.presentationml.tags+xml"/>
  <Override PartName="/ppt/tags/tag263.xml" ContentType="application/vnd.openxmlformats-officedocument.presentationml.tags+xml"/>
  <Override PartName="/ppt/tags/tag262.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3.xml" ContentType="application/vnd.openxmlformats-officedocument.presentationml.tags+xml"/>
  <Override PartName="/ppt/tags/tag272.xml" ContentType="application/vnd.openxmlformats-officedocument.presentationml.tags+xml"/>
  <Override PartName="/ppt/tags/tag271.xml" ContentType="application/vnd.openxmlformats-officedocument.presentationml.tags+xml"/>
  <Override PartName="/ppt/tags/tag270.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51.xml" ContentType="application/vnd.openxmlformats-officedocument.presentationml.tags+xml"/>
  <Override PartName="/ppt/tags/tag250.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8.xml" ContentType="application/vnd.openxmlformats-officedocument.presentationml.tags+xml"/>
  <Override PartName="/ppt/tags/tag257.xml" ContentType="application/vnd.openxmlformats-officedocument.presentationml.tags+xml"/>
  <Override PartName="/ppt/tags/tag256.xml" ContentType="application/vnd.openxmlformats-officedocument.presentationml.tags+xml"/>
  <Override PartName="/ppt/tags/tag255.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407.xml" ContentType="application/vnd.openxmlformats-officedocument.presentationml.tags+xml"/>
  <Override PartName="/ppt/tags/tag406.xml" ContentType="application/vnd.openxmlformats-officedocument.presentationml.tags+xml"/>
  <Override PartName="/ppt/tags/tag405.xml" ContentType="application/vnd.openxmlformats-officedocument.presentationml.tags+xml"/>
  <Override PartName="/ppt/tags/tag404.xml" ContentType="application/vnd.openxmlformats-officedocument.presentationml.tags+xml"/>
  <Override PartName="/ppt/tags/tag403.xml" ContentType="application/vnd.openxmlformats-officedocument.presentationml.tags+xml"/>
  <Override PartName="/ppt/tags/tag408.xml" ContentType="application/vnd.openxmlformats-officedocument.presentationml.tags+xml"/>
  <Override PartName="/ppt/tags/tag213.xml" ContentType="application/vnd.openxmlformats-officedocument.presentationml.tags+xml"/>
  <Override PartName="/ppt/tags/tag212.xml" ContentType="application/vnd.openxmlformats-officedocument.presentationml.tags+xml"/>
  <Override PartName="/ppt/tags/tag412.xml" ContentType="application/vnd.openxmlformats-officedocument.presentationml.tags+xml"/>
  <Override PartName="/ppt/tags/tag411.xml" ContentType="application/vnd.openxmlformats-officedocument.presentationml.tags+xml"/>
  <Override PartName="/ppt/tags/tag410.xml" ContentType="application/vnd.openxmlformats-officedocument.presentationml.tags+xml"/>
  <Override PartName="/ppt/tags/tag409.xml" ContentType="application/vnd.openxmlformats-officedocument.presentationml.tags+xml"/>
  <Override PartName="/ppt/tags/tag402.xml" ContentType="application/vnd.openxmlformats-officedocument.presentationml.tags+xml"/>
  <Override PartName="/ppt/tags/tag401.xml" ContentType="application/vnd.openxmlformats-officedocument.presentationml.tags+xml"/>
  <Override PartName="/ppt/tags/tag400.xml" ContentType="application/vnd.openxmlformats-officedocument.presentationml.tags+xml"/>
  <Override PartName="/ppt/tags/tag392.xml" ContentType="application/vnd.openxmlformats-officedocument.presentationml.tags+xml"/>
  <Override PartName="/ppt/tags/tag391.xml" ContentType="application/vnd.openxmlformats-officedocument.presentationml.tags+xml"/>
  <Override PartName="/ppt/tags/tag390.xml" ContentType="application/vnd.openxmlformats-officedocument.presentationml.tags+xml"/>
  <Override PartName="/ppt/tags/tag389.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9.xml" ContentType="application/vnd.openxmlformats-officedocument.presentationml.tags+xml"/>
  <Override PartName="/ppt/tags/tag398.xml" ContentType="application/vnd.openxmlformats-officedocument.presentationml.tags+xml"/>
  <Override PartName="/ppt/tags/tag397.xml" ContentType="application/vnd.openxmlformats-officedocument.presentationml.tags+xml"/>
  <Override PartName="/ppt/tags/tag396.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33.xml" ContentType="application/vnd.openxmlformats-officedocument.presentationml.tags+xml"/>
  <Override PartName="/ppt/tags/tag432.xml" ContentType="application/vnd.openxmlformats-officedocument.presentationml.tags+xml"/>
  <Override PartName="/ppt/tags/tag431.xml" ContentType="application/vnd.openxmlformats-officedocument.presentationml.tags+xml"/>
  <Override PartName="/ppt/tags/tag430.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40.xml" ContentType="application/vnd.openxmlformats-officedocument.presentationml.tags+xml"/>
  <Override PartName="/ppt/tags/tag439.xml" ContentType="application/vnd.openxmlformats-officedocument.presentationml.tags+xml"/>
  <Override PartName="/ppt/tags/tag438.xml" ContentType="application/vnd.openxmlformats-officedocument.presentationml.tags+xml"/>
  <Override PartName="/ppt/tags/tag437.xml" ContentType="application/vnd.openxmlformats-officedocument.presentationml.tags+xml"/>
  <Override PartName="/ppt/tags/tag429.xml" ContentType="application/vnd.openxmlformats-officedocument.presentationml.tags+xml"/>
  <Override PartName="/ppt/tags/tag428.xml" ContentType="application/vnd.openxmlformats-officedocument.presentationml.tags+xml"/>
  <Override PartName="/ppt/tags/tag427.xml" ContentType="application/vnd.openxmlformats-officedocument.presentationml.tags+xml"/>
  <Override PartName="/ppt/tags/tag419.xml" ContentType="application/vnd.openxmlformats-officedocument.presentationml.tags+xml"/>
  <Override PartName="/ppt/tags/tag418.xml" ContentType="application/vnd.openxmlformats-officedocument.presentationml.tags+xml"/>
  <Override PartName="/ppt/tags/tag417.xml" ContentType="application/vnd.openxmlformats-officedocument.presentationml.tags+xml"/>
  <Override PartName="/ppt/tags/tag416.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6.xml" ContentType="application/vnd.openxmlformats-officedocument.presentationml.tags+xml"/>
  <Override PartName="/ppt/tags/tag425.xml" ContentType="application/vnd.openxmlformats-officedocument.presentationml.tags+xml"/>
  <Override PartName="/ppt/tags/tag424.xml" ContentType="application/vnd.openxmlformats-officedocument.presentationml.tags+xml"/>
  <Override PartName="/ppt/tags/tag423.xml" ContentType="application/vnd.openxmlformats-officedocument.presentationml.tags+xml"/>
  <Override PartName="/ppt/tags/tag388.xml" ContentType="application/vnd.openxmlformats-officedocument.presentationml.tags+xml"/>
  <Override PartName="/ppt/tags/tag387.xml" ContentType="application/vnd.openxmlformats-officedocument.presentationml.tags+xml"/>
  <Override PartName="/ppt/tags/tag386.xml" ContentType="application/vnd.openxmlformats-officedocument.presentationml.tags+xml"/>
  <Override PartName="/ppt/tags/tag352.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9.xml" ContentType="application/vnd.openxmlformats-officedocument.presentationml.tags+xml"/>
  <Override PartName="/ppt/tags/tag358.xml" ContentType="application/vnd.openxmlformats-officedocument.presentationml.tags+xml"/>
  <Override PartName="/ppt/tags/tag357.xml" ContentType="application/vnd.openxmlformats-officedocument.presentationml.tags+xml"/>
  <Override PartName="/ppt/tags/tag356.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4.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4.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41.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78.xml" ContentType="application/vnd.openxmlformats-officedocument.presentationml.tags+xml"/>
  <Override PartName="/ppt/tags/tag377.xml" ContentType="application/vnd.openxmlformats-officedocument.presentationml.tags+xml"/>
  <Override PartName="/ppt/tags/tag376.xml" ContentType="application/vnd.openxmlformats-officedocument.presentationml.tags+xml"/>
  <Override PartName="/ppt/tags/tag375.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5.xml" ContentType="application/vnd.openxmlformats-officedocument.presentationml.tags+xml"/>
  <Override PartName="/ppt/tags/tag384.xml" ContentType="application/vnd.openxmlformats-officedocument.presentationml.tags+xml"/>
  <Override PartName="/ppt/tags/tag383.xml" ContentType="application/vnd.openxmlformats-officedocument.presentationml.tags+xml"/>
  <Override PartName="/ppt/tags/tag382.xml" ContentType="application/vnd.openxmlformats-officedocument.presentationml.tags+xml"/>
  <Override PartName="/ppt/tags/tag374.xml" ContentType="application/vnd.openxmlformats-officedocument.presentationml.tags+xml"/>
  <Override PartName="/ppt/tags/tag373.xml" ContentType="application/vnd.openxmlformats-officedocument.presentationml.tags+xml"/>
  <Override PartName="/ppt/tags/tag372.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71.xml" ContentType="application/vnd.openxmlformats-officedocument.presentationml.tags+xml"/>
  <Override PartName="/ppt/tags/tag370.xml" ContentType="application/vnd.openxmlformats-officedocument.presentationml.tags+xml"/>
  <Override PartName="/ppt/tags/tag442.xml" ContentType="application/vnd.openxmlformats-officedocument.presentationml.tags+xml"/>
  <Override PartName="/ppt/tags/tag369.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revisionInfo.xml" ContentType="application/vnd.ms-powerpoint.revisioninfo+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833" r:id="rId1"/>
    <p:sldMasterId id="2147483849" r:id="rId2"/>
    <p:sldMasterId id="2147483853" r:id="rId3"/>
  </p:sldMasterIdLst>
  <p:notesMasterIdLst>
    <p:notesMasterId r:id="rId105"/>
  </p:notesMasterIdLst>
  <p:handoutMasterIdLst>
    <p:handoutMasterId r:id="rId106"/>
  </p:handoutMasterIdLst>
  <p:sldIdLst>
    <p:sldId id="359" r:id="rId4"/>
    <p:sldId id="692" r:id="rId5"/>
    <p:sldId id="512" r:id="rId6"/>
    <p:sldId id="514" r:id="rId7"/>
    <p:sldId id="678" r:id="rId8"/>
    <p:sldId id="612" r:id="rId9"/>
    <p:sldId id="671" r:id="rId10"/>
    <p:sldId id="524" r:id="rId11"/>
    <p:sldId id="624" r:id="rId12"/>
    <p:sldId id="526" r:id="rId13"/>
    <p:sldId id="527" r:id="rId14"/>
    <p:sldId id="528" r:id="rId15"/>
    <p:sldId id="529" r:id="rId16"/>
    <p:sldId id="530" r:id="rId17"/>
    <p:sldId id="531" r:id="rId18"/>
    <p:sldId id="532" r:id="rId19"/>
    <p:sldId id="613" r:id="rId20"/>
    <p:sldId id="672" r:id="rId21"/>
    <p:sldId id="636" r:id="rId22"/>
    <p:sldId id="637" r:id="rId23"/>
    <p:sldId id="638" r:id="rId24"/>
    <p:sldId id="639" r:id="rId25"/>
    <p:sldId id="640" r:id="rId26"/>
    <p:sldId id="641" r:id="rId27"/>
    <p:sldId id="642" r:id="rId28"/>
    <p:sldId id="643" r:id="rId29"/>
    <p:sldId id="644" r:id="rId30"/>
    <p:sldId id="645" r:id="rId31"/>
    <p:sldId id="646" r:id="rId32"/>
    <p:sldId id="647" r:id="rId33"/>
    <p:sldId id="648" r:id="rId34"/>
    <p:sldId id="649" r:id="rId35"/>
    <p:sldId id="650" r:id="rId36"/>
    <p:sldId id="651" r:id="rId37"/>
    <p:sldId id="652" r:id="rId38"/>
    <p:sldId id="653" r:id="rId39"/>
    <p:sldId id="654" r:id="rId40"/>
    <p:sldId id="614" r:id="rId41"/>
    <p:sldId id="673" r:id="rId42"/>
    <p:sldId id="656" r:id="rId43"/>
    <p:sldId id="657" r:id="rId44"/>
    <p:sldId id="665" r:id="rId45"/>
    <p:sldId id="666" r:id="rId46"/>
    <p:sldId id="667" r:id="rId47"/>
    <p:sldId id="668" r:id="rId48"/>
    <p:sldId id="669" r:id="rId49"/>
    <p:sldId id="670" r:id="rId50"/>
    <p:sldId id="615" r:id="rId51"/>
    <p:sldId id="674" r:id="rId52"/>
    <p:sldId id="589" r:id="rId53"/>
    <p:sldId id="590" r:id="rId54"/>
    <p:sldId id="591" r:id="rId55"/>
    <p:sldId id="689" r:id="rId56"/>
    <p:sldId id="593" r:id="rId57"/>
    <p:sldId id="594" r:id="rId58"/>
    <p:sldId id="595" r:id="rId59"/>
    <p:sldId id="625" r:id="rId60"/>
    <p:sldId id="690" r:id="rId61"/>
    <p:sldId id="691" r:id="rId62"/>
    <p:sldId id="620" r:id="rId63"/>
    <p:sldId id="622" r:id="rId64"/>
    <p:sldId id="616" r:id="rId65"/>
    <p:sldId id="693" r:id="rId66"/>
    <p:sldId id="694" r:id="rId67"/>
    <p:sldId id="695" r:id="rId68"/>
    <p:sldId id="696" r:id="rId69"/>
    <p:sldId id="697" r:id="rId70"/>
    <p:sldId id="698" r:id="rId71"/>
    <p:sldId id="699" r:id="rId72"/>
    <p:sldId id="700" r:id="rId73"/>
    <p:sldId id="605" r:id="rId74"/>
    <p:sldId id="606" r:id="rId75"/>
    <p:sldId id="617" r:id="rId76"/>
    <p:sldId id="679" r:id="rId77"/>
    <p:sldId id="680" r:id="rId78"/>
    <p:sldId id="681" r:id="rId79"/>
    <p:sldId id="682" r:id="rId80"/>
    <p:sldId id="683" r:id="rId81"/>
    <p:sldId id="684" r:id="rId82"/>
    <p:sldId id="685" r:id="rId83"/>
    <p:sldId id="686" r:id="rId84"/>
    <p:sldId id="687" r:id="rId85"/>
    <p:sldId id="688" r:id="rId86"/>
    <p:sldId id="618" r:id="rId87"/>
    <p:sldId id="675" r:id="rId88"/>
    <p:sldId id="676" r:id="rId89"/>
    <p:sldId id="629" r:id="rId90"/>
    <p:sldId id="630" r:id="rId91"/>
    <p:sldId id="631" r:id="rId92"/>
    <p:sldId id="633" r:id="rId93"/>
    <p:sldId id="635" r:id="rId94"/>
    <p:sldId id="619" r:id="rId95"/>
    <p:sldId id="677" r:id="rId96"/>
    <p:sldId id="533" r:id="rId97"/>
    <p:sldId id="534" r:id="rId98"/>
    <p:sldId id="535" r:id="rId99"/>
    <p:sldId id="536" r:id="rId100"/>
    <p:sldId id="537" r:id="rId101"/>
    <p:sldId id="538" r:id="rId102"/>
    <p:sldId id="621" r:id="rId103"/>
    <p:sldId id="623" r:id="rId104"/>
  </p:sldIdLst>
  <p:sldSz cx="9144000" cy="6858000" type="screen4x3"/>
  <p:notesSz cx="6797675" cy="9872663"/>
  <p:custDataLst>
    <p:tags r:id="rId107"/>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2160">
          <p15:clr>
            <a:srgbClr val="A4A3A4"/>
          </p15:clr>
        </p15:guide>
        <p15:guide id="2" pos="3878" userDrawn="1">
          <p15:clr>
            <a:srgbClr val="A4A3A4"/>
          </p15:clr>
        </p15:guide>
      </p15:sldGuideLst>
    </p:ext>
    <p:ext uri="{2D200454-40CA-4A62-9FC3-DE9A4176ACB9}">
      <p15:notesGuideLst xmlns:p15="http://schemas.microsoft.com/office/powerpoint/2012/main" xmlns="">
        <p15:guide id="1" orient="horz" pos="3110">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INCHAUX Xavier" initials="RTE" lastIdx="8" clrIdx="0"/>
  <p:cmAuthor id="29" name="Katja Birr-Pedersen" initials="KBP" lastIdx="1" clrIdx="29"/>
  <p:cmAuthor id="1" name="Tore Granli" initials="TG" lastIdx="4" clrIdx="1"/>
  <p:cmAuthor id="30" name="Guntschnig Gilbert" initials="GG" lastIdx="22" clrIdx="30">
    <p:extLst/>
  </p:cmAuthor>
  <p:cmAuthor id="2" name="Dammer, Arne" initials="DA" lastIdx="5" clrIdx="2"/>
  <p:cmAuthor id="31" name="Pierre MILON" initials="PM" lastIdx="50" clrIdx="31">
    <p:extLst/>
  </p:cmAuthor>
  <p:cmAuthor id="3" name="OTE-OM" initials="OTE-OM" lastIdx="3" clrIdx="3"/>
  <p:cmAuthor id="32" name="Alejandro Esteban" initials="AE" lastIdx="2" clrIdx="32">
    <p:extLst/>
  </p:cmAuthor>
  <p:cmAuthor id="4" name="DUFOURG Marie" initials="RTE" lastIdx="10" clrIdx="4"/>
  <p:cmAuthor id="33" name="Carlos Albendin" initials="CA" lastIdx="19" clrIdx="33"/>
  <p:cmAuthor id="5" name="ELIA" initials="ELIA" lastIdx="13" clrIdx="5"/>
  <p:cmAuthor id="34" name="Tjacka Bus" initials="TB" lastIdx="1" clrIdx="34"/>
  <p:cmAuthor id="6" name="EPEXSPOT" initials="EPEX" lastIdx="6" clrIdx="6"/>
  <p:cmAuthor id="7" name="EPEX" initials="EPEX" lastIdx="30" clrIdx="7"/>
  <p:cmAuthor id="8" name="Vladimír Satek" initials="VS" lastIdx="42" clrIdx="8"/>
  <p:cmAuthor id="9" name="ycuellar" initials="YC" lastIdx="11" clrIdx="9"/>
  <p:cmAuthor id="10" name="Lucie Ryšavá" initials="LR" lastIdx="41" clrIdx="10"/>
  <p:cmAuthor id="11" name="Karri Mäkelä" initials="KM" lastIdx="39" clrIdx="11">
    <p:extLst/>
  </p:cmAuthor>
  <p:cmAuthor id="12" name="Helene" initials="H" lastIdx="10" clrIdx="12"/>
  <p:cmAuthor id="13" name="Nord Pool Spot 1" initials="NPS 1" lastIdx="5" clrIdx="13">
    <p:extLst/>
  </p:cmAuthor>
  <p:cmAuthor id="14" name="Tjitske Kramer" initials="TK" lastIdx="4" clrIdx="14"/>
  <p:cmAuthor id="15" name="NPS" initials="KM" lastIdx="1" clrIdx="15"/>
  <p:cmAuthor id="16" name="EPEX SPOT" initials="EPEX" lastIdx="7" clrIdx="16"/>
  <p:cmAuthor id="17" name="Jose Javier Gonzalez" initials="JJG" lastIdx="1" clrIdx="17"/>
  <p:cmAuthor id="18" name="Yolanda Cuellar" initials="OMIE" lastIdx="6" clrIdx="18"/>
  <p:cmAuthor id="19" name="Rysava , Lucie" initials="LR" lastIdx="49" clrIdx="19"/>
  <p:cmAuthor id="20" name="Klara Valkova" initials="KV" lastIdx="5" clrIdx="20"/>
  <p:cmAuthor id="21" name="Lucie Rysava (PXs PMO)" initials="LR" lastIdx="5" clrIdx="21"/>
  <p:cmAuthor id="22" name="NPS1" initials="NPS1" lastIdx="3" clrIdx="22">
    <p:extLst/>
  </p:cmAuthor>
  <p:cmAuthor id="23" name="Lucie Ryšavá (PXs PMO)" initials="LR" lastIdx="7" clrIdx="23"/>
  <p:cmAuthor id="24" name="PXs" initials="PXs" lastIdx="13" clrIdx="24"/>
  <p:cmAuthor id="25" name="National Grid" initials="NG" lastIdx="1" clrIdx="25"/>
  <p:cmAuthor id="26" name="LEMETAYER Bruno" initials="BL" lastIdx="10" clrIdx="26"/>
  <p:cmAuthor id="27" name="Dornick, Susanne" initials="DS" lastIdx="6" clrIdx="27"/>
  <p:cmAuthor id="28" name="Kleinpenning, Chris" initials="CK" lastIdx="1" clrIdx="2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E59F"/>
    <a:srgbClr val="F03333"/>
    <a:srgbClr val="4F81BD"/>
    <a:srgbClr val="7F7F7F"/>
    <a:srgbClr val="C00000"/>
    <a:srgbClr val="83A644"/>
    <a:srgbClr val="FC7B10"/>
    <a:srgbClr val="E9EDF4"/>
    <a:srgbClr val="D0D8E8"/>
    <a:srgbClr val="95B3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36" autoAdjust="0"/>
    <p:restoredTop sz="98910" autoAdjust="0"/>
  </p:normalViewPr>
  <p:slideViewPr>
    <p:cSldViewPr snapToGrid="0">
      <p:cViewPr>
        <p:scale>
          <a:sx n="90" d="100"/>
          <a:sy n="90" d="100"/>
        </p:scale>
        <p:origin x="-504" y="600"/>
      </p:cViewPr>
      <p:guideLst>
        <p:guide orient="horz" pos="2160"/>
        <p:guide pos="38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3" d="100"/>
          <a:sy n="83" d="100"/>
        </p:scale>
        <p:origin x="-3918" y="-78"/>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customXml" Target="../customXml/item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tableStyles" Target="tableStyles.xml"/><Relationship Id="rId16" Type="http://schemas.openxmlformats.org/officeDocument/2006/relationships/slide" Target="slides/slide13.xml"/><Relationship Id="rId107" Type="http://schemas.openxmlformats.org/officeDocument/2006/relationships/tags" Target="tags/tag1.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12" Type="http://schemas.openxmlformats.org/officeDocument/2006/relationships/slide" Target="slides/slide9.xml"/><Relationship Id="rId17" Type="http://schemas.openxmlformats.org/officeDocument/2006/relationships/slide" Target="slides/slide14.xml"/><Relationship Id="rId33" Type="http://schemas.openxmlformats.org/officeDocument/2006/relationships/slide" Target="slides/slide30.xml"/><Relationship Id="rId38" Type="http://schemas.openxmlformats.org/officeDocument/2006/relationships/slide" Target="slides/slide35.xml"/><Relationship Id="rId59" Type="http://schemas.openxmlformats.org/officeDocument/2006/relationships/slide" Target="slides/slide56.xml"/><Relationship Id="rId103" Type="http://schemas.openxmlformats.org/officeDocument/2006/relationships/slide" Target="slides/slide100.xml"/><Relationship Id="rId108" Type="http://schemas.openxmlformats.org/officeDocument/2006/relationships/commentAuthors" Target="commentAuthors.xml"/><Relationship Id="rId54" Type="http://schemas.openxmlformats.org/officeDocument/2006/relationships/slide" Target="slides/slide51.xml"/><Relationship Id="rId70" Type="http://schemas.openxmlformats.org/officeDocument/2006/relationships/slide" Target="slides/slide67.xml"/><Relationship Id="rId75" Type="http://schemas.openxmlformats.org/officeDocument/2006/relationships/slide" Target="slides/slide72.xml"/><Relationship Id="rId91" Type="http://schemas.openxmlformats.org/officeDocument/2006/relationships/slide" Target="slides/slide88.xml"/><Relationship Id="rId96" Type="http://schemas.openxmlformats.org/officeDocument/2006/relationships/slide" Target="slides/slide93.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handoutMaster" Target="handoutMasters/handoutMaster1.xml"/><Relationship Id="rId114" Type="http://schemas.microsoft.com/office/2015/10/relationships/revisionInfo" Target="revisionInfo.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presProps" Target="presProps.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viewProps" Target="viewProps.xml"/><Relationship Id="rId115" Type="http://schemas.openxmlformats.org/officeDocument/2006/relationships/customXml" Target="../customXml/item1.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slide" Target="slides/slide95.xml"/><Relationship Id="rId3" Type="http://schemas.openxmlformats.org/officeDocument/2006/relationships/slideMaster" Target="slideMasters/slideMaster3.xml"/><Relationship Id="rId25" Type="http://schemas.openxmlformats.org/officeDocument/2006/relationships/slide" Target="slides/slide22.xml"/><Relationship Id="rId46" Type="http://schemas.openxmlformats.org/officeDocument/2006/relationships/slide" Target="slides/slide43.xml"/><Relationship Id="rId67" Type="http://schemas.openxmlformats.org/officeDocument/2006/relationships/slide" Target="slides/slide64.xml"/><Relationship Id="rId116" Type="http://schemas.openxmlformats.org/officeDocument/2006/relationships/customXml" Target="../customXml/item2.xml"/><Relationship Id="rId20" Type="http://schemas.openxmlformats.org/officeDocument/2006/relationships/slide" Target="slides/slide17.xml"/><Relationship Id="rId41" Type="http://schemas.openxmlformats.org/officeDocument/2006/relationships/slide" Target="slides/slide38.xml"/><Relationship Id="rId62" Type="http://schemas.openxmlformats.org/officeDocument/2006/relationships/slide" Target="slides/slide59.xml"/><Relationship Id="rId83" Type="http://schemas.openxmlformats.org/officeDocument/2006/relationships/slide" Target="slides/slide80.xml"/><Relationship Id="rId88" Type="http://schemas.openxmlformats.org/officeDocument/2006/relationships/slide" Target="slides/slide85.xml"/><Relationship Id="rId11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6D0302-7C57-47DE-8EA5-715DEC98A5C9}"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GB"/>
        </a:p>
      </dgm:t>
    </dgm:pt>
    <dgm:pt modelId="{8541D0C6-F370-48E8-B219-56FC32ADED4A}">
      <dgm:prSet custT="1"/>
      <dgm:spPr/>
      <dgm:t>
        <a:bodyPr/>
        <a:lstStyle/>
        <a:p>
          <a:pPr algn="ctr" rtl="0"/>
          <a:r>
            <a:rPr lang="de-DE" sz="1800" dirty="0">
              <a:latin typeface="Arial" panose="020B0604020202020204" pitchFamily="34" charset="0"/>
              <a:cs typeface="Arial" panose="020B0604020202020204" pitchFamily="34" charset="0"/>
            </a:rPr>
            <a:t>Area Management</a:t>
          </a:r>
          <a:endParaRPr lang="en-GB" sz="1800" dirty="0">
            <a:latin typeface="Arial" panose="020B0604020202020204" pitchFamily="34" charset="0"/>
            <a:cs typeface="Arial" panose="020B0604020202020204" pitchFamily="34" charset="0"/>
          </a:endParaRPr>
        </a:p>
      </dgm:t>
    </dgm:pt>
    <dgm:pt modelId="{F3C3304B-5CB1-41D7-ACAD-F6722BDA6334}" type="parTrans" cxnId="{EBDC7EF3-38CF-4F58-9B7E-73BD2B474D34}">
      <dgm:prSet/>
      <dgm:spPr/>
      <dgm:t>
        <a:bodyPr/>
        <a:lstStyle/>
        <a:p>
          <a:endParaRPr lang="en-GB"/>
        </a:p>
      </dgm:t>
    </dgm:pt>
    <dgm:pt modelId="{785518E3-D49B-4FE0-90B7-0422E4551081}" type="sibTrans" cxnId="{EBDC7EF3-38CF-4F58-9B7E-73BD2B474D34}">
      <dgm:prSet/>
      <dgm:spPr/>
      <dgm:t>
        <a:bodyPr/>
        <a:lstStyle/>
        <a:p>
          <a:endParaRPr lang="en-GB"/>
        </a:p>
      </dgm:t>
    </dgm:pt>
    <dgm:pt modelId="{BC763784-1C22-46AC-B90E-4294F9A4A23D}" type="pres">
      <dgm:prSet presAssocID="{F66D0302-7C57-47DE-8EA5-715DEC98A5C9}" presName="linear" presStyleCnt="0">
        <dgm:presLayoutVars>
          <dgm:animLvl val="lvl"/>
          <dgm:resizeHandles val="exact"/>
        </dgm:presLayoutVars>
      </dgm:prSet>
      <dgm:spPr/>
      <dgm:t>
        <a:bodyPr/>
        <a:lstStyle/>
        <a:p>
          <a:endParaRPr lang="de-DE"/>
        </a:p>
      </dgm:t>
    </dgm:pt>
    <dgm:pt modelId="{7A8AB5BB-ECC7-4910-BF5D-1C22270AA645}" type="pres">
      <dgm:prSet presAssocID="{8541D0C6-F370-48E8-B219-56FC32ADED4A}" presName="parentText" presStyleLbl="node1" presStyleIdx="0" presStyleCnt="1">
        <dgm:presLayoutVars>
          <dgm:chMax val="0"/>
          <dgm:bulletEnabled val="1"/>
        </dgm:presLayoutVars>
      </dgm:prSet>
      <dgm:spPr/>
      <dgm:t>
        <a:bodyPr/>
        <a:lstStyle/>
        <a:p>
          <a:endParaRPr lang="de-DE"/>
        </a:p>
      </dgm:t>
    </dgm:pt>
  </dgm:ptLst>
  <dgm:cxnLst>
    <dgm:cxn modelId="{C1A92665-8654-4D2E-A51F-0D0238D7055A}" type="presOf" srcId="{8541D0C6-F370-48E8-B219-56FC32ADED4A}" destId="{7A8AB5BB-ECC7-4910-BF5D-1C22270AA645}" srcOrd="0" destOrd="0" presId="urn:microsoft.com/office/officeart/2005/8/layout/vList2"/>
    <dgm:cxn modelId="{EBDC7EF3-38CF-4F58-9B7E-73BD2B474D34}" srcId="{F66D0302-7C57-47DE-8EA5-715DEC98A5C9}" destId="{8541D0C6-F370-48E8-B219-56FC32ADED4A}" srcOrd="0" destOrd="0" parTransId="{F3C3304B-5CB1-41D7-ACAD-F6722BDA6334}" sibTransId="{785518E3-D49B-4FE0-90B7-0422E4551081}"/>
    <dgm:cxn modelId="{4DFDC4CE-F8A0-4046-9725-312EDC94A96B}" type="presOf" srcId="{F66D0302-7C57-47DE-8EA5-715DEC98A5C9}" destId="{BC763784-1C22-46AC-B90E-4294F9A4A23D}" srcOrd="0" destOrd="0" presId="urn:microsoft.com/office/officeart/2005/8/layout/vList2"/>
    <dgm:cxn modelId="{C65A77FE-A602-4C4E-9FD7-EC8ED8AA84C9}" type="presParOf" srcId="{BC763784-1C22-46AC-B90E-4294F9A4A23D}" destId="{7A8AB5BB-ECC7-4910-BF5D-1C22270AA645}"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A89344-1200-46E3-B562-FF56A680BAB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GB"/>
        </a:p>
      </dgm:t>
    </dgm:pt>
    <dgm:pt modelId="{0E1EB9EF-88A7-4495-9E82-3C2BEFE245F5}">
      <dgm:prSet custT="1"/>
      <dgm:spPr/>
      <dgm:t>
        <a:bodyPr/>
        <a:lstStyle/>
        <a:p>
          <a:pPr algn="ctr" rtl="0"/>
          <a:r>
            <a:rPr lang="de-DE" sz="1800" dirty="0">
              <a:latin typeface="Arial" panose="020B0604020202020204" pitchFamily="34" charset="0"/>
              <a:cs typeface="Arial" panose="020B0604020202020204" pitchFamily="34" charset="0"/>
            </a:rPr>
            <a:t>Connection Management</a:t>
          </a:r>
          <a:endParaRPr lang="en-GB" sz="1800" dirty="0">
            <a:latin typeface="Arial" panose="020B0604020202020204" pitchFamily="34" charset="0"/>
            <a:cs typeface="Arial" panose="020B0604020202020204" pitchFamily="34" charset="0"/>
          </a:endParaRPr>
        </a:p>
      </dgm:t>
    </dgm:pt>
    <dgm:pt modelId="{94639BA8-641B-4317-AE32-F0A107C9FF5C}" type="parTrans" cxnId="{A3717CE2-27A9-4EEA-BCB1-1C684117AB6B}">
      <dgm:prSet/>
      <dgm:spPr/>
      <dgm:t>
        <a:bodyPr/>
        <a:lstStyle/>
        <a:p>
          <a:endParaRPr lang="en-GB"/>
        </a:p>
      </dgm:t>
    </dgm:pt>
    <dgm:pt modelId="{10CC6BBA-DAD7-480F-8565-774741A1420D}" type="sibTrans" cxnId="{A3717CE2-27A9-4EEA-BCB1-1C684117AB6B}">
      <dgm:prSet/>
      <dgm:spPr/>
      <dgm:t>
        <a:bodyPr/>
        <a:lstStyle/>
        <a:p>
          <a:endParaRPr lang="en-GB"/>
        </a:p>
      </dgm:t>
    </dgm:pt>
    <dgm:pt modelId="{4D18B952-49F0-4D51-A205-15BC5BB403BE}" type="pres">
      <dgm:prSet presAssocID="{06A89344-1200-46E3-B562-FF56A680BABD}" presName="linear" presStyleCnt="0">
        <dgm:presLayoutVars>
          <dgm:animLvl val="lvl"/>
          <dgm:resizeHandles val="exact"/>
        </dgm:presLayoutVars>
      </dgm:prSet>
      <dgm:spPr/>
      <dgm:t>
        <a:bodyPr/>
        <a:lstStyle/>
        <a:p>
          <a:endParaRPr lang="de-DE"/>
        </a:p>
      </dgm:t>
    </dgm:pt>
    <dgm:pt modelId="{D6C18292-B9AF-467B-889B-35944DC87591}" type="pres">
      <dgm:prSet presAssocID="{0E1EB9EF-88A7-4495-9E82-3C2BEFE245F5}" presName="parentText" presStyleLbl="node1" presStyleIdx="0" presStyleCnt="1">
        <dgm:presLayoutVars>
          <dgm:chMax val="0"/>
          <dgm:bulletEnabled val="1"/>
        </dgm:presLayoutVars>
      </dgm:prSet>
      <dgm:spPr/>
      <dgm:t>
        <a:bodyPr/>
        <a:lstStyle/>
        <a:p>
          <a:endParaRPr lang="de-DE"/>
        </a:p>
      </dgm:t>
    </dgm:pt>
  </dgm:ptLst>
  <dgm:cxnLst>
    <dgm:cxn modelId="{5D7D24DF-7427-403F-86B8-32348559A4D2}" type="presOf" srcId="{0E1EB9EF-88A7-4495-9E82-3C2BEFE245F5}" destId="{D6C18292-B9AF-467B-889B-35944DC87591}" srcOrd="0" destOrd="0" presId="urn:microsoft.com/office/officeart/2005/8/layout/vList2"/>
    <dgm:cxn modelId="{F1895AEA-AEDB-4230-BF68-AE8C7D08E747}" type="presOf" srcId="{06A89344-1200-46E3-B562-FF56A680BABD}" destId="{4D18B952-49F0-4D51-A205-15BC5BB403BE}" srcOrd="0" destOrd="0" presId="urn:microsoft.com/office/officeart/2005/8/layout/vList2"/>
    <dgm:cxn modelId="{A3717CE2-27A9-4EEA-BCB1-1C684117AB6B}" srcId="{06A89344-1200-46E3-B562-FF56A680BABD}" destId="{0E1EB9EF-88A7-4495-9E82-3C2BEFE245F5}" srcOrd="0" destOrd="0" parTransId="{94639BA8-641B-4317-AE32-F0A107C9FF5C}" sibTransId="{10CC6BBA-DAD7-480F-8565-774741A1420D}"/>
    <dgm:cxn modelId="{D86B2D5C-55B7-4169-B156-F9AA9475962E}" type="presParOf" srcId="{4D18B952-49F0-4D51-A205-15BC5BB403BE}" destId="{D6C18292-B9AF-467B-889B-35944DC87591}" srcOrd="0"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92EBCBB-9F37-4269-860A-AB239F6E1BE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GB"/>
        </a:p>
      </dgm:t>
    </dgm:pt>
    <dgm:pt modelId="{83D41B52-98F8-42CB-BA37-617ECD7D0143}">
      <dgm:prSet custT="1"/>
      <dgm:spPr/>
      <dgm:t>
        <a:bodyPr/>
        <a:lstStyle/>
        <a:p>
          <a:pPr algn="ctr" rtl="0"/>
          <a:r>
            <a:rPr lang="de-DE" sz="1800" dirty="0">
              <a:latin typeface="Arial" panose="020B0604020202020204" pitchFamily="34" charset="0"/>
              <a:cs typeface="Arial" panose="020B0604020202020204" pitchFamily="34" charset="0"/>
            </a:rPr>
            <a:t>User Management</a:t>
          </a:r>
          <a:endParaRPr lang="en-GB" sz="1800" dirty="0">
            <a:latin typeface="Arial" panose="020B0604020202020204" pitchFamily="34" charset="0"/>
            <a:cs typeface="Arial" panose="020B0604020202020204" pitchFamily="34" charset="0"/>
          </a:endParaRPr>
        </a:p>
      </dgm:t>
    </dgm:pt>
    <dgm:pt modelId="{08DCB6D0-E176-4A0E-B14A-779105354D4E}" type="parTrans" cxnId="{9F25B4FF-05F2-4108-9CFF-136BBB9F80F0}">
      <dgm:prSet/>
      <dgm:spPr/>
      <dgm:t>
        <a:bodyPr/>
        <a:lstStyle/>
        <a:p>
          <a:endParaRPr lang="en-GB"/>
        </a:p>
      </dgm:t>
    </dgm:pt>
    <dgm:pt modelId="{492D7377-13BF-4C4E-B013-0031AF3BE6C1}" type="sibTrans" cxnId="{9F25B4FF-05F2-4108-9CFF-136BBB9F80F0}">
      <dgm:prSet/>
      <dgm:spPr/>
      <dgm:t>
        <a:bodyPr/>
        <a:lstStyle/>
        <a:p>
          <a:endParaRPr lang="en-GB"/>
        </a:p>
      </dgm:t>
    </dgm:pt>
    <dgm:pt modelId="{B54E2BCD-078E-4134-8A94-668BD02A0CE6}" type="pres">
      <dgm:prSet presAssocID="{A92EBCBB-9F37-4269-860A-AB239F6E1BE2}" presName="linear" presStyleCnt="0">
        <dgm:presLayoutVars>
          <dgm:animLvl val="lvl"/>
          <dgm:resizeHandles val="exact"/>
        </dgm:presLayoutVars>
      </dgm:prSet>
      <dgm:spPr/>
      <dgm:t>
        <a:bodyPr/>
        <a:lstStyle/>
        <a:p>
          <a:endParaRPr lang="de-DE"/>
        </a:p>
      </dgm:t>
    </dgm:pt>
    <dgm:pt modelId="{D11A819E-E7F1-4D6B-BCD0-097AC43A58F6}" type="pres">
      <dgm:prSet presAssocID="{83D41B52-98F8-42CB-BA37-617ECD7D0143}" presName="parentText" presStyleLbl="node1" presStyleIdx="0" presStyleCnt="1" custLinFactNeighborX="6629" custLinFactNeighborY="0">
        <dgm:presLayoutVars>
          <dgm:chMax val="0"/>
          <dgm:bulletEnabled val="1"/>
        </dgm:presLayoutVars>
      </dgm:prSet>
      <dgm:spPr/>
      <dgm:t>
        <a:bodyPr/>
        <a:lstStyle/>
        <a:p>
          <a:endParaRPr lang="de-DE"/>
        </a:p>
      </dgm:t>
    </dgm:pt>
  </dgm:ptLst>
  <dgm:cxnLst>
    <dgm:cxn modelId="{9495D006-C61F-4A62-9E5D-C0CECEB911B0}" type="presOf" srcId="{83D41B52-98F8-42CB-BA37-617ECD7D0143}" destId="{D11A819E-E7F1-4D6B-BCD0-097AC43A58F6}" srcOrd="0" destOrd="0" presId="urn:microsoft.com/office/officeart/2005/8/layout/vList2"/>
    <dgm:cxn modelId="{9F25B4FF-05F2-4108-9CFF-136BBB9F80F0}" srcId="{A92EBCBB-9F37-4269-860A-AB239F6E1BE2}" destId="{83D41B52-98F8-42CB-BA37-617ECD7D0143}" srcOrd="0" destOrd="0" parTransId="{08DCB6D0-E176-4A0E-B14A-779105354D4E}" sibTransId="{492D7377-13BF-4C4E-B013-0031AF3BE6C1}"/>
    <dgm:cxn modelId="{A087F271-727B-49D5-8FA6-F2E1049075EA}" type="presOf" srcId="{A92EBCBB-9F37-4269-860A-AB239F6E1BE2}" destId="{B54E2BCD-078E-4134-8A94-668BD02A0CE6}" srcOrd="0" destOrd="0" presId="urn:microsoft.com/office/officeart/2005/8/layout/vList2"/>
    <dgm:cxn modelId="{DCED7390-764C-4A4A-BFAB-60379BC9095E}" type="presParOf" srcId="{B54E2BCD-078E-4134-8A94-668BD02A0CE6}" destId="{D11A819E-E7F1-4D6B-BCD0-097AC43A58F6}"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96E0E13-B060-4C01-B29E-179E6E15F2C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A5FA0F11-ED68-4F29-8963-3AB304A363BD}">
      <dgm:prSet phldrT="[Text]" custT="1"/>
      <dgm:spPr/>
      <dgm:t>
        <a:bodyPr/>
        <a:lstStyle/>
        <a:p>
          <a:r>
            <a:rPr lang="de-DE" sz="1600" dirty="0">
              <a:latin typeface="Arial" panose="020B0604020202020204" pitchFamily="34" charset="0"/>
              <a:cs typeface="Arial" panose="020B0604020202020204" pitchFamily="34" charset="0"/>
            </a:rPr>
            <a:t>Separate Configuration per Interconnector</a:t>
          </a:r>
          <a:endParaRPr lang="en-GB" sz="1600" dirty="0">
            <a:latin typeface="Arial" panose="020B0604020202020204" pitchFamily="34" charset="0"/>
            <a:cs typeface="Arial" panose="020B0604020202020204" pitchFamily="34" charset="0"/>
          </a:endParaRPr>
        </a:p>
      </dgm:t>
    </dgm:pt>
    <dgm:pt modelId="{B2CECF52-5FF9-4255-AADE-4F07C4244791}" type="parTrans" cxnId="{A71A1BCE-667E-453E-BEAF-4D73B894B735}">
      <dgm:prSet/>
      <dgm:spPr/>
      <dgm:t>
        <a:bodyPr/>
        <a:lstStyle/>
        <a:p>
          <a:endParaRPr lang="en-GB"/>
        </a:p>
      </dgm:t>
    </dgm:pt>
    <dgm:pt modelId="{0A4CEB42-4A38-400F-8262-751D96627A20}" type="sibTrans" cxnId="{A71A1BCE-667E-453E-BEAF-4D73B894B735}">
      <dgm:prSet/>
      <dgm:spPr/>
      <dgm:t>
        <a:bodyPr/>
        <a:lstStyle/>
        <a:p>
          <a:endParaRPr lang="en-GB"/>
        </a:p>
      </dgm:t>
    </dgm:pt>
    <dgm:pt modelId="{F6BF90A1-529D-47DD-8DCC-09432E3F556A}">
      <dgm:prSet phldrT="[Text]" custT="1"/>
      <dgm:spPr/>
      <dgm:t>
        <a:bodyPr/>
        <a:lstStyle/>
        <a:p>
          <a:r>
            <a:rPr lang="de-DE" sz="1400" dirty="0">
              <a:solidFill>
                <a:schemeClr val="tx1"/>
              </a:solidFill>
              <a:latin typeface="+mj-lt"/>
              <a:cs typeface="Arial" panose="020B0604020202020204" pitchFamily="34" charset="0"/>
            </a:rPr>
            <a:t>Opening and Closing Time,</a:t>
          </a:r>
          <a:endParaRPr lang="en-GB" sz="1400" dirty="0">
            <a:solidFill>
              <a:schemeClr val="tx1"/>
            </a:solidFill>
            <a:latin typeface="+mj-lt"/>
            <a:cs typeface="Arial" panose="020B0604020202020204" pitchFamily="34" charset="0"/>
          </a:endParaRPr>
        </a:p>
      </dgm:t>
    </dgm:pt>
    <dgm:pt modelId="{704125B6-A48F-4C51-8E0E-72304A06FEB9}" type="parTrans" cxnId="{F9E5EA5C-DA95-4C5A-A9E2-6DCB8BCBD3C4}">
      <dgm:prSet/>
      <dgm:spPr/>
      <dgm:t>
        <a:bodyPr/>
        <a:lstStyle/>
        <a:p>
          <a:endParaRPr lang="en-GB"/>
        </a:p>
      </dgm:t>
    </dgm:pt>
    <dgm:pt modelId="{38AF8A0A-451A-4E99-B951-BB3B5169A023}" type="sibTrans" cxnId="{F9E5EA5C-DA95-4C5A-A9E2-6DCB8BCBD3C4}">
      <dgm:prSet/>
      <dgm:spPr/>
      <dgm:t>
        <a:bodyPr/>
        <a:lstStyle/>
        <a:p>
          <a:endParaRPr lang="en-GB"/>
        </a:p>
      </dgm:t>
    </dgm:pt>
    <dgm:pt modelId="{1D4B30A4-664C-455D-9CDB-602C12E7CAE0}">
      <dgm:prSet phldrT="[Text]" custT="1"/>
      <dgm:spPr/>
      <dgm:t>
        <a:bodyPr/>
        <a:lstStyle/>
        <a:p>
          <a:r>
            <a:rPr lang="de-DE" sz="1400" dirty="0">
              <a:solidFill>
                <a:schemeClr val="tx1"/>
              </a:solidFill>
              <a:latin typeface="+mj-lt"/>
              <a:cs typeface="Arial" panose="020B0604020202020204" pitchFamily="34" charset="0"/>
            </a:rPr>
            <a:t>Capacity Resolution,</a:t>
          </a:r>
          <a:endParaRPr lang="en-GB" sz="1400" dirty="0">
            <a:solidFill>
              <a:schemeClr val="tx1"/>
            </a:solidFill>
            <a:latin typeface="+mj-lt"/>
            <a:cs typeface="Arial" panose="020B0604020202020204" pitchFamily="34" charset="0"/>
          </a:endParaRPr>
        </a:p>
      </dgm:t>
    </dgm:pt>
    <dgm:pt modelId="{B63CCB7E-15A2-4C53-B4FA-1E7CFDF86832}" type="parTrans" cxnId="{DB00DF13-7682-4FA8-A58A-7FD734D771A4}">
      <dgm:prSet/>
      <dgm:spPr/>
      <dgm:t>
        <a:bodyPr/>
        <a:lstStyle/>
        <a:p>
          <a:endParaRPr lang="en-GB"/>
        </a:p>
      </dgm:t>
    </dgm:pt>
    <dgm:pt modelId="{8D53E2E2-D331-4534-A009-AE7F89B082B4}" type="sibTrans" cxnId="{DB00DF13-7682-4FA8-A58A-7FD734D771A4}">
      <dgm:prSet/>
      <dgm:spPr/>
      <dgm:t>
        <a:bodyPr/>
        <a:lstStyle/>
        <a:p>
          <a:endParaRPr lang="en-GB"/>
        </a:p>
      </dgm:t>
    </dgm:pt>
    <dgm:pt modelId="{FEBD6D41-C625-4042-969D-18E1CF1D1DEB}">
      <dgm:prSet phldrT="[Text]" custT="1"/>
      <dgm:spPr/>
      <dgm:t>
        <a:bodyPr/>
        <a:lstStyle/>
        <a:p>
          <a:r>
            <a:rPr lang="de-DE" sz="1400" dirty="0">
              <a:solidFill>
                <a:schemeClr val="tx1"/>
              </a:solidFill>
              <a:latin typeface="+mj-lt"/>
              <a:cs typeface="Arial" panose="020B0604020202020204" pitchFamily="34" charset="0"/>
            </a:rPr>
            <a:t>Default Capacity,</a:t>
          </a:r>
        </a:p>
      </dgm:t>
    </dgm:pt>
    <dgm:pt modelId="{920DAC55-F43C-4922-957A-84C6FC800F6C}" type="parTrans" cxnId="{A83DB7E6-D709-4DD3-B920-ABA2F29A9C7E}">
      <dgm:prSet/>
      <dgm:spPr/>
      <dgm:t>
        <a:bodyPr/>
        <a:lstStyle/>
        <a:p>
          <a:endParaRPr lang="en-GB"/>
        </a:p>
      </dgm:t>
    </dgm:pt>
    <dgm:pt modelId="{546624CD-BB8A-4F87-A36C-1C8805D60F87}" type="sibTrans" cxnId="{A83DB7E6-D709-4DD3-B920-ABA2F29A9C7E}">
      <dgm:prSet/>
      <dgm:spPr/>
      <dgm:t>
        <a:bodyPr/>
        <a:lstStyle/>
        <a:p>
          <a:endParaRPr lang="en-GB"/>
        </a:p>
      </dgm:t>
    </dgm:pt>
    <dgm:pt modelId="{34921710-7606-49C5-BAE7-E765CE05A966}">
      <dgm:prSet phldrT="[Text]" custT="1"/>
      <dgm:spPr/>
      <dgm:t>
        <a:bodyPr/>
        <a:lstStyle/>
        <a:p>
          <a:r>
            <a:rPr lang="de-DE" sz="1600" dirty="0">
              <a:latin typeface="Arial" panose="020B0604020202020204" pitchFamily="34" charset="0"/>
              <a:cs typeface="Arial" panose="020B0604020202020204" pitchFamily="34" charset="0"/>
            </a:rPr>
            <a:t>Common Configuration per Border</a:t>
          </a:r>
          <a:endParaRPr lang="en-GB" sz="1600" dirty="0">
            <a:latin typeface="Arial" panose="020B0604020202020204" pitchFamily="34" charset="0"/>
            <a:cs typeface="Arial" panose="020B0604020202020204" pitchFamily="34" charset="0"/>
          </a:endParaRPr>
        </a:p>
      </dgm:t>
    </dgm:pt>
    <dgm:pt modelId="{F9148FB4-0B5E-44E1-A5A1-B849B1C17CF0}" type="parTrans" cxnId="{9C377488-F02B-411A-87D2-A1595B0F9390}">
      <dgm:prSet/>
      <dgm:spPr/>
      <dgm:t>
        <a:bodyPr/>
        <a:lstStyle/>
        <a:p>
          <a:endParaRPr lang="en-GB"/>
        </a:p>
      </dgm:t>
    </dgm:pt>
    <dgm:pt modelId="{4F5E5CA7-5D98-4D49-B01F-D2232A2AC70B}" type="sibTrans" cxnId="{9C377488-F02B-411A-87D2-A1595B0F9390}">
      <dgm:prSet/>
      <dgm:spPr/>
      <dgm:t>
        <a:bodyPr/>
        <a:lstStyle/>
        <a:p>
          <a:endParaRPr lang="en-GB"/>
        </a:p>
      </dgm:t>
    </dgm:pt>
    <dgm:pt modelId="{8B2A6F92-179E-4997-9AB9-7DEC9BD9E293}">
      <dgm:prSet phldrT="[Text]" custT="1"/>
      <dgm:spPr/>
      <dgm:t>
        <a:bodyPr/>
        <a:lstStyle/>
        <a:p>
          <a:r>
            <a:rPr lang="de-DE" sz="1400" dirty="0">
              <a:solidFill>
                <a:schemeClr val="tx1"/>
              </a:solidFill>
              <a:latin typeface="+mj-lt"/>
              <a:cs typeface="Arial" panose="020B0604020202020204" pitchFamily="34" charset="0"/>
            </a:rPr>
            <a:t>Common ATC,</a:t>
          </a:r>
          <a:endParaRPr lang="en-GB" sz="1400" dirty="0">
            <a:solidFill>
              <a:schemeClr val="tx1"/>
            </a:solidFill>
            <a:latin typeface="+mj-lt"/>
            <a:cs typeface="Arial" panose="020B0604020202020204" pitchFamily="34" charset="0"/>
          </a:endParaRPr>
        </a:p>
      </dgm:t>
    </dgm:pt>
    <dgm:pt modelId="{A0E11683-333F-4905-B700-270762D0C487}" type="parTrans" cxnId="{D4F8BA28-3D65-4A63-9D76-58A65F33CF08}">
      <dgm:prSet/>
      <dgm:spPr/>
      <dgm:t>
        <a:bodyPr/>
        <a:lstStyle/>
        <a:p>
          <a:endParaRPr lang="en-GB"/>
        </a:p>
      </dgm:t>
    </dgm:pt>
    <dgm:pt modelId="{68374CD6-FC97-4C1C-B697-A88060664D4F}" type="sibTrans" cxnId="{D4F8BA28-3D65-4A63-9D76-58A65F33CF08}">
      <dgm:prSet/>
      <dgm:spPr/>
      <dgm:t>
        <a:bodyPr/>
        <a:lstStyle/>
        <a:p>
          <a:endParaRPr lang="en-GB"/>
        </a:p>
      </dgm:t>
    </dgm:pt>
    <dgm:pt modelId="{94EAAA12-1F1E-4460-AB51-9687B320E03E}">
      <dgm:prSet phldrT="[Text]" custT="1"/>
      <dgm:spPr/>
      <dgm:t>
        <a:bodyPr/>
        <a:lstStyle/>
        <a:p>
          <a:r>
            <a:rPr lang="de-DE" sz="1400" dirty="0" err="1">
              <a:solidFill>
                <a:schemeClr val="tx1"/>
              </a:solidFill>
              <a:latin typeface="+mj-lt"/>
              <a:cs typeface="Arial" panose="020B0604020202020204" pitchFamily="34" charset="0"/>
            </a:rPr>
            <a:t>Leading</a:t>
          </a:r>
          <a:r>
            <a:rPr lang="de-DE" sz="1400" dirty="0">
              <a:solidFill>
                <a:schemeClr val="tx1"/>
              </a:solidFill>
              <a:latin typeface="+mj-lt"/>
              <a:cs typeface="Arial" panose="020B0604020202020204" pitchFamily="34" charset="0"/>
            </a:rPr>
            <a:t> TSO,</a:t>
          </a:r>
          <a:endParaRPr lang="en-GB" sz="1400" dirty="0">
            <a:solidFill>
              <a:schemeClr val="tx1"/>
            </a:solidFill>
            <a:latin typeface="+mj-lt"/>
            <a:cs typeface="Arial" panose="020B0604020202020204" pitchFamily="34" charset="0"/>
          </a:endParaRPr>
        </a:p>
      </dgm:t>
    </dgm:pt>
    <dgm:pt modelId="{AE1A159C-3767-42C8-B4C7-4AA04CE0C58F}" type="parTrans" cxnId="{0F661F54-554C-4E7D-BD70-E17D5952A1CC}">
      <dgm:prSet/>
      <dgm:spPr/>
      <dgm:t>
        <a:bodyPr/>
        <a:lstStyle/>
        <a:p>
          <a:endParaRPr lang="en-GB"/>
        </a:p>
      </dgm:t>
    </dgm:pt>
    <dgm:pt modelId="{4F31B2B1-1722-45B4-885F-B40877C41434}" type="sibTrans" cxnId="{0F661F54-554C-4E7D-BD70-E17D5952A1CC}">
      <dgm:prSet/>
      <dgm:spPr/>
      <dgm:t>
        <a:bodyPr/>
        <a:lstStyle/>
        <a:p>
          <a:endParaRPr lang="en-GB"/>
        </a:p>
      </dgm:t>
    </dgm:pt>
    <dgm:pt modelId="{43957366-74CD-4612-BFA5-9A4C714A9A50}">
      <dgm:prSet custT="1"/>
      <dgm:spPr/>
      <dgm:t>
        <a:bodyPr/>
        <a:lstStyle/>
        <a:p>
          <a:r>
            <a:rPr lang="de-DE" sz="1400" dirty="0">
              <a:solidFill>
                <a:schemeClr val="tx1"/>
              </a:solidFill>
              <a:latin typeface="+mj-lt"/>
              <a:cs typeface="Arial" panose="020B0604020202020204" pitchFamily="34" charset="0"/>
            </a:rPr>
            <a:t>Ramping,</a:t>
          </a:r>
          <a:endParaRPr lang="en-GB" sz="1400" dirty="0">
            <a:solidFill>
              <a:schemeClr val="tx1"/>
            </a:solidFill>
            <a:latin typeface="+mj-lt"/>
            <a:cs typeface="Arial" panose="020B0604020202020204" pitchFamily="34" charset="0"/>
          </a:endParaRPr>
        </a:p>
      </dgm:t>
    </dgm:pt>
    <dgm:pt modelId="{304EE095-C436-495F-B589-7DAEAAC87C89}" type="parTrans" cxnId="{2A9B331A-E83F-43BF-B4E3-AB43B991763B}">
      <dgm:prSet/>
      <dgm:spPr/>
      <dgm:t>
        <a:bodyPr/>
        <a:lstStyle/>
        <a:p>
          <a:endParaRPr lang="en-GB"/>
        </a:p>
      </dgm:t>
    </dgm:pt>
    <dgm:pt modelId="{59898EA8-2024-42E6-9DA6-437CB08839ED}" type="sibTrans" cxnId="{2A9B331A-E83F-43BF-B4E3-AB43B991763B}">
      <dgm:prSet/>
      <dgm:spPr/>
      <dgm:t>
        <a:bodyPr/>
        <a:lstStyle/>
        <a:p>
          <a:endParaRPr lang="en-GB"/>
        </a:p>
      </dgm:t>
    </dgm:pt>
    <dgm:pt modelId="{DB72D04D-B217-4A9A-A33C-AE1A5C644F4D}">
      <dgm:prSet custT="1"/>
      <dgm:spPr/>
      <dgm:t>
        <a:bodyPr/>
        <a:lstStyle/>
        <a:p>
          <a:r>
            <a:rPr lang="de-DE" sz="1400" dirty="0">
              <a:solidFill>
                <a:schemeClr val="tx1"/>
              </a:solidFill>
              <a:latin typeface="+mj-lt"/>
              <a:cs typeface="Arial" panose="020B0604020202020204" pitchFamily="34" charset="0"/>
            </a:rPr>
            <a:t>Validity, etc</a:t>
          </a:r>
          <a:endParaRPr lang="en-GB" sz="1400" dirty="0">
            <a:solidFill>
              <a:schemeClr val="tx1"/>
            </a:solidFill>
            <a:latin typeface="+mj-lt"/>
            <a:cs typeface="Arial" panose="020B0604020202020204" pitchFamily="34" charset="0"/>
          </a:endParaRPr>
        </a:p>
      </dgm:t>
    </dgm:pt>
    <dgm:pt modelId="{C7CCEA31-E65F-4C79-9D32-B5183BF76B16}" type="parTrans" cxnId="{DAF4858E-AB9B-4B10-A359-9AA6F62364AD}">
      <dgm:prSet/>
      <dgm:spPr/>
      <dgm:t>
        <a:bodyPr/>
        <a:lstStyle/>
        <a:p>
          <a:endParaRPr lang="en-GB"/>
        </a:p>
      </dgm:t>
    </dgm:pt>
    <dgm:pt modelId="{5A4BF8AF-4DE3-4A31-AA29-DA1F5990C689}" type="sibTrans" cxnId="{DAF4858E-AB9B-4B10-A359-9AA6F62364AD}">
      <dgm:prSet/>
      <dgm:spPr/>
      <dgm:t>
        <a:bodyPr/>
        <a:lstStyle/>
        <a:p>
          <a:endParaRPr lang="en-GB"/>
        </a:p>
      </dgm:t>
    </dgm:pt>
    <dgm:pt modelId="{FB7BD009-2D71-4FFC-8FE9-5DD7BFB87259}">
      <dgm:prSet phldrT="[Text]" custT="1"/>
      <dgm:spPr/>
      <dgm:t>
        <a:bodyPr/>
        <a:lstStyle/>
        <a:p>
          <a:r>
            <a:rPr lang="de-DE" sz="1400" dirty="0">
              <a:solidFill>
                <a:schemeClr val="tx1"/>
              </a:solidFill>
              <a:latin typeface="+mj-lt"/>
              <a:cs typeface="Arial" panose="020B0604020202020204" pitchFamily="34" charset="0"/>
            </a:rPr>
            <a:t>Validity, etc</a:t>
          </a:r>
          <a:endParaRPr lang="en-GB" sz="1400" dirty="0">
            <a:solidFill>
              <a:schemeClr val="tx1"/>
            </a:solidFill>
            <a:latin typeface="+mj-lt"/>
            <a:cs typeface="Arial" panose="020B0604020202020204" pitchFamily="34" charset="0"/>
          </a:endParaRPr>
        </a:p>
      </dgm:t>
    </dgm:pt>
    <dgm:pt modelId="{363CAA00-84D2-4505-B6B1-CDE37649FBD7}" type="parTrans" cxnId="{707EE3D8-78EF-4618-9E43-DE5CD9102FD1}">
      <dgm:prSet/>
      <dgm:spPr/>
      <dgm:t>
        <a:bodyPr/>
        <a:lstStyle/>
        <a:p>
          <a:endParaRPr lang="en-GB"/>
        </a:p>
      </dgm:t>
    </dgm:pt>
    <dgm:pt modelId="{827F6436-C23D-409E-8A1B-4DB1AE60D372}" type="sibTrans" cxnId="{707EE3D8-78EF-4618-9E43-DE5CD9102FD1}">
      <dgm:prSet/>
      <dgm:spPr/>
      <dgm:t>
        <a:bodyPr/>
        <a:lstStyle/>
        <a:p>
          <a:endParaRPr lang="en-GB"/>
        </a:p>
      </dgm:t>
    </dgm:pt>
    <dgm:pt modelId="{3008F939-2B98-485E-945A-C60CD9F3510A}" type="pres">
      <dgm:prSet presAssocID="{E96E0E13-B060-4C01-B29E-179E6E15F2CB}" presName="linear" presStyleCnt="0">
        <dgm:presLayoutVars>
          <dgm:dir/>
          <dgm:animLvl val="lvl"/>
          <dgm:resizeHandles val="exact"/>
        </dgm:presLayoutVars>
      </dgm:prSet>
      <dgm:spPr/>
      <dgm:t>
        <a:bodyPr/>
        <a:lstStyle/>
        <a:p>
          <a:endParaRPr lang="de-DE"/>
        </a:p>
      </dgm:t>
    </dgm:pt>
    <dgm:pt modelId="{DF8FBC2F-4E6E-4033-A5E9-DD6F97CAD0B3}" type="pres">
      <dgm:prSet presAssocID="{A5FA0F11-ED68-4F29-8963-3AB304A363BD}" presName="parentLin" presStyleCnt="0"/>
      <dgm:spPr/>
    </dgm:pt>
    <dgm:pt modelId="{EDF11CAB-E6A5-4101-8DDB-35AD3BC6A36A}" type="pres">
      <dgm:prSet presAssocID="{A5FA0F11-ED68-4F29-8963-3AB304A363BD}" presName="parentLeftMargin" presStyleLbl="node1" presStyleIdx="0" presStyleCnt="2"/>
      <dgm:spPr/>
      <dgm:t>
        <a:bodyPr/>
        <a:lstStyle/>
        <a:p>
          <a:endParaRPr lang="de-DE"/>
        </a:p>
      </dgm:t>
    </dgm:pt>
    <dgm:pt modelId="{A15DA045-864C-4F6F-9BE4-BBB39FA07B70}" type="pres">
      <dgm:prSet presAssocID="{A5FA0F11-ED68-4F29-8963-3AB304A363BD}" presName="parentText" presStyleLbl="node1" presStyleIdx="0" presStyleCnt="2" custScaleX="135094" custScaleY="174975">
        <dgm:presLayoutVars>
          <dgm:chMax val="0"/>
          <dgm:bulletEnabled val="1"/>
        </dgm:presLayoutVars>
      </dgm:prSet>
      <dgm:spPr>
        <a:prstGeom prst="rect">
          <a:avLst/>
        </a:prstGeom>
      </dgm:spPr>
      <dgm:t>
        <a:bodyPr/>
        <a:lstStyle/>
        <a:p>
          <a:endParaRPr lang="de-DE"/>
        </a:p>
      </dgm:t>
    </dgm:pt>
    <dgm:pt modelId="{A2CC9179-B131-42E4-A3E8-EEDB05BB62E5}" type="pres">
      <dgm:prSet presAssocID="{A5FA0F11-ED68-4F29-8963-3AB304A363BD}" presName="negativeSpace" presStyleCnt="0"/>
      <dgm:spPr/>
    </dgm:pt>
    <dgm:pt modelId="{89BE8AB5-9ED1-41F8-996A-D74CE230E817}" type="pres">
      <dgm:prSet presAssocID="{A5FA0F11-ED68-4F29-8963-3AB304A363BD}" presName="childText" presStyleLbl="conFgAcc1" presStyleIdx="0" presStyleCnt="2">
        <dgm:presLayoutVars>
          <dgm:bulletEnabled val="1"/>
        </dgm:presLayoutVars>
      </dgm:prSet>
      <dgm:spPr/>
      <dgm:t>
        <a:bodyPr/>
        <a:lstStyle/>
        <a:p>
          <a:endParaRPr lang="de-DE"/>
        </a:p>
      </dgm:t>
    </dgm:pt>
    <dgm:pt modelId="{007CDCE3-0991-4769-A0F6-3D069A5EADE2}" type="pres">
      <dgm:prSet presAssocID="{0A4CEB42-4A38-400F-8262-751D96627A20}" presName="spaceBetweenRectangles" presStyleCnt="0"/>
      <dgm:spPr/>
    </dgm:pt>
    <dgm:pt modelId="{3D8299BA-2BA2-405D-9F81-A9BF67716250}" type="pres">
      <dgm:prSet presAssocID="{34921710-7606-49C5-BAE7-E765CE05A966}" presName="parentLin" presStyleCnt="0"/>
      <dgm:spPr/>
    </dgm:pt>
    <dgm:pt modelId="{DD806F9F-1001-43AC-A689-AB697EA61D9A}" type="pres">
      <dgm:prSet presAssocID="{34921710-7606-49C5-BAE7-E765CE05A966}" presName="parentLeftMargin" presStyleLbl="node1" presStyleIdx="0" presStyleCnt="2"/>
      <dgm:spPr/>
      <dgm:t>
        <a:bodyPr/>
        <a:lstStyle/>
        <a:p>
          <a:endParaRPr lang="de-DE"/>
        </a:p>
      </dgm:t>
    </dgm:pt>
    <dgm:pt modelId="{2F4E3213-5AA7-429A-8B97-AEB9F9F3C69D}" type="pres">
      <dgm:prSet presAssocID="{34921710-7606-49C5-BAE7-E765CE05A966}" presName="parentText" presStyleLbl="node1" presStyleIdx="1" presStyleCnt="2" custScaleX="111354" custScaleY="186756">
        <dgm:presLayoutVars>
          <dgm:chMax val="0"/>
          <dgm:bulletEnabled val="1"/>
        </dgm:presLayoutVars>
      </dgm:prSet>
      <dgm:spPr>
        <a:prstGeom prst="rect">
          <a:avLst/>
        </a:prstGeom>
      </dgm:spPr>
      <dgm:t>
        <a:bodyPr/>
        <a:lstStyle/>
        <a:p>
          <a:endParaRPr lang="de-DE"/>
        </a:p>
      </dgm:t>
    </dgm:pt>
    <dgm:pt modelId="{A3F90D27-B3E5-46B4-A64E-07F55F8381AE}" type="pres">
      <dgm:prSet presAssocID="{34921710-7606-49C5-BAE7-E765CE05A966}" presName="negativeSpace" presStyleCnt="0"/>
      <dgm:spPr/>
    </dgm:pt>
    <dgm:pt modelId="{6202246C-2628-43AB-8D68-D12BBD013125}" type="pres">
      <dgm:prSet presAssocID="{34921710-7606-49C5-BAE7-E765CE05A966}" presName="childText" presStyleLbl="conFgAcc1" presStyleIdx="1" presStyleCnt="2">
        <dgm:presLayoutVars>
          <dgm:bulletEnabled val="1"/>
        </dgm:presLayoutVars>
      </dgm:prSet>
      <dgm:spPr/>
      <dgm:t>
        <a:bodyPr/>
        <a:lstStyle/>
        <a:p>
          <a:endParaRPr lang="de-DE"/>
        </a:p>
      </dgm:t>
    </dgm:pt>
  </dgm:ptLst>
  <dgm:cxnLst>
    <dgm:cxn modelId="{A71A1BCE-667E-453E-BEAF-4D73B894B735}" srcId="{E96E0E13-B060-4C01-B29E-179E6E15F2CB}" destId="{A5FA0F11-ED68-4F29-8963-3AB304A363BD}" srcOrd="0" destOrd="0" parTransId="{B2CECF52-5FF9-4255-AADE-4F07C4244791}" sibTransId="{0A4CEB42-4A38-400F-8262-751D96627A20}"/>
    <dgm:cxn modelId="{2A9B331A-E83F-43BF-B4E3-AB43B991763B}" srcId="{A5FA0F11-ED68-4F29-8963-3AB304A363BD}" destId="{43957366-74CD-4612-BFA5-9A4C714A9A50}" srcOrd="3" destOrd="0" parTransId="{304EE095-C436-495F-B589-7DAEAAC87C89}" sibTransId="{59898EA8-2024-42E6-9DA6-437CB08839ED}"/>
    <dgm:cxn modelId="{ADEE7241-98CA-406E-BF31-3E0926697C06}" type="presOf" srcId="{FEBD6D41-C625-4042-969D-18E1CF1D1DEB}" destId="{89BE8AB5-9ED1-41F8-996A-D74CE230E817}" srcOrd="0" destOrd="2" presId="urn:microsoft.com/office/officeart/2005/8/layout/list1"/>
    <dgm:cxn modelId="{26F46C3E-EF21-48B6-8155-D005940B13C8}" type="presOf" srcId="{FB7BD009-2D71-4FFC-8FE9-5DD7BFB87259}" destId="{6202246C-2628-43AB-8D68-D12BBD013125}" srcOrd="0" destOrd="2" presId="urn:microsoft.com/office/officeart/2005/8/layout/list1"/>
    <dgm:cxn modelId="{F9E5EA5C-DA95-4C5A-A9E2-6DCB8BCBD3C4}" srcId="{A5FA0F11-ED68-4F29-8963-3AB304A363BD}" destId="{F6BF90A1-529D-47DD-8DCC-09432E3F556A}" srcOrd="0" destOrd="0" parTransId="{704125B6-A48F-4C51-8E0E-72304A06FEB9}" sibTransId="{38AF8A0A-451A-4E99-B951-BB3B5169A023}"/>
    <dgm:cxn modelId="{29465E00-4A06-4F04-AAF0-67D6F6697875}" type="presOf" srcId="{A5FA0F11-ED68-4F29-8963-3AB304A363BD}" destId="{A15DA045-864C-4F6F-9BE4-BBB39FA07B70}" srcOrd="1" destOrd="0" presId="urn:microsoft.com/office/officeart/2005/8/layout/list1"/>
    <dgm:cxn modelId="{76081DD0-F38F-4757-82DD-3458F40D9748}" type="presOf" srcId="{A5FA0F11-ED68-4F29-8963-3AB304A363BD}" destId="{EDF11CAB-E6A5-4101-8DDB-35AD3BC6A36A}" srcOrd="0" destOrd="0" presId="urn:microsoft.com/office/officeart/2005/8/layout/list1"/>
    <dgm:cxn modelId="{D4F8BA28-3D65-4A63-9D76-58A65F33CF08}" srcId="{34921710-7606-49C5-BAE7-E765CE05A966}" destId="{8B2A6F92-179E-4997-9AB9-7DEC9BD9E293}" srcOrd="0" destOrd="0" parTransId="{A0E11683-333F-4905-B700-270762D0C487}" sibTransId="{68374CD6-FC97-4C1C-B697-A88060664D4F}"/>
    <dgm:cxn modelId="{9C377488-F02B-411A-87D2-A1595B0F9390}" srcId="{E96E0E13-B060-4C01-B29E-179E6E15F2CB}" destId="{34921710-7606-49C5-BAE7-E765CE05A966}" srcOrd="1" destOrd="0" parTransId="{F9148FB4-0B5E-44E1-A5A1-B849B1C17CF0}" sibTransId="{4F5E5CA7-5D98-4D49-B01F-D2232A2AC70B}"/>
    <dgm:cxn modelId="{DB00DF13-7682-4FA8-A58A-7FD734D771A4}" srcId="{A5FA0F11-ED68-4F29-8963-3AB304A363BD}" destId="{1D4B30A4-664C-455D-9CDB-602C12E7CAE0}" srcOrd="1" destOrd="0" parTransId="{B63CCB7E-15A2-4C53-B4FA-1E7CFDF86832}" sibTransId="{8D53E2E2-D331-4534-A009-AE7F89B082B4}"/>
    <dgm:cxn modelId="{FC90283D-4E72-41B1-950E-1F56E531A537}" type="presOf" srcId="{F6BF90A1-529D-47DD-8DCC-09432E3F556A}" destId="{89BE8AB5-9ED1-41F8-996A-D74CE230E817}" srcOrd="0" destOrd="0" presId="urn:microsoft.com/office/officeart/2005/8/layout/list1"/>
    <dgm:cxn modelId="{6C8EEF83-AC97-4A31-8128-D9E350E942DA}" type="presOf" srcId="{34921710-7606-49C5-BAE7-E765CE05A966}" destId="{DD806F9F-1001-43AC-A689-AB697EA61D9A}" srcOrd="0" destOrd="0" presId="urn:microsoft.com/office/officeart/2005/8/layout/list1"/>
    <dgm:cxn modelId="{DAF4858E-AB9B-4B10-A359-9AA6F62364AD}" srcId="{A5FA0F11-ED68-4F29-8963-3AB304A363BD}" destId="{DB72D04D-B217-4A9A-A33C-AE1A5C644F4D}" srcOrd="4" destOrd="0" parTransId="{C7CCEA31-E65F-4C79-9D32-B5183BF76B16}" sibTransId="{5A4BF8AF-4DE3-4A31-AA29-DA1F5990C689}"/>
    <dgm:cxn modelId="{0BD02C81-13CF-4171-A66A-25D3ACB2A002}" type="presOf" srcId="{DB72D04D-B217-4A9A-A33C-AE1A5C644F4D}" destId="{89BE8AB5-9ED1-41F8-996A-D74CE230E817}" srcOrd="0" destOrd="4" presId="urn:microsoft.com/office/officeart/2005/8/layout/list1"/>
    <dgm:cxn modelId="{3A3BD4A8-5778-4559-B0C2-2E9000B2913F}" type="presOf" srcId="{94EAAA12-1F1E-4460-AB51-9687B320E03E}" destId="{6202246C-2628-43AB-8D68-D12BBD013125}" srcOrd="0" destOrd="1" presId="urn:microsoft.com/office/officeart/2005/8/layout/list1"/>
    <dgm:cxn modelId="{707EE3D8-78EF-4618-9E43-DE5CD9102FD1}" srcId="{34921710-7606-49C5-BAE7-E765CE05A966}" destId="{FB7BD009-2D71-4FFC-8FE9-5DD7BFB87259}" srcOrd="2" destOrd="0" parTransId="{363CAA00-84D2-4505-B6B1-CDE37649FBD7}" sibTransId="{827F6436-C23D-409E-8A1B-4DB1AE60D372}"/>
    <dgm:cxn modelId="{0DB8B10E-9B52-4105-9F3B-3428A0FE3789}" type="presOf" srcId="{43957366-74CD-4612-BFA5-9A4C714A9A50}" destId="{89BE8AB5-9ED1-41F8-996A-D74CE230E817}" srcOrd="0" destOrd="3" presId="urn:microsoft.com/office/officeart/2005/8/layout/list1"/>
    <dgm:cxn modelId="{A3213E28-5F2A-421C-B985-76A7C30A764B}" type="presOf" srcId="{E96E0E13-B060-4C01-B29E-179E6E15F2CB}" destId="{3008F939-2B98-485E-945A-C60CD9F3510A}" srcOrd="0" destOrd="0" presId="urn:microsoft.com/office/officeart/2005/8/layout/list1"/>
    <dgm:cxn modelId="{C23C17AF-62F7-47A8-92AB-234AD441D49E}" type="presOf" srcId="{1D4B30A4-664C-455D-9CDB-602C12E7CAE0}" destId="{89BE8AB5-9ED1-41F8-996A-D74CE230E817}" srcOrd="0" destOrd="1" presId="urn:microsoft.com/office/officeart/2005/8/layout/list1"/>
    <dgm:cxn modelId="{A83DB7E6-D709-4DD3-B920-ABA2F29A9C7E}" srcId="{A5FA0F11-ED68-4F29-8963-3AB304A363BD}" destId="{FEBD6D41-C625-4042-969D-18E1CF1D1DEB}" srcOrd="2" destOrd="0" parTransId="{920DAC55-F43C-4922-957A-84C6FC800F6C}" sibTransId="{546624CD-BB8A-4F87-A36C-1C8805D60F87}"/>
    <dgm:cxn modelId="{F800EA22-167B-4F62-A849-B0CA6256BAB7}" type="presOf" srcId="{8B2A6F92-179E-4997-9AB9-7DEC9BD9E293}" destId="{6202246C-2628-43AB-8D68-D12BBD013125}" srcOrd="0" destOrd="0" presId="urn:microsoft.com/office/officeart/2005/8/layout/list1"/>
    <dgm:cxn modelId="{0F661F54-554C-4E7D-BD70-E17D5952A1CC}" srcId="{34921710-7606-49C5-BAE7-E765CE05A966}" destId="{94EAAA12-1F1E-4460-AB51-9687B320E03E}" srcOrd="1" destOrd="0" parTransId="{AE1A159C-3767-42C8-B4C7-4AA04CE0C58F}" sibTransId="{4F31B2B1-1722-45B4-885F-B40877C41434}"/>
    <dgm:cxn modelId="{3B9A5B88-BDA6-458F-8141-AADF49344E9B}" type="presOf" srcId="{34921710-7606-49C5-BAE7-E765CE05A966}" destId="{2F4E3213-5AA7-429A-8B97-AEB9F9F3C69D}" srcOrd="1" destOrd="0" presId="urn:microsoft.com/office/officeart/2005/8/layout/list1"/>
    <dgm:cxn modelId="{C9EAFAA0-82B2-4893-A9D7-FC9CE3FD7CDB}" type="presParOf" srcId="{3008F939-2B98-485E-945A-C60CD9F3510A}" destId="{DF8FBC2F-4E6E-4033-A5E9-DD6F97CAD0B3}" srcOrd="0" destOrd="0" presId="urn:microsoft.com/office/officeart/2005/8/layout/list1"/>
    <dgm:cxn modelId="{B645D448-3AF4-449A-928E-C30D80D015BE}" type="presParOf" srcId="{DF8FBC2F-4E6E-4033-A5E9-DD6F97CAD0B3}" destId="{EDF11CAB-E6A5-4101-8DDB-35AD3BC6A36A}" srcOrd="0" destOrd="0" presId="urn:microsoft.com/office/officeart/2005/8/layout/list1"/>
    <dgm:cxn modelId="{78576F6D-8694-4472-BB5E-E81ABE93AE08}" type="presParOf" srcId="{DF8FBC2F-4E6E-4033-A5E9-DD6F97CAD0B3}" destId="{A15DA045-864C-4F6F-9BE4-BBB39FA07B70}" srcOrd="1" destOrd="0" presId="urn:microsoft.com/office/officeart/2005/8/layout/list1"/>
    <dgm:cxn modelId="{DB359E72-8430-40B1-B4FA-8CE937B3B2E7}" type="presParOf" srcId="{3008F939-2B98-485E-945A-C60CD9F3510A}" destId="{A2CC9179-B131-42E4-A3E8-EEDB05BB62E5}" srcOrd="1" destOrd="0" presId="urn:microsoft.com/office/officeart/2005/8/layout/list1"/>
    <dgm:cxn modelId="{D4A60496-F611-427C-85A9-AB096F66FAB8}" type="presParOf" srcId="{3008F939-2B98-485E-945A-C60CD9F3510A}" destId="{89BE8AB5-9ED1-41F8-996A-D74CE230E817}" srcOrd="2" destOrd="0" presId="urn:microsoft.com/office/officeart/2005/8/layout/list1"/>
    <dgm:cxn modelId="{FBA55AB4-80AB-4D82-BA9A-8A6C9B71EDF3}" type="presParOf" srcId="{3008F939-2B98-485E-945A-C60CD9F3510A}" destId="{007CDCE3-0991-4769-A0F6-3D069A5EADE2}" srcOrd="3" destOrd="0" presId="urn:microsoft.com/office/officeart/2005/8/layout/list1"/>
    <dgm:cxn modelId="{E967B525-CB30-4DFB-948E-5F710FE1BF8C}" type="presParOf" srcId="{3008F939-2B98-485E-945A-C60CD9F3510A}" destId="{3D8299BA-2BA2-405D-9F81-A9BF67716250}" srcOrd="4" destOrd="0" presId="urn:microsoft.com/office/officeart/2005/8/layout/list1"/>
    <dgm:cxn modelId="{33829110-3274-43C9-8CF5-0CFC2309ED72}" type="presParOf" srcId="{3D8299BA-2BA2-405D-9F81-A9BF67716250}" destId="{DD806F9F-1001-43AC-A689-AB697EA61D9A}" srcOrd="0" destOrd="0" presId="urn:microsoft.com/office/officeart/2005/8/layout/list1"/>
    <dgm:cxn modelId="{C73E448F-59AB-4A33-850F-C25FEB079E0B}" type="presParOf" srcId="{3D8299BA-2BA2-405D-9F81-A9BF67716250}" destId="{2F4E3213-5AA7-429A-8B97-AEB9F9F3C69D}" srcOrd="1" destOrd="0" presId="urn:microsoft.com/office/officeart/2005/8/layout/list1"/>
    <dgm:cxn modelId="{592521BF-2E2B-4D44-A02C-CDC211DE3E33}" type="presParOf" srcId="{3008F939-2B98-485E-945A-C60CD9F3510A}" destId="{A3F90D27-B3E5-46B4-A64E-07F55F8381AE}" srcOrd="5" destOrd="0" presId="urn:microsoft.com/office/officeart/2005/8/layout/list1"/>
    <dgm:cxn modelId="{BFA0C18B-D459-414D-8CDE-1E8ED9ABECD8}" type="presParOf" srcId="{3008F939-2B98-485E-945A-C60CD9F3510A}" destId="{6202246C-2628-43AB-8D68-D12BBD013125}"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8AB5BB-ECC7-4910-BF5D-1C22270AA645}">
      <dsp:nvSpPr>
        <dsp:cNvPr id="0" name=""/>
        <dsp:cNvSpPr/>
      </dsp:nvSpPr>
      <dsp:spPr>
        <a:xfrm>
          <a:off x="0" y="85"/>
          <a:ext cx="2746208" cy="34469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de-DE" sz="1800" kern="1200" dirty="0">
              <a:latin typeface="Arial" panose="020B0604020202020204" pitchFamily="34" charset="0"/>
              <a:cs typeface="Arial" panose="020B0604020202020204" pitchFamily="34" charset="0"/>
            </a:rPr>
            <a:t>Area Management</a:t>
          </a:r>
          <a:endParaRPr lang="en-GB" sz="1800" kern="1200" dirty="0">
            <a:latin typeface="Arial" panose="020B0604020202020204" pitchFamily="34" charset="0"/>
            <a:cs typeface="Arial" panose="020B0604020202020204" pitchFamily="34" charset="0"/>
          </a:endParaRPr>
        </a:p>
      </dsp:txBody>
      <dsp:txXfrm>
        <a:off x="16826" y="16911"/>
        <a:ext cx="2712556" cy="3110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C18292-B9AF-467B-889B-35944DC87591}">
      <dsp:nvSpPr>
        <dsp:cNvPr id="0" name=""/>
        <dsp:cNvSpPr/>
      </dsp:nvSpPr>
      <dsp:spPr>
        <a:xfrm>
          <a:off x="0" y="131"/>
          <a:ext cx="2746208" cy="34460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de-DE" sz="1800" kern="1200" dirty="0">
              <a:latin typeface="Arial" panose="020B0604020202020204" pitchFamily="34" charset="0"/>
              <a:cs typeface="Arial" panose="020B0604020202020204" pitchFamily="34" charset="0"/>
            </a:rPr>
            <a:t>Connection Management</a:t>
          </a:r>
          <a:endParaRPr lang="en-GB" sz="1800" kern="1200" dirty="0">
            <a:latin typeface="Arial" panose="020B0604020202020204" pitchFamily="34" charset="0"/>
            <a:cs typeface="Arial" panose="020B0604020202020204" pitchFamily="34" charset="0"/>
          </a:endParaRPr>
        </a:p>
      </dsp:txBody>
      <dsp:txXfrm>
        <a:off x="16822" y="16953"/>
        <a:ext cx="2712564" cy="3109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1A819E-E7F1-4D6B-BCD0-097AC43A58F6}">
      <dsp:nvSpPr>
        <dsp:cNvPr id="0" name=""/>
        <dsp:cNvSpPr/>
      </dsp:nvSpPr>
      <dsp:spPr>
        <a:xfrm>
          <a:off x="0" y="85"/>
          <a:ext cx="2746208" cy="34469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de-DE" sz="1800" kern="1200" dirty="0">
              <a:latin typeface="Arial" panose="020B0604020202020204" pitchFamily="34" charset="0"/>
              <a:cs typeface="Arial" panose="020B0604020202020204" pitchFamily="34" charset="0"/>
            </a:rPr>
            <a:t>User Management</a:t>
          </a:r>
          <a:endParaRPr lang="en-GB" sz="1800" kern="1200" dirty="0">
            <a:latin typeface="Arial" panose="020B0604020202020204" pitchFamily="34" charset="0"/>
            <a:cs typeface="Arial" panose="020B0604020202020204" pitchFamily="34" charset="0"/>
          </a:endParaRPr>
        </a:p>
      </dsp:txBody>
      <dsp:txXfrm>
        <a:off x="16826" y="16911"/>
        <a:ext cx="2712556" cy="3110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BE8AB5-9ED1-41F8-996A-D74CE230E817}">
      <dsp:nvSpPr>
        <dsp:cNvPr id="0" name=""/>
        <dsp:cNvSpPr/>
      </dsp:nvSpPr>
      <dsp:spPr>
        <a:xfrm>
          <a:off x="0" y="245575"/>
          <a:ext cx="5733535" cy="1260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986" tIns="104140" rIns="444986" bIns="99568" numCol="1" spcCol="1270" anchor="t" anchorCtr="0">
          <a:noAutofit/>
        </a:bodyPr>
        <a:lstStyle/>
        <a:p>
          <a:pPr marL="114300" lvl="1" indent="-114300" algn="l" defTabSz="622300">
            <a:lnSpc>
              <a:spcPct val="90000"/>
            </a:lnSpc>
            <a:spcBef>
              <a:spcPct val="0"/>
            </a:spcBef>
            <a:spcAft>
              <a:spcPct val="15000"/>
            </a:spcAft>
            <a:buChar char="••"/>
          </a:pPr>
          <a:r>
            <a:rPr lang="de-DE" sz="1400" kern="1200" dirty="0">
              <a:solidFill>
                <a:schemeClr val="tx1"/>
              </a:solidFill>
              <a:latin typeface="+mj-lt"/>
              <a:cs typeface="Arial" panose="020B0604020202020204" pitchFamily="34" charset="0"/>
            </a:rPr>
            <a:t>Opening and Closing Time,</a:t>
          </a:r>
          <a:endParaRPr lang="en-GB" sz="1400" kern="1200" dirty="0">
            <a:solidFill>
              <a:schemeClr val="tx1"/>
            </a:solidFill>
            <a:latin typeface="+mj-lt"/>
            <a:cs typeface="Arial" panose="020B0604020202020204" pitchFamily="34" charset="0"/>
          </a:endParaRPr>
        </a:p>
        <a:p>
          <a:pPr marL="114300" lvl="1" indent="-114300" algn="l" defTabSz="622300">
            <a:lnSpc>
              <a:spcPct val="90000"/>
            </a:lnSpc>
            <a:spcBef>
              <a:spcPct val="0"/>
            </a:spcBef>
            <a:spcAft>
              <a:spcPct val="15000"/>
            </a:spcAft>
            <a:buChar char="••"/>
          </a:pPr>
          <a:r>
            <a:rPr lang="de-DE" sz="1400" kern="1200" dirty="0">
              <a:solidFill>
                <a:schemeClr val="tx1"/>
              </a:solidFill>
              <a:latin typeface="+mj-lt"/>
              <a:cs typeface="Arial" panose="020B0604020202020204" pitchFamily="34" charset="0"/>
            </a:rPr>
            <a:t>Capacity Resolution,</a:t>
          </a:r>
          <a:endParaRPr lang="en-GB" sz="1400" kern="1200" dirty="0">
            <a:solidFill>
              <a:schemeClr val="tx1"/>
            </a:solidFill>
            <a:latin typeface="+mj-lt"/>
            <a:cs typeface="Arial" panose="020B0604020202020204" pitchFamily="34" charset="0"/>
          </a:endParaRPr>
        </a:p>
        <a:p>
          <a:pPr marL="114300" lvl="1" indent="-114300" algn="l" defTabSz="622300">
            <a:lnSpc>
              <a:spcPct val="90000"/>
            </a:lnSpc>
            <a:spcBef>
              <a:spcPct val="0"/>
            </a:spcBef>
            <a:spcAft>
              <a:spcPct val="15000"/>
            </a:spcAft>
            <a:buChar char="••"/>
          </a:pPr>
          <a:r>
            <a:rPr lang="de-DE" sz="1400" kern="1200" dirty="0">
              <a:solidFill>
                <a:schemeClr val="tx1"/>
              </a:solidFill>
              <a:latin typeface="+mj-lt"/>
              <a:cs typeface="Arial" panose="020B0604020202020204" pitchFamily="34" charset="0"/>
            </a:rPr>
            <a:t>Default Capacity,</a:t>
          </a:r>
        </a:p>
        <a:p>
          <a:pPr marL="114300" lvl="1" indent="-114300" algn="l" defTabSz="622300">
            <a:lnSpc>
              <a:spcPct val="90000"/>
            </a:lnSpc>
            <a:spcBef>
              <a:spcPct val="0"/>
            </a:spcBef>
            <a:spcAft>
              <a:spcPct val="15000"/>
            </a:spcAft>
            <a:buChar char="••"/>
          </a:pPr>
          <a:r>
            <a:rPr lang="de-DE" sz="1400" kern="1200" dirty="0">
              <a:solidFill>
                <a:schemeClr val="tx1"/>
              </a:solidFill>
              <a:latin typeface="+mj-lt"/>
              <a:cs typeface="Arial" panose="020B0604020202020204" pitchFamily="34" charset="0"/>
            </a:rPr>
            <a:t>Ramping,</a:t>
          </a:r>
          <a:endParaRPr lang="en-GB" sz="1400" kern="1200" dirty="0">
            <a:solidFill>
              <a:schemeClr val="tx1"/>
            </a:solidFill>
            <a:latin typeface="+mj-lt"/>
            <a:cs typeface="Arial" panose="020B0604020202020204" pitchFamily="34" charset="0"/>
          </a:endParaRPr>
        </a:p>
        <a:p>
          <a:pPr marL="114300" lvl="1" indent="-114300" algn="l" defTabSz="622300">
            <a:lnSpc>
              <a:spcPct val="90000"/>
            </a:lnSpc>
            <a:spcBef>
              <a:spcPct val="0"/>
            </a:spcBef>
            <a:spcAft>
              <a:spcPct val="15000"/>
            </a:spcAft>
            <a:buChar char="••"/>
          </a:pPr>
          <a:r>
            <a:rPr lang="de-DE" sz="1400" kern="1200" dirty="0">
              <a:solidFill>
                <a:schemeClr val="tx1"/>
              </a:solidFill>
              <a:latin typeface="+mj-lt"/>
              <a:cs typeface="Arial" panose="020B0604020202020204" pitchFamily="34" charset="0"/>
            </a:rPr>
            <a:t>Validity, etc</a:t>
          </a:r>
          <a:endParaRPr lang="en-GB" sz="1400" kern="1200" dirty="0">
            <a:solidFill>
              <a:schemeClr val="tx1"/>
            </a:solidFill>
            <a:latin typeface="+mj-lt"/>
            <a:cs typeface="Arial" panose="020B0604020202020204" pitchFamily="34" charset="0"/>
          </a:endParaRPr>
        </a:p>
      </dsp:txBody>
      <dsp:txXfrm>
        <a:off x="0" y="245575"/>
        <a:ext cx="5733535" cy="1260000"/>
      </dsp:txXfrm>
    </dsp:sp>
    <dsp:sp modelId="{A15DA045-864C-4F6F-9BE4-BBB39FA07B70}">
      <dsp:nvSpPr>
        <dsp:cNvPr id="0" name=""/>
        <dsp:cNvSpPr/>
      </dsp:nvSpPr>
      <dsp:spPr>
        <a:xfrm>
          <a:off x="286396" y="61112"/>
          <a:ext cx="5416668" cy="25826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1700" tIns="0" rIns="151700" bIns="0" numCol="1" spcCol="1270" anchor="ctr" anchorCtr="0">
          <a:noAutofit/>
        </a:bodyPr>
        <a:lstStyle/>
        <a:p>
          <a:pPr lvl="0" algn="l" defTabSz="711200">
            <a:lnSpc>
              <a:spcPct val="90000"/>
            </a:lnSpc>
            <a:spcBef>
              <a:spcPct val="0"/>
            </a:spcBef>
            <a:spcAft>
              <a:spcPct val="35000"/>
            </a:spcAft>
          </a:pPr>
          <a:r>
            <a:rPr lang="de-DE" sz="1600" kern="1200" dirty="0">
              <a:latin typeface="Arial" panose="020B0604020202020204" pitchFamily="34" charset="0"/>
              <a:cs typeface="Arial" panose="020B0604020202020204" pitchFamily="34" charset="0"/>
            </a:rPr>
            <a:t>Separate Configuration per Interconnector</a:t>
          </a:r>
          <a:endParaRPr lang="en-GB" sz="1600" kern="1200" dirty="0">
            <a:latin typeface="Arial" panose="020B0604020202020204" pitchFamily="34" charset="0"/>
            <a:cs typeface="Arial" panose="020B0604020202020204" pitchFamily="34" charset="0"/>
          </a:endParaRPr>
        </a:p>
      </dsp:txBody>
      <dsp:txXfrm>
        <a:off x="286396" y="61112"/>
        <a:ext cx="5416668" cy="258263"/>
      </dsp:txXfrm>
    </dsp:sp>
    <dsp:sp modelId="{6202246C-2628-43AB-8D68-D12BBD013125}">
      <dsp:nvSpPr>
        <dsp:cNvPr id="0" name=""/>
        <dsp:cNvSpPr/>
      </dsp:nvSpPr>
      <dsp:spPr>
        <a:xfrm>
          <a:off x="0" y="1734426"/>
          <a:ext cx="5733535" cy="819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44986" tIns="104140" rIns="444986" bIns="99568" numCol="1" spcCol="1270" anchor="t" anchorCtr="0">
          <a:noAutofit/>
        </a:bodyPr>
        <a:lstStyle/>
        <a:p>
          <a:pPr marL="114300" lvl="1" indent="-114300" algn="l" defTabSz="622300">
            <a:lnSpc>
              <a:spcPct val="90000"/>
            </a:lnSpc>
            <a:spcBef>
              <a:spcPct val="0"/>
            </a:spcBef>
            <a:spcAft>
              <a:spcPct val="15000"/>
            </a:spcAft>
            <a:buChar char="••"/>
          </a:pPr>
          <a:r>
            <a:rPr lang="de-DE" sz="1400" kern="1200" dirty="0">
              <a:solidFill>
                <a:schemeClr val="tx1"/>
              </a:solidFill>
              <a:latin typeface="+mj-lt"/>
              <a:cs typeface="Arial" panose="020B0604020202020204" pitchFamily="34" charset="0"/>
            </a:rPr>
            <a:t>Common ATC,</a:t>
          </a:r>
          <a:endParaRPr lang="en-GB" sz="1400" kern="1200" dirty="0">
            <a:solidFill>
              <a:schemeClr val="tx1"/>
            </a:solidFill>
            <a:latin typeface="+mj-lt"/>
            <a:cs typeface="Arial" panose="020B0604020202020204" pitchFamily="34" charset="0"/>
          </a:endParaRPr>
        </a:p>
        <a:p>
          <a:pPr marL="114300" lvl="1" indent="-114300" algn="l" defTabSz="622300">
            <a:lnSpc>
              <a:spcPct val="90000"/>
            </a:lnSpc>
            <a:spcBef>
              <a:spcPct val="0"/>
            </a:spcBef>
            <a:spcAft>
              <a:spcPct val="15000"/>
            </a:spcAft>
            <a:buChar char="••"/>
          </a:pPr>
          <a:r>
            <a:rPr lang="de-DE" sz="1400" kern="1200" dirty="0" err="1">
              <a:solidFill>
                <a:schemeClr val="tx1"/>
              </a:solidFill>
              <a:latin typeface="+mj-lt"/>
              <a:cs typeface="Arial" panose="020B0604020202020204" pitchFamily="34" charset="0"/>
            </a:rPr>
            <a:t>Leading</a:t>
          </a:r>
          <a:r>
            <a:rPr lang="de-DE" sz="1400" kern="1200" dirty="0">
              <a:solidFill>
                <a:schemeClr val="tx1"/>
              </a:solidFill>
              <a:latin typeface="+mj-lt"/>
              <a:cs typeface="Arial" panose="020B0604020202020204" pitchFamily="34" charset="0"/>
            </a:rPr>
            <a:t> TSO,</a:t>
          </a:r>
          <a:endParaRPr lang="en-GB" sz="1400" kern="1200" dirty="0">
            <a:solidFill>
              <a:schemeClr val="tx1"/>
            </a:solidFill>
            <a:latin typeface="+mj-lt"/>
            <a:cs typeface="Arial" panose="020B0604020202020204" pitchFamily="34" charset="0"/>
          </a:endParaRPr>
        </a:p>
        <a:p>
          <a:pPr marL="114300" lvl="1" indent="-114300" algn="l" defTabSz="622300">
            <a:lnSpc>
              <a:spcPct val="90000"/>
            </a:lnSpc>
            <a:spcBef>
              <a:spcPct val="0"/>
            </a:spcBef>
            <a:spcAft>
              <a:spcPct val="15000"/>
            </a:spcAft>
            <a:buChar char="••"/>
          </a:pPr>
          <a:r>
            <a:rPr lang="de-DE" sz="1400" kern="1200" dirty="0">
              <a:solidFill>
                <a:schemeClr val="tx1"/>
              </a:solidFill>
              <a:latin typeface="+mj-lt"/>
              <a:cs typeface="Arial" panose="020B0604020202020204" pitchFamily="34" charset="0"/>
            </a:rPr>
            <a:t>Validity, etc</a:t>
          </a:r>
          <a:endParaRPr lang="en-GB" sz="1400" kern="1200" dirty="0">
            <a:solidFill>
              <a:schemeClr val="tx1"/>
            </a:solidFill>
            <a:latin typeface="+mj-lt"/>
            <a:cs typeface="Arial" panose="020B0604020202020204" pitchFamily="34" charset="0"/>
          </a:endParaRPr>
        </a:p>
      </dsp:txBody>
      <dsp:txXfrm>
        <a:off x="0" y="1734426"/>
        <a:ext cx="5733535" cy="819000"/>
      </dsp:txXfrm>
    </dsp:sp>
    <dsp:sp modelId="{2F4E3213-5AA7-429A-8B97-AEB9F9F3C69D}">
      <dsp:nvSpPr>
        <dsp:cNvPr id="0" name=""/>
        <dsp:cNvSpPr/>
      </dsp:nvSpPr>
      <dsp:spPr>
        <a:xfrm>
          <a:off x="286396" y="1532575"/>
          <a:ext cx="4464799" cy="27565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1700" tIns="0" rIns="151700" bIns="0" numCol="1" spcCol="1270" anchor="ctr" anchorCtr="0">
          <a:noAutofit/>
        </a:bodyPr>
        <a:lstStyle/>
        <a:p>
          <a:pPr lvl="0" algn="l" defTabSz="711200">
            <a:lnSpc>
              <a:spcPct val="90000"/>
            </a:lnSpc>
            <a:spcBef>
              <a:spcPct val="0"/>
            </a:spcBef>
            <a:spcAft>
              <a:spcPct val="35000"/>
            </a:spcAft>
          </a:pPr>
          <a:r>
            <a:rPr lang="de-DE" sz="1600" kern="1200" dirty="0">
              <a:latin typeface="Arial" panose="020B0604020202020204" pitchFamily="34" charset="0"/>
              <a:cs typeface="Arial" panose="020B0604020202020204" pitchFamily="34" charset="0"/>
            </a:rPr>
            <a:t>Common Configuration per Border</a:t>
          </a:r>
          <a:endParaRPr lang="en-GB" sz="1600" kern="1200" dirty="0">
            <a:latin typeface="Arial" panose="020B0604020202020204" pitchFamily="34" charset="0"/>
            <a:cs typeface="Arial" panose="020B0604020202020204" pitchFamily="34" charset="0"/>
          </a:endParaRPr>
        </a:p>
      </dsp:txBody>
      <dsp:txXfrm>
        <a:off x="286396" y="1532575"/>
        <a:ext cx="4464799" cy="27565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31/01/2018</a:t>
            </a:fld>
            <a:endParaRPr lang="en-GB" altLang="en-US"/>
          </a:p>
        </p:txBody>
      </p:sp>
      <p:sp>
        <p:nvSpPr>
          <p:cNvPr id="4" name="Fußzeilenplatzhalter 3"/>
          <p:cNvSpPr>
            <a:spLocks noGrp="1"/>
          </p:cNvSpPr>
          <p:nvPr>
            <p:ph type="ftr" sz="quarter" idx="2"/>
          </p:nvPr>
        </p:nvSpPr>
        <p:spPr>
          <a:xfrm>
            <a:off x="0" y="9377363"/>
            <a:ext cx="2944813" cy="493712"/>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Nr.›</a:t>
            </a:fld>
            <a:endParaRPr lang="en-GB" altLang="en-US"/>
          </a:p>
        </p:txBody>
      </p:sp>
    </p:spTree>
    <p:extLst>
      <p:ext uri="{BB962C8B-B14F-4D97-AF65-F5344CB8AC3E}">
        <p14:creationId xmlns:p14="http://schemas.microsoft.com/office/powerpoint/2010/main"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dirty="0">
                <a:latin typeface="Arial" charset="0"/>
                <a:ea typeface="+mn-ea"/>
                <a:cs typeface="+mn-cs"/>
              </a:defRPr>
            </a:lvl1pPr>
          </a:lstStyle>
          <a:p>
            <a:pPr>
              <a:defRPr/>
            </a:pPr>
            <a:endParaRPr lang="en-US" dirty="0"/>
          </a:p>
        </p:txBody>
      </p:sp>
      <p:sp>
        <p:nvSpPr>
          <p:cNvPr id="3" name="Espace réservé de la date 2"/>
          <p:cNvSpPr>
            <a:spLocks noGrp="1"/>
          </p:cNvSpPr>
          <p:nvPr>
            <p:ph type="dt"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US" altLang="en-US"/>
              <a:pPr>
                <a:defRPr/>
              </a:pPr>
              <a:t>1/31/2018</a:t>
            </a:fld>
            <a:endParaRPr lang="en-US" altLang="en-US" dirty="0"/>
          </a:p>
        </p:txBody>
      </p:sp>
      <p:sp>
        <p:nvSpPr>
          <p:cNvPr id="4" name="Espace réservé de l'image des diapositives 3"/>
          <p:cNvSpPr>
            <a:spLocks noGrp="1" noRot="1" noChangeAspect="1"/>
          </p:cNvSpPr>
          <p:nvPr>
            <p:ph type="sldImg" idx="2"/>
          </p:nvPr>
        </p:nvSpPr>
        <p:spPr>
          <a:xfrm>
            <a:off x="895985" y="774065"/>
            <a:ext cx="493712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679450" y="4689475"/>
            <a:ext cx="5438775"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US" altLang="en-US" noProof="0" dirty="0" err="1"/>
              <a:t>Cliquez</a:t>
            </a:r>
            <a:r>
              <a:rPr lang="en-US" altLang="en-US" noProof="0" dirty="0"/>
              <a:t> pour modifier les styles du </a:t>
            </a:r>
            <a:r>
              <a:rPr lang="en-US" altLang="en-US" noProof="0" dirty="0" err="1"/>
              <a:t>texte</a:t>
            </a:r>
            <a:r>
              <a:rPr lang="en-US" altLang="en-US" noProof="0" dirty="0"/>
              <a:t> du masque</a:t>
            </a:r>
          </a:p>
          <a:p>
            <a:pPr lvl="1"/>
            <a:r>
              <a:rPr lang="en-US" altLang="en-US" noProof="0" dirty="0" err="1"/>
              <a:t>Deuxième</a:t>
            </a:r>
            <a:r>
              <a:rPr lang="en-US" altLang="en-US" noProof="0" dirty="0"/>
              <a:t> </a:t>
            </a:r>
            <a:r>
              <a:rPr lang="en-US" altLang="en-US" noProof="0" dirty="0" err="1"/>
              <a:t>niveau</a:t>
            </a:r>
            <a:endParaRPr lang="en-US" altLang="en-US" noProof="0" dirty="0"/>
          </a:p>
          <a:p>
            <a:pPr lvl="2"/>
            <a:r>
              <a:rPr lang="en-US" altLang="en-US" noProof="0" dirty="0" err="1"/>
              <a:t>Troisième</a:t>
            </a:r>
            <a:r>
              <a:rPr lang="en-US" altLang="en-US" noProof="0" dirty="0"/>
              <a:t> </a:t>
            </a:r>
            <a:r>
              <a:rPr lang="en-US" altLang="en-US" noProof="0" dirty="0" err="1"/>
              <a:t>niveau</a:t>
            </a:r>
            <a:endParaRPr lang="en-US" altLang="en-US" noProof="0" dirty="0"/>
          </a:p>
          <a:p>
            <a:pPr lvl="3"/>
            <a:r>
              <a:rPr lang="en-US" altLang="en-US" noProof="0" dirty="0" err="1"/>
              <a:t>Quatrième</a:t>
            </a:r>
            <a:r>
              <a:rPr lang="en-US" altLang="en-US" noProof="0" dirty="0"/>
              <a:t> </a:t>
            </a:r>
            <a:r>
              <a:rPr lang="en-US" altLang="en-US" noProof="0" dirty="0" err="1"/>
              <a:t>niveau</a:t>
            </a:r>
            <a:endParaRPr lang="en-US" altLang="en-US" noProof="0" dirty="0"/>
          </a:p>
          <a:p>
            <a:pPr lvl="4"/>
            <a:r>
              <a:rPr lang="en-US" altLang="en-US" noProof="0" dirty="0" err="1"/>
              <a:t>Cinquième</a:t>
            </a:r>
            <a:r>
              <a:rPr lang="en-US" altLang="en-US" noProof="0" dirty="0"/>
              <a:t> </a:t>
            </a:r>
            <a:r>
              <a:rPr lang="en-US" altLang="en-US" noProof="0" dirty="0" err="1"/>
              <a:t>niveau</a:t>
            </a:r>
            <a:endParaRPr lang="en-US" altLang="en-US" noProof="0" dirty="0"/>
          </a:p>
        </p:txBody>
      </p:sp>
      <p:sp>
        <p:nvSpPr>
          <p:cNvPr id="6" name="Espace réservé du pied de page 5"/>
          <p:cNvSpPr>
            <a:spLocks noGrp="1"/>
          </p:cNvSpPr>
          <p:nvPr>
            <p:ph type="ftr" sz="quarter" idx="4"/>
          </p:nvPr>
        </p:nvSpPr>
        <p:spPr>
          <a:xfrm>
            <a:off x="0" y="9377363"/>
            <a:ext cx="2944813" cy="493712"/>
          </a:xfrm>
          <a:prstGeom prst="rect">
            <a:avLst/>
          </a:prstGeom>
        </p:spPr>
        <p:txBody>
          <a:bodyPr vert="horz" lIns="91440" tIns="45720" rIns="91440" bIns="45720" rtlCol="0" anchor="b"/>
          <a:lstStyle>
            <a:lvl1pPr algn="l">
              <a:defRPr sz="1200" dirty="0">
                <a:latin typeface="Arial" charset="0"/>
                <a:ea typeface="+mn-ea"/>
                <a:cs typeface="+mn-cs"/>
              </a:defRPr>
            </a:lvl1pPr>
          </a:lstStyle>
          <a:p>
            <a:pPr>
              <a:defRPr/>
            </a:pPr>
            <a:endParaRPr lang="en-US" dirty="0"/>
          </a:p>
        </p:txBody>
      </p:sp>
      <p:sp>
        <p:nvSpPr>
          <p:cNvPr id="7" name="Espace réservé du numéro de diapositive 6"/>
          <p:cNvSpPr>
            <a:spLocks noGrp="1"/>
          </p:cNvSpPr>
          <p:nvPr>
            <p:ph type="sldNum" sz="quarter" idx="5"/>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US" altLang="en-US"/>
              <a:pPr>
                <a:defRPr/>
              </a:pPr>
              <a:t>‹Nr.›</a:t>
            </a:fld>
            <a:endParaRPr lang="en-US" altLang="en-US" dirty="0"/>
          </a:p>
        </p:txBody>
      </p:sp>
    </p:spTree>
    <p:extLst>
      <p:ext uri="{BB962C8B-B14F-4D97-AF65-F5344CB8AC3E}">
        <p14:creationId xmlns:p14="http://schemas.microsoft.com/office/powerpoint/2010/main"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lienbildplatzhalter 1"/>
          <p:cNvSpPr>
            <a:spLocks noGrp="1" noRot="1" noChangeAspect="1" noTextEdit="1"/>
          </p:cNvSpPr>
          <p:nvPr>
            <p:ph type="sldImg"/>
          </p:nvPr>
        </p:nvSpPr>
        <p:spPr bwMode="auto">
          <a:xfrm>
            <a:off x="895350" y="774700"/>
            <a:ext cx="4937125" cy="3703638"/>
          </a:xfrm>
          <a:noFill/>
          <a:ln>
            <a:solidFill>
              <a:srgbClr val="000000"/>
            </a:solidFill>
            <a:miter lim="800000"/>
            <a:headEnd/>
            <a:tailEnd/>
          </a:ln>
        </p:spPr>
      </p:sp>
      <p:sp>
        <p:nvSpPr>
          <p:cNvPr id="21507" name="Notizenplatzhalter 2"/>
          <p:cNvSpPr>
            <a:spLocks noGrp="1"/>
          </p:cNvSpPr>
          <p:nvPr>
            <p:ph type="body" idx="1"/>
          </p:nvPr>
        </p:nvSpPr>
        <p:spPr bwMode="auto">
          <a:noFill/>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b="1"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Audience: TSOs, NRAs, ACER, ….</a:t>
            </a:r>
            <a:endParaRPr lang="en-US" sz="12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a:p>
            <a:endParaRPr lang="en-US" altLang="en-US" dirty="0"/>
          </a:p>
        </p:txBody>
      </p:sp>
      <p:sp>
        <p:nvSpPr>
          <p:cNvPr id="21508" name="Foliennummernplatzhalter 3"/>
          <p:cNvSpPr>
            <a:spLocks noGrp="1"/>
          </p:cNvSpPr>
          <p:nvPr>
            <p:ph type="sldNum" sz="quarter" idx="5"/>
          </p:nvPr>
        </p:nvSpPr>
        <p:spPr bwMode="auto">
          <a:noFill/>
          <a:ln>
            <a:miter lim="800000"/>
            <a:headEnd/>
            <a:tailEnd/>
          </a:ln>
        </p:spPr>
        <p:txBody>
          <a:bodyPr/>
          <a:lstStyle/>
          <a:p>
            <a:fld id="{5A820E6D-21DD-4F06-8812-FE9898C2C9A4}" type="slidenum">
              <a:rPr lang="en-US" altLang="en-US" smtClean="0">
                <a:latin typeface="Arial" charset="0"/>
              </a:rPr>
              <a:pPr/>
              <a:t>1</a:t>
            </a:fld>
            <a:endParaRPr lang="en-US" altLang="en-US" dirty="0">
              <a:latin typeface="Arial" charset="0"/>
            </a:endParaRPr>
          </a:p>
        </p:txBody>
      </p:sp>
    </p:spTree>
    <p:extLst>
      <p:ext uri="{BB962C8B-B14F-4D97-AF65-F5344CB8AC3E}">
        <p14:creationId xmlns:p14="http://schemas.microsoft.com/office/powerpoint/2010/main" val="20317591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5</a:t>
            </a:fld>
            <a:endParaRPr lang="en-US" altLang="en-US" dirty="0"/>
          </a:p>
        </p:txBody>
      </p:sp>
    </p:spTree>
    <p:extLst>
      <p:ext uri="{BB962C8B-B14F-4D97-AF65-F5344CB8AC3E}">
        <p14:creationId xmlns:p14="http://schemas.microsoft.com/office/powerpoint/2010/main" val="22337445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6</a:t>
            </a:fld>
            <a:endParaRPr lang="en-US" altLang="en-US" dirty="0"/>
          </a:p>
        </p:txBody>
      </p:sp>
    </p:spTree>
    <p:extLst>
      <p:ext uri="{BB962C8B-B14F-4D97-AF65-F5344CB8AC3E}">
        <p14:creationId xmlns:p14="http://schemas.microsoft.com/office/powerpoint/2010/main" val="842205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7</a:t>
            </a:fld>
            <a:endParaRPr lang="en-US" altLang="en-US" dirty="0"/>
          </a:p>
        </p:txBody>
      </p:sp>
    </p:spTree>
    <p:extLst>
      <p:ext uri="{BB962C8B-B14F-4D97-AF65-F5344CB8AC3E}">
        <p14:creationId xmlns:p14="http://schemas.microsoft.com/office/powerpoint/2010/main" val="2706917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8</a:t>
            </a:fld>
            <a:endParaRPr lang="en-US" altLang="en-US" dirty="0"/>
          </a:p>
        </p:txBody>
      </p:sp>
    </p:spTree>
    <p:extLst>
      <p:ext uri="{BB962C8B-B14F-4D97-AF65-F5344CB8AC3E}">
        <p14:creationId xmlns:p14="http://schemas.microsoft.com/office/powerpoint/2010/main" val="26478017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9</a:t>
            </a:fld>
            <a:endParaRPr lang="en-US" altLang="en-US" dirty="0"/>
          </a:p>
        </p:txBody>
      </p:sp>
    </p:spTree>
    <p:extLst>
      <p:ext uri="{BB962C8B-B14F-4D97-AF65-F5344CB8AC3E}">
        <p14:creationId xmlns:p14="http://schemas.microsoft.com/office/powerpoint/2010/main" val="23154750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30</a:t>
            </a:fld>
            <a:endParaRPr lang="en-US" altLang="en-US" dirty="0"/>
          </a:p>
        </p:txBody>
      </p:sp>
    </p:spTree>
    <p:extLst>
      <p:ext uri="{BB962C8B-B14F-4D97-AF65-F5344CB8AC3E}">
        <p14:creationId xmlns:p14="http://schemas.microsoft.com/office/powerpoint/2010/main" val="27551512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31</a:t>
            </a:fld>
            <a:endParaRPr lang="en-US" altLang="en-US" dirty="0"/>
          </a:p>
        </p:txBody>
      </p:sp>
    </p:spTree>
    <p:extLst>
      <p:ext uri="{BB962C8B-B14F-4D97-AF65-F5344CB8AC3E}">
        <p14:creationId xmlns:p14="http://schemas.microsoft.com/office/powerpoint/2010/main" val="15561819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32</a:t>
            </a:fld>
            <a:endParaRPr lang="en-US" altLang="en-US" dirty="0"/>
          </a:p>
        </p:txBody>
      </p:sp>
    </p:spTree>
    <p:extLst>
      <p:ext uri="{BB962C8B-B14F-4D97-AF65-F5344CB8AC3E}">
        <p14:creationId xmlns:p14="http://schemas.microsoft.com/office/powerpoint/2010/main" val="30237537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33</a:t>
            </a:fld>
            <a:endParaRPr lang="en-US" altLang="en-US" dirty="0"/>
          </a:p>
        </p:txBody>
      </p:sp>
    </p:spTree>
    <p:extLst>
      <p:ext uri="{BB962C8B-B14F-4D97-AF65-F5344CB8AC3E}">
        <p14:creationId xmlns:p14="http://schemas.microsoft.com/office/powerpoint/2010/main" val="9290278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34</a:t>
            </a:fld>
            <a:endParaRPr lang="en-US" altLang="en-US" dirty="0"/>
          </a:p>
        </p:txBody>
      </p:sp>
    </p:spTree>
    <p:extLst>
      <p:ext uri="{BB962C8B-B14F-4D97-AF65-F5344CB8AC3E}">
        <p14:creationId xmlns:p14="http://schemas.microsoft.com/office/powerpoint/2010/main" val="1352428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lienbildplatzhalter 1"/>
          <p:cNvSpPr>
            <a:spLocks noGrp="1" noRot="1" noChangeAspect="1" noTextEdit="1"/>
          </p:cNvSpPr>
          <p:nvPr>
            <p:ph type="sldImg"/>
          </p:nvPr>
        </p:nvSpPr>
        <p:spPr bwMode="auto">
          <a:xfrm>
            <a:off x="895350" y="774700"/>
            <a:ext cx="4937125" cy="3703638"/>
          </a:xfrm>
          <a:noFill/>
          <a:ln>
            <a:solidFill>
              <a:srgbClr val="000000"/>
            </a:solidFill>
            <a:miter lim="800000"/>
            <a:headEnd/>
            <a:tailEnd/>
          </a:ln>
        </p:spPr>
      </p:sp>
      <p:sp>
        <p:nvSpPr>
          <p:cNvPr id="21507" name="Notizenplatzhalter 2"/>
          <p:cNvSpPr>
            <a:spLocks noGrp="1"/>
          </p:cNvSpPr>
          <p:nvPr>
            <p:ph type="body" idx="1"/>
          </p:nvPr>
        </p:nvSpPr>
        <p:spPr bwMode="auto">
          <a:noFill/>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b="1"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Audience: TSOs, NRAs, ACER, ….</a:t>
            </a:r>
            <a:endParaRPr lang="en-US" sz="1200" b="1" cap="none" spc="0" dirty="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endParaRPr>
          </a:p>
          <a:p>
            <a:endParaRPr lang="en-US" altLang="en-US" dirty="0"/>
          </a:p>
        </p:txBody>
      </p:sp>
      <p:sp>
        <p:nvSpPr>
          <p:cNvPr id="21508" name="Foliennummernplatzhalter 3"/>
          <p:cNvSpPr>
            <a:spLocks noGrp="1"/>
          </p:cNvSpPr>
          <p:nvPr>
            <p:ph type="sldNum" sz="quarter" idx="5"/>
          </p:nvPr>
        </p:nvSpPr>
        <p:spPr bwMode="auto">
          <a:noFill/>
          <a:ln>
            <a:miter lim="800000"/>
            <a:headEnd/>
            <a:tailEnd/>
          </a:ln>
        </p:spPr>
        <p:txBody>
          <a:bodyPr/>
          <a:lstStyle/>
          <a:p>
            <a:fld id="{5A820E6D-21DD-4F06-8812-FE9898C2C9A4}" type="slidenum">
              <a:rPr lang="en-US" altLang="en-US" smtClean="0">
                <a:latin typeface="Arial" charset="0"/>
              </a:rPr>
              <a:pPr/>
              <a:t>2</a:t>
            </a:fld>
            <a:endParaRPr lang="en-US" altLang="en-US" dirty="0">
              <a:latin typeface="Arial" charset="0"/>
            </a:endParaRPr>
          </a:p>
        </p:txBody>
      </p:sp>
    </p:spTree>
    <p:extLst>
      <p:ext uri="{BB962C8B-B14F-4D97-AF65-F5344CB8AC3E}">
        <p14:creationId xmlns:p14="http://schemas.microsoft.com/office/powerpoint/2010/main" val="20317591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35</a:t>
            </a:fld>
            <a:endParaRPr lang="en-US" altLang="en-US" dirty="0"/>
          </a:p>
        </p:txBody>
      </p:sp>
    </p:spTree>
    <p:extLst>
      <p:ext uri="{BB962C8B-B14F-4D97-AF65-F5344CB8AC3E}">
        <p14:creationId xmlns:p14="http://schemas.microsoft.com/office/powerpoint/2010/main" val="34228118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36</a:t>
            </a:fld>
            <a:endParaRPr lang="en-US" altLang="en-US" dirty="0"/>
          </a:p>
        </p:txBody>
      </p:sp>
    </p:spTree>
    <p:extLst>
      <p:ext uri="{BB962C8B-B14F-4D97-AF65-F5344CB8AC3E}">
        <p14:creationId xmlns:p14="http://schemas.microsoft.com/office/powerpoint/2010/main" val="636476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37</a:t>
            </a:fld>
            <a:endParaRPr lang="en-US" altLang="en-US" dirty="0"/>
          </a:p>
        </p:txBody>
      </p:sp>
    </p:spTree>
    <p:extLst>
      <p:ext uri="{BB962C8B-B14F-4D97-AF65-F5344CB8AC3E}">
        <p14:creationId xmlns:p14="http://schemas.microsoft.com/office/powerpoint/2010/main" val="10338217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10"/>
          </p:nvPr>
        </p:nvSpPr>
        <p:spPr/>
        <p:txBody>
          <a:bodyPr/>
          <a:lstStyle/>
          <a:p>
            <a:pPr>
              <a:defRPr/>
            </a:pPr>
            <a:fld id="{60325E30-007A-4EC7-826C-F28AC8A99589}" type="slidenum">
              <a:rPr lang="en-US" altLang="en-US" smtClean="0"/>
              <a:pPr>
                <a:defRPr/>
              </a:pPr>
              <a:t>53</a:t>
            </a:fld>
            <a:endParaRPr lang="en-US" altLang="en-US" dirty="0"/>
          </a:p>
        </p:txBody>
      </p:sp>
    </p:spTree>
    <p:extLst>
      <p:ext uri="{BB962C8B-B14F-4D97-AF65-F5344CB8AC3E}">
        <p14:creationId xmlns:p14="http://schemas.microsoft.com/office/powerpoint/2010/main" val="1616176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10"/>
          </p:nvPr>
        </p:nvSpPr>
        <p:spPr/>
        <p:txBody>
          <a:bodyPr/>
          <a:lstStyle/>
          <a:p>
            <a:pPr>
              <a:defRPr/>
            </a:pPr>
            <a:fld id="{60325E30-007A-4EC7-826C-F28AC8A99589}" type="slidenum">
              <a:rPr lang="en-US" altLang="en-US" smtClean="0"/>
              <a:pPr>
                <a:defRPr/>
              </a:pPr>
              <a:t>54</a:t>
            </a:fld>
            <a:endParaRPr lang="en-US" altLang="en-US" dirty="0"/>
          </a:p>
        </p:txBody>
      </p:sp>
    </p:spTree>
    <p:extLst>
      <p:ext uri="{BB962C8B-B14F-4D97-AF65-F5344CB8AC3E}">
        <p14:creationId xmlns:p14="http://schemas.microsoft.com/office/powerpoint/2010/main" val="1616176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a:defRPr/>
            </a:pPr>
            <a:fld id="{BD15C61A-DD0F-4A4D-BC22-718A73056A5B}" type="slidenum">
              <a:rPr lang="de-DE">
                <a:solidFill>
                  <a:prstClr val="black"/>
                </a:solidFill>
                <a:latin typeface="Arial" pitchFamily="34" charset="0"/>
              </a:rPr>
              <a:pPr>
                <a:defRPr/>
              </a:pPr>
              <a:t>75</a:t>
            </a:fld>
            <a:endParaRPr lang="de-DE" dirty="0">
              <a:solidFill>
                <a:prstClr val="black"/>
              </a:solidFill>
              <a:latin typeface="Arial" pitchFamily="34" charset="0"/>
            </a:endParaRPr>
          </a:p>
        </p:txBody>
      </p:sp>
      <p:sp>
        <p:nvSpPr>
          <p:cNvPr id="377858" name="Rectangle 2"/>
          <p:cNvSpPr>
            <a:spLocks noGrp="1" noRot="1" noChangeAspect="1" noChangeArrowheads="1" noTextEdit="1"/>
          </p:cNvSpPr>
          <p:nvPr>
            <p:ph type="sldImg"/>
          </p:nvPr>
        </p:nvSpPr>
        <p:spPr>
          <a:xfrm>
            <a:off x="80963" y="536575"/>
            <a:ext cx="6440487" cy="4832350"/>
          </a:xfrm>
          <a:ln/>
        </p:spPr>
      </p:sp>
      <p:sp>
        <p:nvSpPr>
          <p:cNvPr id="377859" name="Rectangle 3"/>
          <p:cNvSpPr>
            <a:spLocks noGrp="1" noChangeArrowheads="1"/>
          </p:cNvSpPr>
          <p:nvPr>
            <p:ph type="body" idx="1"/>
          </p:nvPr>
        </p:nvSpPr>
        <p:spPr>
          <a:xfrm>
            <a:off x="675208" y="5367404"/>
            <a:ext cx="5253153" cy="4562293"/>
          </a:xfrm>
        </p:spPr>
        <p:txBody>
          <a:bodyPr/>
          <a:lstStyle/>
          <a:p>
            <a:pPr marL="171450" indent="-171450">
              <a:buFontTx/>
              <a:buChar char="-"/>
            </a:pPr>
            <a:endParaRPr lang="en-US" dirty="0"/>
          </a:p>
        </p:txBody>
      </p:sp>
    </p:spTree>
    <p:extLst>
      <p:ext uri="{BB962C8B-B14F-4D97-AF65-F5344CB8AC3E}">
        <p14:creationId xmlns:p14="http://schemas.microsoft.com/office/powerpoint/2010/main" val="21083504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1FB68050-14A2-4CC5-B2F5-2972D12EF86D}" type="slidenum">
              <a:rPr lang="en-GB" smtClean="0">
                <a:solidFill>
                  <a:prstClr val="black"/>
                </a:solidFill>
              </a:rPr>
              <a:pPr/>
              <a:t>76</a:t>
            </a:fld>
            <a:endParaRPr lang="en-GB">
              <a:solidFill>
                <a:prstClr val="black"/>
              </a:solidFill>
            </a:endParaRPr>
          </a:p>
        </p:txBody>
      </p:sp>
    </p:spTree>
    <p:extLst>
      <p:ext uri="{BB962C8B-B14F-4D97-AF65-F5344CB8AC3E}">
        <p14:creationId xmlns:p14="http://schemas.microsoft.com/office/powerpoint/2010/main" val="27923763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1FB68050-14A2-4CC5-B2F5-2972D12EF86D}" type="slidenum">
              <a:rPr lang="en-GB" smtClean="0">
                <a:solidFill>
                  <a:prstClr val="black"/>
                </a:solidFill>
              </a:rPr>
              <a:pPr/>
              <a:t>77</a:t>
            </a:fld>
            <a:endParaRPr lang="en-GB">
              <a:solidFill>
                <a:prstClr val="black"/>
              </a:solidFill>
            </a:endParaRPr>
          </a:p>
        </p:txBody>
      </p:sp>
    </p:spTree>
    <p:extLst>
      <p:ext uri="{BB962C8B-B14F-4D97-AF65-F5344CB8AC3E}">
        <p14:creationId xmlns:p14="http://schemas.microsoft.com/office/powerpoint/2010/main" val="10564923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1FB68050-14A2-4CC5-B2F5-2972D12EF86D}" type="slidenum">
              <a:rPr lang="en-GB" smtClean="0">
                <a:solidFill>
                  <a:prstClr val="black"/>
                </a:solidFill>
              </a:rPr>
              <a:pPr/>
              <a:t>78</a:t>
            </a:fld>
            <a:endParaRPr lang="en-GB">
              <a:solidFill>
                <a:prstClr val="black"/>
              </a:solidFill>
            </a:endParaRPr>
          </a:p>
        </p:txBody>
      </p:sp>
    </p:spTree>
    <p:extLst>
      <p:ext uri="{BB962C8B-B14F-4D97-AF65-F5344CB8AC3E}">
        <p14:creationId xmlns:p14="http://schemas.microsoft.com/office/powerpoint/2010/main" val="9788060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pPr>
              <a:spcAft>
                <a:spcPts val="1350"/>
              </a:spcAft>
            </a:pPr>
            <a:endParaRPr lang="en-US" dirty="0"/>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1FB68050-14A2-4CC5-B2F5-2972D12EF86D}" type="slidenum">
              <a:rPr lang="en-GB" smtClean="0">
                <a:solidFill>
                  <a:prstClr val="black"/>
                </a:solidFill>
              </a:rPr>
              <a:pPr/>
              <a:t>79</a:t>
            </a:fld>
            <a:endParaRPr lang="en-GB">
              <a:solidFill>
                <a:prstClr val="black"/>
              </a:solidFill>
            </a:endParaRPr>
          </a:p>
        </p:txBody>
      </p:sp>
    </p:spTree>
    <p:extLst>
      <p:ext uri="{BB962C8B-B14F-4D97-AF65-F5344CB8AC3E}">
        <p14:creationId xmlns:p14="http://schemas.microsoft.com/office/powerpoint/2010/main" val="1132850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95350" y="774700"/>
            <a:ext cx="4937125" cy="3703638"/>
          </a:xfrm>
        </p:spPr>
      </p:sp>
      <p:sp>
        <p:nvSpPr>
          <p:cNvPr id="3" name="Notizenplatzhalter 2"/>
          <p:cNvSpPr>
            <a:spLocks noGrp="1"/>
          </p:cNvSpPr>
          <p:nvPr>
            <p:ph type="body" idx="1"/>
          </p:nvPr>
        </p:nvSpPr>
        <p:spPr/>
        <p:txBody>
          <a:bodyPr/>
          <a:lstStyle/>
          <a:p>
            <a:endParaRPr lang="de-DE" dirty="0"/>
          </a:p>
        </p:txBody>
      </p:sp>
      <p:sp>
        <p:nvSpPr>
          <p:cNvPr id="4" name="Kopfzeilenplatzhalter 3"/>
          <p:cNvSpPr>
            <a:spLocks noGrp="1"/>
          </p:cNvSpPr>
          <p:nvPr>
            <p:ph type="hdr" sz="quarter" idx="10"/>
          </p:nvPr>
        </p:nvSpPr>
        <p:spPr/>
        <p:txBody>
          <a:bodyPr/>
          <a:lstStyle/>
          <a:p>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45E84EFB-7EB8-4E69-A698-2C5A2FFCDE76}" type="slidenum">
              <a:rPr lang="de-DE" smtClean="0"/>
              <a:pPr/>
              <a:t>14</a:t>
            </a:fld>
            <a:endParaRPr lang="de-DE" dirty="0"/>
          </a:p>
        </p:txBody>
      </p:sp>
    </p:spTree>
    <p:extLst>
      <p:ext uri="{BB962C8B-B14F-4D97-AF65-F5344CB8AC3E}">
        <p14:creationId xmlns:p14="http://schemas.microsoft.com/office/powerpoint/2010/main" val="671893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pPr>
              <a:spcAft>
                <a:spcPts val="1350"/>
              </a:spcAft>
            </a:pPr>
            <a:endParaRPr lang="en-US" dirty="0"/>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1FB68050-14A2-4CC5-B2F5-2972D12EF86D}" type="slidenum">
              <a:rPr lang="en-GB" smtClean="0">
                <a:solidFill>
                  <a:prstClr val="black"/>
                </a:solidFill>
              </a:rPr>
              <a:pPr/>
              <a:t>80</a:t>
            </a:fld>
            <a:endParaRPr lang="en-GB">
              <a:solidFill>
                <a:prstClr val="black"/>
              </a:solidFill>
            </a:endParaRPr>
          </a:p>
        </p:txBody>
      </p:sp>
    </p:spTree>
    <p:extLst>
      <p:ext uri="{BB962C8B-B14F-4D97-AF65-F5344CB8AC3E}">
        <p14:creationId xmlns:p14="http://schemas.microsoft.com/office/powerpoint/2010/main" val="40632938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1FB68050-14A2-4CC5-B2F5-2972D12EF86D}" type="slidenum">
              <a:rPr lang="en-GB" smtClean="0">
                <a:solidFill>
                  <a:prstClr val="black"/>
                </a:solidFill>
              </a:rPr>
              <a:pPr/>
              <a:t>81</a:t>
            </a:fld>
            <a:endParaRPr lang="en-GB">
              <a:solidFill>
                <a:prstClr val="black"/>
              </a:solidFill>
            </a:endParaRPr>
          </a:p>
        </p:txBody>
      </p:sp>
    </p:spTree>
    <p:extLst>
      <p:ext uri="{BB962C8B-B14F-4D97-AF65-F5344CB8AC3E}">
        <p14:creationId xmlns:p14="http://schemas.microsoft.com/office/powerpoint/2010/main" val="20791171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altLang="en-US" dirty="0"/>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1FB68050-14A2-4CC5-B2F5-2972D12EF86D}" type="slidenum">
              <a:rPr lang="en-GB" smtClean="0">
                <a:solidFill>
                  <a:prstClr val="black"/>
                </a:solidFill>
              </a:rPr>
              <a:pPr/>
              <a:t>82</a:t>
            </a:fld>
            <a:endParaRPr lang="en-GB">
              <a:solidFill>
                <a:prstClr val="black"/>
              </a:solidFill>
            </a:endParaRPr>
          </a:p>
        </p:txBody>
      </p:sp>
    </p:spTree>
    <p:extLst>
      <p:ext uri="{BB962C8B-B14F-4D97-AF65-F5344CB8AC3E}">
        <p14:creationId xmlns:p14="http://schemas.microsoft.com/office/powerpoint/2010/main" val="11157538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74700"/>
            <a:ext cx="4937125" cy="3703638"/>
          </a:xfrm>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1FB68050-14A2-4CC5-B2F5-2972D12EF86D}" type="slidenum">
              <a:rPr lang="en-GB" smtClean="0">
                <a:solidFill>
                  <a:prstClr val="black"/>
                </a:solidFill>
              </a:rPr>
              <a:pPr/>
              <a:t>83</a:t>
            </a:fld>
            <a:endParaRPr lang="en-GB">
              <a:solidFill>
                <a:prstClr val="black"/>
              </a:solidFill>
            </a:endParaRPr>
          </a:p>
        </p:txBody>
      </p:sp>
    </p:spTree>
    <p:extLst>
      <p:ext uri="{BB962C8B-B14F-4D97-AF65-F5344CB8AC3E}">
        <p14:creationId xmlns:p14="http://schemas.microsoft.com/office/powerpoint/2010/main" val="4046661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19</a:t>
            </a:fld>
            <a:endParaRPr lang="en-US" altLang="en-US" dirty="0"/>
          </a:p>
        </p:txBody>
      </p:sp>
    </p:spTree>
    <p:extLst>
      <p:ext uri="{BB962C8B-B14F-4D97-AF65-F5344CB8AC3E}">
        <p14:creationId xmlns:p14="http://schemas.microsoft.com/office/powerpoint/2010/main" val="4697184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0</a:t>
            </a:fld>
            <a:endParaRPr lang="en-US" altLang="en-US" dirty="0"/>
          </a:p>
        </p:txBody>
      </p:sp>
    </p:spTree>
    <p:extLst>
      <p:ext uri="{BB962C8B-B14F-4D97-AF65-F5344CB8AC3E}">
        <p14:creationId xmlns:p14="http://schemas.microsoft.com/office/powerpoint/2010/main" val="3695805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1</a:t>
            </a:fld>
            <a:endParaRPr lang="en-US" altLang="en-US" dirty="0"/>
          </a:p>
        </p:txBody>
      </p:sp>
    </p:spTree>
    <p:extLst>
      <p:ext uri="{BB962C8B-B14F-4D97-AF65-F5344CB8AC3E}">
        <p14:creationId xmlns:p14="http://schemas.microsoft.com/office/powerpoint/2010/main" val="22371902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2</a:t>
            </a:fld>
            <a:endParaRPr lang="en-US" altLang="en-US" dirty="0"/>
          </a:p>
        </p:txBody>
      </p:sp>
    </p:spTree>
    <p:extLst>
      <p:ext uri="{BB962C8B-B14F-4D97-AF65-F5344CB8AC3E}">
        <p14:creationId xmlns:p14="http://schemas.microsoft.com/office/powerpoint/2010/main" val="1742538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3</a:t>
            </a:fld>
            <a:endParaRPr lang="en-US" altLang="en-US" dirty="0"/>
          </a:p>
        </p:txBody>
      </p:sp>
    </p:spTree>
    <p:extLst>
      <p:ext uri="{BB962C8B-B14F-4D97-AF65-F5344CB8AC3E}">
        <p14:creationId xmlns:p14="http://schemas.microsoft.com/office/powerpoint/2010/main" val="30634308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895350" y="774700"/>
            <a:ext cx="4937125" cy="3703638"/>
          </a:xfrm>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pPr>
              <a:defRPr/>
            </a:pPr>
            <a:fld id="{60325E30-007A-4EC7-826C-F28AC8A99589}" type="slidenum">
              <a:rPr lang="en-US" altLang="en-US" smtClean="0"/>
              <a:pPr>
                <a:defRPr/>
              </a:pPr>
              <a:t>24</a:t>
            </a:fld>
            <a:endParaRPr lang="en-US" altLang="en-US" dirty="0"/>
          </a:p>
        </p:txBody>
      </p:sp>
    </p:spTree>
    <p:extLst>
      <p:ext uri="{BB962C8B-B14F-4D97-AF65-F5344CB8AC3E}">
        <p14:creationId xmlns:p14="http://schemas.microsoft.com/office/powerpoint/2010/main" val="2352682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9.jpeg"/><Relationship Id="rId4"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jpeg"/><Relationship Id="rId1" Type="http://schemas.openxmlformats.org/officeDocument/2006/relationships/slideMaster" Target="../slideMasters/slideMaster2.xml"/><Relationship Id="rId6" Type="http://schemas.openxmlformats.org/officeDocument/2006/relationships/image" Target="../media/image13.jpeg"/><Relationship Id="rId5" Type="http://schemas.microsoft.com/office/2007/relationships/hdphoto" Target="../media/hdphoto2.wdp"/><Relationship Id="rId4" Type="http://schemas.openxmlformats.org/officeDocument/2006/relationships/image" Target="../media/image1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7.jpg"/><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3" name="Grafik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255958" y="175260"/>
            <a:ext cx="2140782" cy="455676"/>
          </a:xfrm>
          <a:prstGeom prst="rect">
            <a:avLst/>
          </a:prstGeom>
        </p:spPr>
      </p:pic>
      <p:pic>
        <p:nvPicPr>
          <p:cNvPr id="7" name="Grafik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953512" y="808262"/>
            <a:ext cx="6190488" cy="5812536"/>
          </a:xfrm>
          <a:prstGeom prst="rect">
            <a:avLst/>
          </a:prstGeom>
        </p:spPr>
      </p:pic>
      <p:pic>
        <p:nvPicPr>
          <p:cNvPr id="12" name="Grafik 11"/>
          <p:cNvPicPr>
            <a:picLocks noChangeAspect="1"/>
          </p:cNvPicPr>
          <p:nvPr userDrawn="1"/>
        </p:nvPicPr>
        <p:blipFill rotWithShape="1">
          <a:blip r:embed="rId4" cstate="print">
            <a:extLst>
              <a:ext uri="{28A0092B-C50C-407E-A947-70E740481C1C}">
                <a14:useLocalDpi xmlns:a14="http://schemas.microsoft.com/office/drawing/2010/main" val="0"/>
              </a:ext>
            </a:extLst>
          </a:blip>
          <a:srcRect l="40677"/>
          <a:stretch/>
        </p:blipFill>
        <p:spPr>
          <a:xfrm>
            <a:off x="3719512" y="6711696"/>
            <a:ext cx="5424487" cy="146304"/>
          </a:xfrm>
          <a:prstGeom prst="rect">
            <a:avLst/>
          </a:prstGeom>
        </p:spPr>
      </p:pic>
      <p:sp>
        <p:nvSpPr>
          <p:cNvPr id="15" name="Titelplatzhalter 1"/>
          <p:cNvSpPr>
            <a:spLocks noGrp="1"/>
          </p:cNvSpPr>
          <p:nvPr>
            <p:ph type="title" hasCustomPrompt="1"/>
          </p:nvPr>
        </p:nvSpPr>
        <p:spPr>
          <a:xfrm>
            <a:off x="2255839" y="1485900"/>
            <a:ext cx="6329361"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2255839" y="2706523"/>
            <a:ext cx="6329361"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2255839" y="3538078"/>
            <a:ext cx="6329361"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2255839" y="3924915"/>
            <a:ext cx="6329361"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2255839" y="4311751"/>
            <a:ext cx="6329361"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9" name="Grafik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129657" y="6108387"/>
            <a:ext cx="2137543" cy="559976"/>
          </a:xfrm>
          <a:prstGeom prst="rect">
            <a:avLst/>
          </a:prstGeom>
        </p:spPr>
      </p:pic>
    </p:spTree>
    <p:extLst>
      <p:ext uri="{BB962C8B-B14F-4D97-AF65-F5344CB8AC3E}">
        <p14:creationId xmlns:p14="http://schemas.microsoft.com/office/powerpoint/2010/main" val="1185936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Nr.›</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1/31/2018</a:t>
            </a:fld>
            <a:endParaRPr lang="en-US" altLang="en-US" dirty="0"/>
          </a:p>
        </p:txBody>
      </p:sp>
      <p:sp>
        <p:nvSpPr>
          <p:cNvPr id="8" name="Textplatzhalter 6"/>
          <p:cNvSpPr>
            <a:spLocks noGrp="1"/>
          </p:cNvSpPr>
          <p:nvPr>
            <p:ph type="body" sz="quarter" idx="17" hasCustomPrompt="1"/>
          </p:nvPr>
        </p:nvSpPr>
        <p:spPr>
          <a:xfrm>
            <a:off x="2257200" y="2705100"/>
            <a:ext cx="63288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995185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cxnSp>
        <p:nvCxnSpPr>
          <p:cNvPr id="85" name="Gerade Verbindung 84"/>
          <p:cNvCxnSpPr/>
          <p:nvPr/>
        </p:nvCxnSpPr>
        <p:spPr bwMode="gray">
          <a:xfrm flipH="1">
            <a:off x="-42312" y="1485900"/>
            <a:ext cx="9186312"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34" y="6268349"/>
            <a:ext cx="9143966"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8751842" y="6206793"/>
            <a:ext cx="352425"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55245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4460365"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4664754"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8585199"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16141" y="893577"/>
            <a:ext cx="916014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8733090" y="821531"/>
            <a:ext cx="352425"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noProof="0" dirty="0"/>
              <a:t>7,00</a:t>
            </a:r>
          </a:p>
        </p:txBody>
      </p:sp>
      <p:sp>
        <p:nvSpPr>
          <p:cNvPr id="81" name="Textfeld 80"/>
          <p:cNvSpPr txBox="1"/>
          <p:nvPr/>
        </p:nvSpPr>
        <p:spPr bwMode="gray">
          <a:xfrm>
            <a:off x="8408987" y="84061"/>
            <a:ext cx="352425"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noProof="0" dirty="0"/>
              <a:t>11.15</a:t>
            </a:r>
          </a:p>
        </p:txBody>
      </p:sp>
      <p:sp>
        <p:nvSpPr>
          <p:cNvPr id="34" name="Textfeld 33"/>
          <p:cNvSpPr txBox="1"/>
          <p:nvPr/>
        </p:nvSpPr>
        <p:spPr bwMode="gray">
          <a:xfrm>
            <a:off x="4622127" y="84061"/>
            <a:ext cx="352425"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noProof="0" dirty="0"/>
              <a:t>0,30</a:t>
            </a:r>
          </a:p>
        </p:txBody>
      </p:sp>
      <p:sp>
        <p:nvSpPr>
          <p:cNvPr id="38" name="Textfeld 37"/>
          <p:cNvSpPr txBox="1"/>
          <p:nvPr/>
        </p:nvSpPr>
        <p:spPr bwMode="gray">
          <a:xfrm>
            <a:off x="4151313" y="84061"/>
            <a:ext cx="352425"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noProof="0" dirty="0"/>
              <a:t>0,30</a:t>
            </a:r>
          </a:p>
        </p:txBody>
      </p:sp>
      <p:sp>
        <p:nvSpPr>
          <p:cNvPr id="40" name="Textfeld 39"/>
          <p:cNvSpPr txBox="1"/>
          <p:nvPr/>
        </p:nvSpPr>
        <p:spPr bwMode="gray">
          <a:xfrm>
            <a:off x="376237" y="84061"/>
            <a:ext cx="352425"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noProof="0" dirty="0"/>
              <a:t>11,15</a:t>
            </a:r>
          </a:p>
        </p:txBody>
      </p:sp>
      <p:sp>
        <p:nvSpPr>
          <p:cNvPr id="42" name="Titel 1"/>
          <p:cNvSpPr>
            <a:spLocks noGrp="1"/>
          </p:cNvSpPr>
          <p:nvPr>
            <p:ph type="title" hasCustomPrompt="1"/>
          </p:nvPr>
        </p:nvSpPr>
        <p:spPr>
          <a:xfrm>
            <a:off x="540386" y="843850"/>
            <a:ext cx="8051164"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8751842" y="1433868"/>
            <a:ext cx="352425"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0" name="Datumsplatzhalter 9"/>
          <p:cNvSpPr>
            <a:spLocks noGrp="1"/>
          </p:cNvSpPr>
          <p:nvPr>
            <p:ph type="dt" sz="half" idx="10"/>
          </p:nvPr>
        </p:nvSpPr>
        <p:spPr/>
        <p:txBody>
          <a:bodyPr/>
          <a:lstStyle/>
          <a:p>
            <a:pPr>
              <a:defRPr/>
            </a:pPr>
            <a:fld id="{6889D757-E23A-497A-9B14-62A69CF34700}" type="datetime1">
              <a:rPr lang="en-US" altLang="en-US" smtClean="0"/>
              <a:pPr>
                <a:defRPr/>
              </a:pPr>
              <a:t>1/31/2018</a:t>
            </a:fld>
            <a:endParaRPr lang="en-US" altLang="en-US" dirty="0"/>
          </a:p>
        </p:txBody>
      </p:sp>
      <p:sp>
        <p:nvSpPr>
          <p:cNvPr id="11" name="Fußzeilenplatzhalter 10"/>
          <p:cNvSpPr>
            <a:spLocks noGrp="1"/>
          </p:cNvSpPr>
          <p:nvPr>
            <p:ph type="ftr" sz="quarter" idx="11"/>
          </p:nvPr>
        </p:nvSpPr>
        <p:spPr/>
        <p:txBody>
          <a:bodyPr/>
          <a:lstStyle/>
          <a:p>
            <a:pPr>
              <a:defRPr/>
            </a:pPr>
            <a:endParaRPr lang="en-US" dirty="0"/>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Nr.›</a:t>
            </a:fld>
            <a:endParaRPr lang="en-US" altLang="en-US" dirty="0"/>
          </a:p>
        </p:txBody>
      </p:sp>
      <p:sp>
        <p:nvSpPr>
          <p:cNvPr id="73" name="Rechteck 72"/>
          <p:cNvSpPr/>
          <p:nvPr/>
        </p:nvSpPr>
        <p:spPr bwMode="gray">
          <a:xfrm>
            <a:off x="552450" y="1495425"/>
            <a:ext cx="80391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noProof="0">
                <a:solidFill>
                  <a:schemeClr val="tx1"/>
                </a:solidFill>
              </a:rPr>
              <a:t/>
            </a: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2352370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3_Vide">
    <p:spTree>
      <p:nvGrpSpPr>
        <p:cNvPr id="1" name=""/>
        <p:cNvGrpSpPr/>
        <p:nvPr/>
      </p:nvGrpSpPr>
      <p:grpSpPr>
        <a:xfrm>
          <a:off x="0" y="0"/>
          <a:ext cx="0" cy="0"/>
          <a:chOff x="0" y="0"/>
          <a:chExt cx="0" cy="0"/>
        </a:xfrm>
      </p:grpSpPr>
      <p:sp>
        <p:nvSpPr>
          <p:cNvPr id="10" name="Inhaltsplatzhalter 9"/>
          <p:cNvSpPr>
            <a:spLocks noGrp="1"/>
          </p:cNvSpPr>
          <p:nvPr>
            <p:ph sz="quarter" idx="10"/>
          </p:nvPr>
        </p:nvSpPr>
        <p:spPr>
          <a:xfrm>
            <a:off x="265113" y="1255713"/>
            <a:ext cx="8437562" cy="5029200"/>
          </a:xfrm>
        </p:spPr>
        <p:txBody>
          <a:bodyPr/>
          <a:lstStyle>
            <a:lvl1pPr>
              <a:defRPr sz="2000" b="0">
                <a:solidFill>
                  <a:schemeClr val="tx1">
                    <a:lumMod val="50000"/>
                    <a:lumOff val="50000"/>
                  </a:schemeClr>
                </a:solidFill>
                <a:latin typeface="Arial" pitchFamily="34" charset="0"/>
                <a:cs typeface="Arial" pitchFamily="34" charset="0"/>
              </a:defRPr>
            </a:lvl1pPr>
            <a:lvl2pPr>
              <a:defRPr sz="1800" b="0">
                <a:solidFill>
                  <a:schemeClr val="tx1">
                    <a:lumMod val="50000"/>
                    <a:lumOff val="50000"/>
                  </a:schemeClr>
                </a:solidFill>
                <a:latin typeface="Arial" pitchFamily="34" charset="0"/>
                <a:cs typeface="Arial" pitchFamily="34" charset="0"/>
              </a:defRPr>
            </a:lvl2pPr>
            <a:lvl3pPr>
              <a:defRPr sz="1600" b="0">
                <a:solidFill>
                  <a:schemeClr val="tx1">
                    <a:lumMod val="50000"/>
                    <a:lumOff val="50000"/>
                  </a:schemeClr>
                </a:solidFill>
                <a:latin typeface="Arial" pitchFamily="34" charset="0"/>
                <a:cs typeface="Arial" pitchFamily="34" charset="0"/>
              </a:defRPr>
            </a:lvl3pPr>
            <a:lvl4pPr>
              <a:defRPr sz="1400" b="0">
                <a:solidFill>
                  <a:schemeClr val="tx1">
                    <a:lumMod val="50000"/>
                    <a:lumOff val="50000"/>
                  </a:schemeClr>
                </a:solidFill>
                <a:latin typeface="Arial" pitchFamily="34" charset="0"/>
                <a:cs typeface="Arial" pitchFamily="34" charset="0"/>
              </a:defRPr>
            </a:lvl4pPr>
            <a:lvl5pPr>
              <a:defRPr sz="1400" b="0">
                <a:solidFill>
                  <a:schemeClr val="tx1">
                    <a:lumMod val="50000"/>
                    <a:lumOff val="50000"/>
                  </a:schemeClr>
                </a:solidFill>
                <a:latin typeface="Arial" pitchFamily="34" charset="0"/>
                <a:cs typeface="Arial" pitchFamily="34" charset="0"/>
              </a:defRPr>
            </a:lvl5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92" name="Datumsplatzhalter 10"/>
          <p:cNvSpPr>
            <a:spLocks noGrp="1"/>
          </p:cNvSpPr>
          <p:nvPr>
            <p:ph type="dt" sz="half" idx="11"/>
          </p:nvPr>
        </p:nvSpPr>
        <p:spPr>
          <a:xfrm>
            <a:off x="274638" y="6356350"/>
            <a:ext cx="2133600" cy="365125"/>
          </a:xfrm>
        </p:spPr>
        <p:txBody>
          <a:bodyPr/>
          <a:lstStyle>
            <a:lvl1pPr>
              <a:defRPr/>
            </a:lvl1pPr>
          </a:lstStyle>
          <a:p>
            <a:pPr>
              <a:defRPr/>
            </a:pPr>
            <a:fld id="{3A417A4E-0836-4BD1-8C28-A94B30F72941}" type="datetime1">
              <a:rPr lang="en-US" altLang="en-US"/>
              <a:pPr>
                <a:defRPr/>
              </a:pPr>
              <a:t>1/31/2018</a:t>
            </a:fld>
            <a:endParaRPr lang="en-US" altLang="en-US" dirty="0"/>
          </a:p>
        </p:txBody>
      </p:sp>
      <p:sp>
        <p:nvSpPr>
          <p:cNvPr id="93" name="Fußzeilenplatzhalter 11"/>
          <p:cNvSpPr>
            <a:spLocks noGrp="1"/>
          </p:cNvSpPr>
          <p:nvPr>
            <p:ph type="ftr" sz="quarter" idx="12"/>
          </p:nvPr>
        </p:nvSpPr>
        <p:spPr/>
        <p:txBody>
          <a:bodyPr/>
          <a:lstStyle>
            <a:lvl1pPr>
              <a:defRPr dirty="0"/>
            </a:lvl1pPr>
          </a:lstStyle>
          <a:p>
            <a:pPr>
              <a:defRPr/>
            </a:pPr>
            <a:r>
              <a:rPr lang="cs-CZ" dirty="0" err="1"/>
              <a:t>Confidential</a:t>
            </a:r>
            <a:endParaRPr lang="en-US" dirty="0"/>
          </a:p>
        </p:txBody>
      </p:sp>
      <p:sp>
        <p:nvSpPr>
          <p:cNvPr id="94" name="Foliennummernplatzhalter 12"/>
          <p:cNvSpPr>
            <a:spLocks noGrp="1"/>
          </p:cNvSpPr>
          <p:nvPr>
            <p:ph type="sldNum" sz="quarter" idx="13"/>
          </p:nvPr>
        </p:nvSpPr>
        <p:spPr/>
        <p:txBody>
          <a:bodyPr/>
          <a:lstStyle>
            <a:lvl1pPr>
              <a:defRPr/>
            </a:lvl1pPr>
          </a:lstStyle>
          <a:p>
            <a:pPr>
              <a:defRPr/>
            </a:pPr>
            <a:fld id="{52EA69F7-CAED-45AE-832E-1E513A60FD10}" type="slidenum">
              <a:rPr lang="en-US" altLang="en-US"/>
              <a:pPr>
                <a:defRPr/>
              </a:pPr>
              <a:t>‹Nr.›</a:t>
            </a:fld>
            <a:endParaRPr lang="en-US"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final slide">
    <p:spTree>
      <p:nvGrpSpPr>
        <p:cNvPr id="1" name=""/>
        <p:cNvGrpSpPr/>
        <p:nvPr/>
      </p:nvGrpSpPr>
      <p:grpSpPr>
        <a:xfrm>
          <a:off x="0" y="0"/>
          <a:ext cx="0" cy="0"/>
          <a:chOff x="0" y="0"/>
          <a:chExt cx="0" cy="0"/>
        </a:xfrm>
      </p:grpSpPr>
      <p:pic>
        <p:nvPicPr>
          <p:cNvPr id="7" name="Grafik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53512" y="808262"/>
            <a:ext cx="6190488" cy="5812536"/>
          </a:xfrm>
          <a:prstGeom prst="rect">
            <a:avLst/>
          </a:prstGeom>
        </p:spPr>
      </p:pic>
      <p:pic>
        <p:nvPicPr>
          <p:cNvPr id="11" name="Grafik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55958" y="0"/>
            <a:ext cx="6888480" cy="630936"/>
          </a:xfrm>
          <a:prstGeom prst="rect">
            <a:avLst/>
          </a:prstGeom>
        </p:spPr>
      </p:pic>
      <p:pic>
        <p:nvPicPr>
          <p:cNvPr id="12" name="Grafik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6711696"/>
            <a:ext cx="9144000" cy="146304"/>
          </a:xfrm>
          <a:prstGeom prst="rect">
            <a:avLst/>
          </a:prstGeom>
        </p:spPr>
      </p:pic>
      <p:sp>
        <p:nvSpPr>
          <p:cNvPr id="15" name="Titelplatzhalter 1"/>
          <p:cNvSpPr>
            <a:spLocks noGrp="1"/>
          </p:cNvSpPr>
          <p:nvPr>
            <p:ph type="title" hasCustomPrompt="1"/>
          </p:nvPr>
        </p:nvSpPr>
        <p:spPr>
          <a:xfrm>
            <a:off x="2255839" y="1485900"/>
            <a:ext cx="6329361"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17"/>
          <p:cNvSpPr>
            <a:spLocks noGrp="1"/>
          </p:cNvSpPr>
          <p:nvPr>
            <p:ph type="body" sz="quarter" idx="13" hasCustomPrompt="1"/>
          </p:nvPr>
        </p:nvSpPr>
        <p:spPr>
          <a:xfrm>
            <a:off x="2255839" y="2706523"/>
            <a:ext cx="6329361" cy="831555"/>
          </a:xfrm>
          <a:prstGeom prst="rect">
            <a:avLst/>
          </a:prstGeom>
          <a:noFill/>
        </p:spPr>
        <p:txBody>
          <a:bodyPr lIns="0" tIns="0" rIns="0" bIns="0"/>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9657" y="6108387"/>
            <a:ext cx="2137543" cy="559976"/>
          </a:xfrm>
          <a:prstGeom prst="rect">
            <a:avLst/>
          </a:prstGeom>
        </p:spPr>
      </p:pic>
    </p:spTree>
    <p:extLst>
      <p:ext uri="{BB962C8B-B14F-4D97-AF65-F5344CB8AC3E}">
        <p14:creationId xmlns:p14="http://schemas.microsoft.com/office/powerpoint/2010/main" val="23440257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PhAnim="0" preserve="1" userDrawn="1">
  <p:cSld name="Title Slide">
    <p:spTree>
      <p:nvGrpSpPr>
        <p:cNvPr id="1" name=""/>
        <p:cNvGrpSpPr/>
        <p:nvPr/>
      </p:nvGrpSpPr>
      <p:grpSpPr>
        <a:xfrm>
          <a:off x="0" y="0"/>
          <a:ext cx="0" cy="0"/>
          <a:chOff x="0" y="0"/>
          <a:chExt cx="0" cy="0"/>
        </a:xfrm>
      </p:grpSpPr>
      <p:pic>
        <p:nvPicPr>
          <p:cNvPr id="11" name="Picture 2" descr="C:\Users\camuscl\AppData\Local\Microsoft\Windows\Temporary Internet Files\Content.IE5\GTVTTPZC\MP900438622[3].jpg"/>
          <p:cNvPicPr>
            <a:picLocks noChangeAspect="1" noChangeArrowheads="1"/>
          </p:cNvPicPr>
          <p:nvPr userDrawn="1"/>
        </p:nvPicPr>
        <p:blipFill rotWithShape="1">
          <a:blip r:embed="rId2" cstate="print">
            <a:lum bright="70000" contrast="-70000"/>
            <a:extLst>
              <a:ext uri="{BEBA8EAE-BF5A-486C-A8C5-ECC9F3942E4B}">
                <a14:imgProps xmlns:a14="http://schemas.microsoft.com/office/drawing/2010/main">
                  <a14:imgLayer r:embed="rId3">
                    <a14:imgEffect>
                      <a14:colorTemperature colorTemp="4700"/>
                    </a14:imgEffect>
                    <a14:imgEffect>
                      <a14:saturation sat="66000"/>
                    </a14:imgEffect>
                  </a14:imgLayer>
                </a14:imgProps>
              </a:ext>
              <a:ext uri="{28A0092B-C50C-407E-A947-70E740481C1C}">
                <a14:useLocalDpi xmlns:a14="http://schemas.microsoft.com/office/drawing/2010/main" val="0"/>
              </a:ext>
            </a:extLst>
          </a:blip>
          <a:srcRect t="14599"/>
          <a:stretch/>
        </p:blipFill>
        <p:spPr bwMode="auto">
          <a:xfrm>
            <a:off x="168586" y="188639"/>
            <a:ext cx="8975413" cy="585678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FOND_COVER_transp.png"/>
          <p:cNvPicPr>
            <a:picLocks noChangeAspect="1"/>
          </p:cNvPicPr>
          <p:nvPr userDrawn="1"/>
        </p:nvPicPr>
        <p:blipFill>
          <a:blip r:embed="rId4" cstate="print">
            <a:duotone>
              <a:prstClr val="black"/>
              <a:srgbClr val="307098">
                <a:tint val="45000"/>
                <a:satMod val="400000"/>
              </a:srgbClr>
            </a:duotone>
            <a:extLst>
              <a:ext uri="{BEBA8EAE-BF5A-486C-A8C5-ECC9F3942E4B}">
                <a14:imgProps xmlns:a14="http://schemas.microsoft.com/office/drawing/2010/main">
                  <a14:imgLayer r:embed="rId5">
                    <a14:imgEffect>
                      <a14:sharpenSoften amount="-50000"/>
                    </a14:imgEffect>
                    <a14:imgEffect>
                      <a14:colorTemperature colorTemp="4700"/>
                    </a14:imgEffect>
                    <a14:imgEffect>
                      <a14:saturation sat="0"/>
                    </a14:imgEffect>
                  </a14:imgLayer>
                </a14:imgProps>
              </a:ext>
            </a:extLst>
          </a:blip>
          <a:stretch>
            <a:fillRect/>
          </a:stretch>
        </p:blipFill>
        <p:spPr>
          <a:xfrm>
            <a:off x="-79770" y="0"/>
            <a:ext cx="9223769" cy="6858000"/>
          </a:xfrm>
          <a:prstGeom prst="rect">
            <a:avLst/>
          </a:prstGeom>
          <a:ln>
            <a:noFill/>
          </a:ln>
        </p:spPr>
      </p:pic>
      <p:sp>
        <p:nvSpPr>
          <p:cNvPr id="8" name="Rectangle à coins arrondis 7"/>
          <p:cNvSpPr/>
          <p:nvPr userDrawn="1"/>
        </p:nvSpPr>
        <p:spPr>
          <a:xfrm>
            <a:off x="-228919" y="630884"/>
            <a:ext cx="2937944" cy="127564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fr-BE">
              <a:solidFill>
                <a:srgbClr val="FFFFFF"/>
              </a:solidFill>
            </a:endParaRPr>
          </a:p>
        </p:txBody>
      </p:sp>
      <p:pic>
        <p:nvPicPr>
          <p:cNvPr id="9"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0311" y="705527"/>
            <a:ext cx="2299484" cy="1047335"/>
          </a:xfrm>
          <a:prstGeom prst="rect">
            <a:avLst/>
          </a:prstGeom>
        </p:spPr>
      </p:pic>
      <p:sp>
        <p:nvSpPr>
          <p:cNvPr id="12" name="Titre 9"/>
          <p:cNvSpPr>
            <a:spLocks noGrp="1"/>
          </p:cNvSpPr>
          <p:nvPr>
            <p:ph type="title" hasCustomPrompt="1"/>
          </p:nvPr>
        </p:nvSpPr>
        <p:spPr>
          <a:xfrm>
            <a:off x="910550" y="3418172"/>
            <a:ext cx="7981929" cy="1450988"/>
          </a:xfrm>
          <a:prstGeom prst="rect">
            <a:avLst/>
          </a:prstGeom>
        </p:spPr>
        <p:txBody>
          <a:bodyPr/>
          <a:lstStyle>
            <a:lvl1pPr algn="r">
              <a:defRPr b="1" i="0" baseline="0">
                <a:solidFill>
                  <a:srgbClr val="307098"/>
                </a:solidFill>
                <a:latin typeface="Verdana" pitchFamily="34" charset="0"/>
              </a:defRPr>
            </a:lvl1pPr>
          </a:lstStyle>
          <a:p>
            <a:r>
              <a:rPr lang="en-GB" noProof="0" dirty="0"/>
              <a:t>Click to edit title</a:t>
            </a:r>
          </a:p>
        </p:txBody>
      </p:sp>
      <p:sp>
        <p:nvSpPr>
          <p:cNvPr id="10" name="Datumsplatzhalter 9"/>
          <p:cNvSpPr>
            <a:spLocks noGrp="1"/>
          </p:cNvSpPr>
          <p:nvPr>
            <p:ph type="dt" sz="half" idx="10"/>
          </p:nvPr>
        </p:nvSpPr>
        <p:spPr>
          <a:xfrm>
            <a:off x="775466" y="5445224"/>
            <a:ext cx="1996334" cy="720080"/>
          </a:xfrm>
        </p:spPr>
        <p:txBody>
          <a:bodyPr/>
          <a:lstStyle>
            <a:lvl1pPr>
              <a:defRPr sz="2000"/>
            </a:lvl1pPr>
          </a:lstStyle>
          <a:p>
            <a:r>
              <a:rPr lang="de-DE">
                <a:solidFill>
                  <a:srgbClr val="FFFFFF"/>
                </a:solidFill>
              </a:rPr>
              <a:t>04/01/2018</a:t>
            </a:r>
            <a:endParaRPr lang="en-US" dirty="0">
              <a:solidFill>
                <a:srgbClr val="FFFFFF"/>
              </a:solidFill>
            </a:endParaRPr>
          </a:p>
        </p:txBody>
      </p:sp>
      <p:sp>
        <p:nvSpPr>
          <p:cNvPr id="13" name="Fußzeilenplatzhalter 12"/>
          <p:cNvSpPr>
            <a:spLocks noGrp="1"/>
          </p:cNvSpPr>
          <p:nvPr>
            <p:ph type="ftr" sz="quarter" idx="11"/>
          </p:nvPr>
        </p:nvSpPr>
        <p:spPr>
          <a:xfrm>
            <a:off x="2771800" y="5445224"/>
            <a:ext cx="6264695" cy="720080"/>
          </a:xfrm>
        </p:spPr>
        <p:txBody>
          <a:bodyPr/>
          <a:lstStyle>
            <a:lvl1pPr>
              <a:defRPr sz="2000"/>
            </a:lvl1pPr>
          </a:lstStyle>
          <a:p>
            <a:pPr algn="l"/>
            <a:r>
              <a:rPr lang="en-US">
                <a:solidFill>
                  <a:srgbClr val="FFFFFF"/>
                </a:solidFill>
              </a:rPr>
              <a:t>Update to CACM TF from BZR Workshop</a:t>
            </a:r>
            <a:endParaRPr lang="en-US" dirty="0">
              <a:solidFill>
                <a:srgbClr val="FFFFFF"/>
              </a:solidFill>
            </a:endParaRPr>
          </a:p>
        </p:txBody>
      </p:sp>
    </p:spTree>
    <p:extLst>
      <p:ext uri="{BB962C8B-B14F-4D97-AF65-F5344CB8AC3E}">
        <p14:creationId xmlns:p14="http://schemas.microsoft.com/office/powerpoint/2010/main" val="15760982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9" name="Espace réservé du contenu 8"/>
          <p:cNvSpPr>
            <a:spLocks noGrp="1"/>
          </p:cNvSpPr>
          <p:nvPr>
            <p:ph sz="quarter" idx="10"/>
          </p:nvPr>
        </p:nvSpPr>
        <p:spPr>
          <a:xfrm>
            <a:off x="457200" y="980728"/>
            <a:ext cx="8208912" cy="4968552"/>
          </a:xfrm>
          <a:prstGeom prst="rect">
            <a:avLst/>
          </a:prstGeom>
        </p:spPr>
        <p:txBody>
          <a:bodyPr/>
          <a:lstStyle>
            <a:lvl1pPr>
              <a:buClr>
                <a:srgbClr val="307098"/>
              </a:buClr>
              <a:defRPr sz="2400" baseline="0">
                <a:latin typeface="Verdana" pitchFamily="34" charset="0"/>
              </a:defRPr>
            </a:lvl1pPr>
            <a:lvl2pPr>
              <a:buClr>
                <a:srgbClr val="307098"/>
              </a:buClr>
              <a:defRPr sz="2000" baseline="0">
                <a:latin typeface="Verdana" pitchFamily="34" charset="0"/>
              </a:defRPr>
            </a:lvl2pPr>
            <a:lvl3pPr>
              <a:buClr>
                <a:srgbClr val="307098"/>
              </a:buClr>
              <a:defRPr sz="1600" baseline="0">
                <a:latin typeface="Verdana" pitchFamily="34" charset="0"/>
              </a:defRPr>
            </a:lvl3pPr>
            <a:lvl4pPr>
              <a:buClr>
                <a:srgbClr val="307098"/>
              </a:buClr>
              <a:defRPr sz="1400" baseline="0">
                <a:latin typeface="Verdana" pitchFamily="34" charset="0"/>
              </a:defRPr>
            </a:lvl4pPr>
            <a:lvl5pPr>
              <a:buClr>
                <a:srgbClr val="307098"/>
              </a:buClr>
              <a:defRPr sz="1200" baseline="0">
                <a:latin typeface="Verdana"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fr-BE" dirty="0"/>
          </a:p>
        </p:txBody>
      </p:sp>
      <p:sp>
        <p:nvSpPr>
          <p:cNvPr id="10" name="Titre 9"/>
          <p:cNvSpPr>
            <a:spLocks noGrp="1"/>
          </p:cNvSpPr>
          <p:nvPr>
            <p:ph type="title"/>
          </p:nvPr>
        </p:nvSpPr>
        <p:spPr>
          <a:xfrm>
            <a:off x="2411760" y="44624"/>
            <a:ext cx="6429400" cy="576064"/>
          </a:xfrm>
          <a:prstGeom prst="rect">
            <a:avLst/>
          </a:prstGeom>
        </p:spPr>
        <p:txBody>
          <a:bodyPr anchor="ctr" anchorCtr="0">
            <a:noAutofit/>
          </a:bodyPr>
          <a:lstStyle>
            <a:lvl1pPr>
              <a:defRPr sz="2600" b="1" i="0" baseline="0">
                <a:solidFill>
                  <a:schemeClr val="bg1"/>
                </a:solidFill>
                <a:latin typeface="Verdana" pitchFamily="34" charset="0"/>
              </a:defRPr>
            </a:lvl1pPr>
          </a:lstStyle>
          <a:p>
            <a:endParaRPr lang="fr-BE" dirty="0"/>
          </a:p>
        </p:txBody>
      </p:sp>
      <p:sp>
        <p:nvSpPr>
          <p:cNvPr id="14" name="Datumsplatzhalter 13"/>
          <p:cNvSpPr>
            <a:spLocks noGrp="1"/>
          </p:cNvSpPr>
          <p:nvPr>
            <p:ph type="dt" sz="half" idx="11"/>
          </p:nvPr>
        </p:nvSpPr>
        <p:spPr>
          <a:xfrm>
            <a:off x="77351" y="6417376"/>
            <a:ext cx="1614329" cy="396000"/>
          </a:xfrm>
        </p:spPr>
        <p:txBody>
          <a:bodyPr/>
          <a:lstStyle/>
          <a:p>
            <a:r>
              <a:rPr lang="de-DE">
                <a:solidFill>
                  <a:srgbClr val="FFFFFF"/>
                </a:solidFill>
              </a:rPr>
              <a:t>04/01/2018</a:t>
            </a:r>
            <a:endParaRPr lang="en-US" dirty="0">
              <a:solidFill>
                <a:srgbClr val="FFFFFF"/>
              </a:solidFill>
            </a:endParaRPr>
          </a:p>
        </p:txBody>
      </p:sp>
      <p:sp>
        <p:nvSpPr>
          <p:cNvPr id="15" name="Fußzeilenplatzhalter 14"/>
          <p:cNvSpPr>
            <a:spLocks noGrp="1"/>
          </p:cNvSpPr>
          <p:nvPr>
            <p:ph type="ftr" sz="quarter" idx="12"/>
          </p:nvPr>
        </p:nvSpPr>
        <p:spPr/>
        <p:txBody>
          <a:bodyPr/>
          <a:lstStyle/>
          <a:p>
            <a:pPr algn="l"/>
            <a:r>
              <a:rPr lang="en-US">
                <a:solidFill>
                  <a:srgbClr val="FFFFFF"/>
                </a:solidFill>
              </a:rPr>
              <a:t>Update to CACM TF from BZR Workshop</a:t>
            </a:r>
            <a:endParaRPr lang="en-US" dirty="0">
              <a:solidFill>
                <a:srgbClr val="FFFFFF"/>
              </a:solidFill>
            </a:endParaRPr>
          </a:p>
        </p:txBody>
      </p:sp>
      <p:sp>
        <p:nvSpPr>
          <p:cNvPr id="16" name="Foliennummernplatzhalter 15"/>
          <p:cNvSpPr>
            <a:spLocks noGrp="1"/>
          </p:cNvSpPr>
          <p:nvPr>
            <p:ph type="sldNum" sz="quarter" idx="13"/>
          </p:nvPr>
        </p:nvSpPr>
        <p:spPr/>
        <p:txBody>
          <a:bodyPr/>
          <a:lstStyle/>
          <a:p>
            <a:fld id="{023D7A0C-2893-4A5B-9776-FCF4CE9D02B2}" type="slidenum">
              <a:rPr lang="en-US" smtClean="0">
                <a:solidFill>
                  <a:srgbClr val="FFFFFF"/>
                </a:solidFill>
              </a:rPr>
              <a:pPr/>
              <a:t>‹Nr.›</a:t>
            </a:fld>
            <a:endParaRPr lang="en-US" dirty="0">
              <a:solidFill>
                <a:srgbClr val="FFFFFF"/>
              </a:solidFill>
            </a:endParaRPr>
          </a:p>
        </p:txBody>
      </p:sp>
    </p:spTree>
    <p:extLst>
      <p:ext uri="{BB962C8B-B14F-4D97-AF65-F5344CB8AC3E}">
        <p14:creationId xmlns:p14="http://schemas.microsoft.com/office/powerpoint/2010/main" val="29594288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PhAnim="0" preserve="1" userDrawn="1">
  <p:cSld name="Thank you slide">
    <p:spTree>
      <p:nvGrpSpPr>
        <p:cNvPr id="1" name=""/>
        <p:cNvGrpSpPr/>
        <p:nvPr/>
      </p:nvGrpSpPr>
      <p:grpSpPr>
        <a:xfrm>
          <a:off x="0" y="0"/>
          <a:ext cx="0" cy="0"/>
          <a:chOff x="0" y="0"/>
          <a:chExt cx="0" cy="0"/>
        </a:xfrm>
      </p:grpSpPr>
      <p:pic>
        <p:nvPicPr>
          <p:cNvPr id="16" name="Picture 2" descr="C:\Users\camuscl\AppData\Local\Microsoft\Windows\Temporary Internet Files\Content.IE5\GTVTTPZC\MP900438622[3].jpg"/>
          <p:cNvPicPr>
            <a:picLocks noChangeAspect="1" noChangeArrowheads="1"/>
          </p:cNvPicPr>
          <p:nvPr userDrawn="1"/>
        </p:nvPicPr>
        <p:blipFill>
          <a:blip r:embed="rId2" cstate="print"/>
          <a:srcRect/>
          <a:stretch>
            <a:fillRect/>
          </a:stretch>
        </p:blipFill>
        <p:spPr bwMode="auto">
          <a:xfrm>
            <a:off x="0" y="-6350"/>
            <a:ext cx="9144000" cy="6985000"/>
          </a:xfrm>
          <a:prstGeom prst="rect">
            <a:avLst/>
          </a:prstGeom>
          <a:noFill/>
          <a:ln w="9525">
            <a:noFill/>
            <a:miter lim="800000"/>
            <a:headEnd/>
            <a:tailEnd/>
          </a:ln>
        </p:spPr>
      </p:pic>
      <p:sp>
        <p:nvSpPr>
          <p:cNvPr id="8" name="Rectangle à coins arrondis 7"/>
          <p:cNvSpPr/>
          <p:nvPr userDrawn="1"/>
        </p:nvSpPr>
        <p:spPr>
          <a:xfrm>
            <a:off x="-228919" y="630884"/>
            <a:ext cx="2937944" cy="127564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fr-BE">
              <a:solidFill>
                <a:srgbClr val="FFFFFF"/>
              </a:solidFill>
            </a:endParaRPr>
          </a:p>
        </p:txBody>
      </p:sp>
      <p:pic>
        <p:nvPicPr>
          <p:cNvPr id="9"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311" y="705527"/>
            <a:ext cx="2299484" cy="1047335"/>
          </a:xfrm>
          <a:prstGeom prst="rect">
            <a:avLst/>
          </a:prstGeom>
        </p:spPr>
      </p:pic>
      <p:sp>
        <p:nvSpPr>
          <p:cNvPr id="12" name="Titre 9"/>
          <p:cNvSpPr>
            <a:spLocks noGrp="1"/>
          </p:cNvSpPr>
          <p:nvPr>
            <p:ph type="title" hasCustomPrompt="1"/>
          </p:nvPr>
        </p:nvSpPr>
        <p:spPr>
          <a:xfrm>
            <a:off x="910550" y="3418172"/>
            <a:ext cx="7981929" cy="1450988"/>
          </a:xfrm>
          <a:prstGeom prst="rect">
            <a:avLst/>
          </a:prstGeom>
        </p:spPr>
        <p:txBody>
          <a:bodyPr/>
          <a:lstStyle>
            <a:lvl1pPr marL="0" algn="r" defTabSz="914400" rtl="0" eaLnBrk="1" latinLnBrk="0" hangingPunct="1">
              <a:lnSpc>
                <a:spcPct val="90000"/>
              </a:lnSpc>
              <a:defRPr lang="en-GB" sz="3200" b="1" kern="1200" noProof="0" dirty="0">
                <a:solidFill>
                  <a:srgbClr val="FFFFFF"/>
                </a:solidFill>
                <a:latin typeface="+mn-lt"/>
                <a:ea typeface="+mn-ea"/>
                <a:cs typeface="Arial" charset="0"/>
              </a:defRPr>
            </a:lvl1pPr>
          </a:lstStyle>
          <a:p>
            <a:r>
              <a:rPr lang="en-US" noProof="0" dirty="0"/>
              <a:t>Thank you for your attention!</a:t>
            </a:r>
            <a:br>
              <a:rPr lang="en-US" noProof="0" dirty="0"/>
            </a:br>
            <a:endParaRPr lang="en-GB" noProof="0" dirty="0"/>
          </a:p>
        </p:txBody>
      </p:sp>
      <p:sp>
        <p:nvSpPr>
          <p:cNvPr id="6" name="Datumsplatzhalter 13"/>
          <p:cNvSpPr>
            <a:spLocks noGrp="1"/>
          </p:cNvSpPr>
          <p:nvPr>
            <p:ph type="dt" sz="half" idx="11"/>
          </p:nvPr>
        </p:nvSpPr>
        <p:spPr>
          <a:xfrm>
            <a:off x="77351" y="6417376"/>
            <a:ext cx="1614329" cy="396000"/>
          </a:xfrm>
        </p:spPr>
        <p:txBody>
          <a:bodyPr/>
          <a:lstStyle/>
          <a:p>
            <a:r>
              <a:rPr lang="de-DE">
                <a:solidFill>
                  <a:srgbClr val="FFFFFF"/>
                </a:solidFill>
              </a:rPr>
              <a:t>04/01/2018</a:t>
            </a:r>
            <a:endParaRPr lang="en-US" dirty="0">
              <a:solidFill>
                <a:srgbClr val="FFFFFF"/>
              </a:solidFill>
            </a:endParaRPr>
          </a:p>
        </p:txBody>
      </p:sp>
      <p:sp>
        <p:nvSpPr>
          <p:cNvPr id="7" name="Fußzeilenplatzhalter 14"/>
          <p:cNvSpPr>
            <a:spLocks noGrp="1"/>
          </p:cNvSpPr>
          <p:nvPr>
            <p:ph type="ftr" sz="quarter" idx="12"/>
          </p:nvPr>
        </p:nvSpPr>
        <p:spPr>
          <a:xfrm>
            <a:off x="1691680" y="6417376"/>
            <a:ext cx="5256584" cy="396000"/>
          </a:xfrm>
        </p:spPr>
        <p:txBody>
          <a:bodyPr/>
          <a:lstStyle/>
          <a:p>
            <a:pPr algn="l"/>
            <a:r>
              <a:rPr lang="en-US">
                <a:solidFill>
                  <a:srgbClr val="FFFFFF"/>
                </a:solidFill>
              </a:rPr>
              <a:t>Update to CACM TF from BZR Workshop</a:t>
            </a:r>
            <a:endParaRPr lang="en-US" dirty="0">
              <a:solidFill>
                <a:srgbClr val="FFFFFF"/>
              </a:solidFill>
            </a:endParaRPr>
          </a:p>
        </p:txBody>
      </p:sp>
      <p:sp>
        <p:nvSpPr>
          <p:cNvPr id="10" name="Foliennummernplatzhalter 15"/>
          <p:cNvSpPr>
            <a:spLocks noGrp="1"/>
          </p:cNvSpPr>
          <p:nvPr>
            <p:ph type="sldNum" sz="quarter" idx="13"/>
          </p:nvPr>
        </p:nvSpPr>
        <p:spPr>
          <a:xfrm>
            <a:off x="6948264" y="6417376"/>
            <a:ext cx="893135" cy="396000"/>
          </a:xfrm>
        </p:spPr>
        <p:txBody>
          <a:bodyPr/>
          <a:lstStyle/>
          <a:p>
            <a:fld id="{023D7A0C-2893-4A5B-9776-FCF4CE9D02B2}" type="slidenum">
              <a:rPr lang="en-US" smtClean="0">
                <a:solidFill>
                  <a:srgbClr val="FFFFFF"/>
                </a:solidFill>
              </a:rPr>
              <a:pPr/>
              <a:t>‹Nr.›</a:t>
            </a:fld>
            <a:endParaRPr lang="en-US" dirty="0">
              <a:solidFill>
                <a:srgbClr val="FFFFFF"/>
              </a:solidFill>
            </a:endParaRPr>
          </a:p>
        </p:txBody>
      </p:sp>
    </p:spTree>
    <p:extLst>
      <p:ext uri="{BB962C8B-B14F-4D97-AF65-F5344CB8AC3E}">
        <p14:creationId xmlns:p14="http://schemas.microsoft.com/office/powerpoint/2010/main" val="2345307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high fron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t="28642" b="21991"/>
          <a:stretch/>
        </p:blipFill>
        <p:spPr>
          <a:xfrm>
            <a:off x="181999" y="180977"/>
            <a:ext cx="8782490" cy="6507003"/>
          </a:xfrm>
          <a:prstGeom prst="rect">
            <a:avLst/>
          </a:prstGeom>
        </p:spPr>
      </p:pic>
      <p:sp>
        <p:nvSpPr>
          <p:cNvPr id="11" name="Rectangle 10"/>
          <p:cNvSpPr/>
          <p:nvPr userDrawn="1"/>
        </p:nvSpPr>
        <p:spPr bwMode="gray">
          <a:xfrm>
            <a:off x="0" y="836715"/>
            <a:ext cx="9144000" cy="623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GB" dirty="0">
              <a:solidFill>
                <a:srgbClr val="FFFFFF"/>
              </a:solidFill>
              <a:latin typeface="Arial" pitchFamily="34" charset="0"/>
            </a:endParaRPr>
          </a:p>
        </p:txBody>
      </p:sp>
      <p:sp>
        <p:nvSpPr>
          <p:cNvPr id="12" name="Rectangle 11"/>
          <p:cNvSpPr/>
          <p:nvPr userDrawn="1"/>
        </p:nvSpPr>
        <p:spPr bwMode="gray">
          <a:xfrm>
            <a:off x="0" y="1460402"/>
            <a:ext cx="9144000" cy="1680566"/>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GB" dirty="0">
              <a:solidFill>
                <a:srgbClr val="FFFFFF"/>
              </a:solidFill>
              <a:latin typeface="Arial" pitchFamily="34" charset="0"/>
            </a:endParaRPr>
          </a:p>
        </p:txBody>
      </p:sp>
      <p:sp>
        <p:nvSpPr>
          <p:cNvPr id="2" name="Title 1"/>
          <p:cNvSpPr>
            <a:spLocks noGrp="1"/>
          </p:cNvSpPr>
          <p:nvPr>
            <p:ph type="ctrTitle"/>
          </p:nvPr>
        </p:nvSpPr>
        <p:spPr bwMode="gray">
          <a:xfrm>
            <a:off x="323850" y="1598936"/>
            <a:ext cx="8640150" cy="965969"/>
          </a:xfrm>
        </p:spPr>
        <p:txBody>
          <a:bodyPr lIns="108000">
            <a:normAutofit/>
          </a:bodyPr>
          <a:lstStyle>
            <a:lvl1pPr>
              <a:defRPr sz="2800"/>
            </a:lvl1pPr>
          </a:lstStyle>
          <a:p>
            <a:r>
              <a:rPr lang="en-US"/>
              <a:t>Click to edit Master title style</a:t>
            </a:r>
            <a:endParaRPr lang="en-GB" dirty="0"/>
          </a:p>
        </p:txBody>
      </p:sp>
      <p:sp>
        <p:nvSpPr>
          <p:cNvPr id="3" name="Subtitle 2"/>
          <p:cNvSpPr>
            <a:spLocks noGrp="1"/>
          </p:cNvSpPr>
          <p:nvPr>
            <p:ph type="subTitle" idx="1"/>
          </p:nvPr>
        </p:nvSpPr>
        <p:spPr bwMode="gray">
          <a:xfrm>
            <a:off x="323529" y="2024752"/>
            <a:ext cx="8640472" cy="1012304"/>
          </a:xfrm>
        </p:spPr>
        <p:txBody>
          <a:bodyPr vert="horz" lIns="108000" tIns="45720" rIns="91440" bIns="45720" rtlCol="0" anchor="t" anchorCtr="0">
            <a:normAutofit/>
          </a:bodyPr>
          <a:lstStyle>
            <a:lvl1pPr>
              <a:spcAft>
                <a:spcPts val="0"/>
              </a:spcAft>
              <a:defRPr lang="en-GB" sz="2800">
                <a:solidFill>
                  <a:srgbClr val="999999"/>
                </a:solidFill>
                <a:ea typeface="+mj-ea"/>
                <a:cs typeface="+mj-cs"/>
              </a:defRPr>
            </a:lvl1pPr>
          </a:lstStyle>
          <a:p>
            <a:pPr lvl="0">
              <a:spcBef>
                <a:spcPct val="0"/>
              </a:spcBef>
            </a:pPr>
            <a:r>
              <a:rPr lang="en-US"/>
              <a:t>Click to edit Master subtitle style</a:t>
            </a:r>
            <a:endParaRPr lang="en-GB" dirty="0"/>
          </a:p>
        </p:txBody>
      </p:sp>
      <p:sp>
        <p:nvSpPr>
          <p:cNvPr id="14" name="Text Placeholder 13"/>
          <p:cNvSpPr>
            <a:spLocks noGrp="1"/>
          </p:cNvSpPr>
          <p:nvPr>
            <p:ph type="body" sz="quarter" idx="10" hasCustomPrompt="1"/>
          </p:nvPr>
        </p:nvSpPr>
        <p:spPr bwMode="gray">
          <a:xfrm>
            <a:off x="0" y="3232206"/>
            <a:ext cx="9144000" cy="190240"/>
          </a:xfrm>
          <a:solidFill>
            <a:schemeClr val="tx2">
              <a:alpha val="90000"/>
            </a:schemeClr>
          </a:solidFill>
          <a:ln>
            <a:noFill/>
          </a:ln>
        </p:spPr>
        <p:txBody>
          <a:bodyPr lIns="468000" tIns="18000" bIns="18000" anchor="ctr" anchorCtr="0">
            <a:spAutoFit/>
          </a:bodyPr>
          <a:lstStyle>
            <a:lvl1pPr>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err="1"/>
              <a:t>Veranstaltung</a:t>
            </a:r>
            <a:r>
              <a:rPr lang="en-US" dirty="0"/>
              <a:t>/Datum</a:t>
            </a:r>
          </a:p>
        </p:txBody>
      </p:sp>
      <p:pic>
        <p:nvPicPr>
          <p:cNvPr id="9" name="Picture 2" descr="H:\Corporate_Communications\MarketingC\Abteilungsordner\Corporate Identity\Logos\01 Corporate Logos\Deutsche Börse Group_REFRESH\DIN A4\png\DB_DBG2012_REFRESH__RGB_DINA4_.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60232" y="836713"/>
            <a:ext cx="2376264" cy="618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4642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a:t>Click to edit Master title style</a:t>
            </a:r>
            <a:endParaRPr lang="en-GB" dirty="0"/>
          </a:p>
        </p:txBody>
      </p:sp>
      <p:sp>
        <p:nvSpPr>
          <p:cNvPr id="3" name="Content Placeholder 2"/>
          <p:cNvSpPr>
            <a:spLocks noGrp="1"/>
          </p:cNvSpPr>
          <p:nvPr>
            <p:ph idx="1"/>
          </p:nvPr>
        </p:nvSpPr>
        <p:spPr bwMode="gray"/>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Date Placeholder 3"/>
          <p:cNvSpPr>
            <a:spLocks noGrp="1"/>
          </p:cNvSpPr>
          <p:nvPr>
            <p:ph type="dt" sz="half" idx="2"/>
          </p:nvPr>
        </p:nvSpPr>
        <p:spPr bwMode="gray">
          <a:xfrm>
            <a:off x="3086472" y="183557"/>
            <a:ext cx="21336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endParaRPr lang="en-GB" dirty="0">
              <a:solidFill>
                <a:prstClr val="black">
                  <a:tint val="75000"/>
                </a:prstClr>
              </a:solidFill>
            </a:endParaRPr>
          </a:p>
        </p:txBody>
      </p:sp>
      <p:sp>
        <p:nvSpPr>
          <p:cNvPr id="8" name="Footer Placeholder 4"/>
          <p:cNvSpPr>
            <a:spLocks noGrp="1"/>
          </p:cNvSpPr>
          <p:nvPr>
            <p:ph type="ftr" sz="quarter" idx="3"/>
          </p:nvPr>
        </p:nvSpPr>
        <p:spPr bwMode="gray">
          <a:xfrm>
            <a:off x="180000" y="183557"/>
            <a:ext cx="28956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dirty="0">
              <a:solidFill>
                <a:prstClr val="black">
                  <a:tint val="75000"/>
                </a:prstClr>
              </a:solidFill>
            </a:endParaRPr>
          </a:p>
        </p:txBody>
      </p:sp>
      <p:sp>
        <p:nvSpPr>
          <p:cNvPr id="9" name="Slide Number Placeholder 5"/>
          <p:cNvSpPr>
            <a:spLocks noGrp="1"/>
          </p:cNvSpPr>
          <p:nvPr>
            <p:ph type="sldNum" sz="quarter" idx="4"/>
          </p:nvPr>
        </p:nvSpPr>
        <p:spPr bwMode="gray">
          <a:xfrm>
            <a:off x="6444208" y="155564"/>
            <a:ext cx="2519792"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dirty="0">
                <a:solidFill>
                  <a:prstClr val="black">
                    <a:tint val="75000"/>
                  </a:prstClr>
                </a:solidFill>
              </a:rPr>
              <a:t>Deutsche Börse Group</a:t>
            </a:r>
            <a:r>
              <a:rPr lang="en-GB" dirty="0">
                <a:solidFill>
                  <a:prstClr val="black">
                    <a:tint val="75000"/>
                  </a:prstClr>
                </a:solidFill>
              </a:rPr>
              <a:t>	</a:t>
            </a:r>
            <a:fld id="{92F7DF68-39C9-4B8A-BEDC-AE012F5E4423}" type="slidenum">
              <a:rPr lang="en-GB" smtClean="0">
                <a:solidFill>
                  <a:prstClr val="black">
                    <a:tint val="75000"/>
                  </a:prstClr>
                </a:solidFill>
              </a:rPr>
              <a:pPr/>
              <a:t>‹Nr.›</a:t>
            </a:fld>
            <a:endParaRPr lang="en-GB" dirty="0">
              <a:solidFill>
                <a:prstClr val="black">
                  <a:tint val="75000"/>
                </a:prstClr>
              </a:solidFill>
            </a:endParaRPr>
          </a:p>
        </p:txBody>
      </p:sp>
    </p:spTree>
    <p:extLst>
      <p:ext uri="{BB962C8B-B14F-4D97-AF65-F5344CB8AC3E}">
        <p14:creationId xmlns:p14="http://schemas.microsoft.com/office/powerpoint/2010/main" val="33063685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subtitle and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a:t>Click to edit Master title style</a:t>
            </a:r>
            <a:endParaRPr lang="en-GB" dirty="0"/>
          </a:p>
        </p:txBody>
      </p:sp>
      <p:sp>
        <p:nvSpPr>
          <p:cNvPr id="3" name="Content Placeholder 2"/>
          <p:cNvSpPr>
            <a:spLocks noGrp="1"/>
          </p:cNvSpPr>
          <p:nvPr>
            <p:ph idx="1"/>
          </p:nvPr>
        </p:nvSpPr>
        <p:spPr bwMode="gray"/>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Date Placeholder 3"/>
          <p:cNvSpPr>
            <a:spLocks noGrp="1"/>
          </p:cNvSpPr>
          <p:nvPr>
            <p:ph type="dt" sz="half" idx="2"/>
          </p:nvPr>
        </p:nvSpPr>
        <p:spPr bwMode="gray">
          <a:xfrm>
            <a:off x="3086472" y="183557"/>
            <a:ext cx="21336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endParaRPr lang="en-GB" dirty="0">
              <a:solidFill>
                <a:prstClr val="black">
                  <a:tint val="75000"/>
                </a:prstClr>
              </a:solidFill>
            </a:endParaRPr>
          </a:p>
        </p:txBody>
      </p:sp>
      <p:sp>
        <p:nvSpPr>
          <p:cNvPr id="8" name="Footer Placeholder 4"/>
          <p:cNvSpPr>
            <a:spLocks noGrp="1"/>
          </p:cNvSpPr>
          <p:nvPr>
            <p:ph type="ftr" sz="quarter" idx="3"/>
          </p:nvPr>
        </p:nvSpPr>
        <p:spPr bwMode="gray">
          <a:xfrm>
            <a:off x="180000" y="183557"/>
            <a:ext cx="28956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dirty="0">
              <a:solidFill>
                <a:prstClr val="black">
                  <a:tint val="75000"/>
                </a:prstClr>
              </a:solidFill>
            </a:endParaRPr>
          </a:p>
        </p:txBody>
      </p:sp>
      <p:sp>
        <p:nvSpPr>
          <p:cNvPr id="9" name="Slide Number Placeholder 5"/>
          <p:cNvSpPr>
            <a:spLocks noGrp="1"/>
          </p:cNvSpPr>
          <p:nvPr>
            <p:ph type="sldNum" sz="quarter" idx="4"/>
          </p:nvPr>
        </p:nvSpPr>
        <p:spPr bwMode="gray">
          <a:xfrm>
            <a:off x="6444208" y="155564"/>
            <a:ext cx="2519792"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dirty="0">
                <a:solidFill>
                  <a:prstClr val="black">
                    <a:tint val="75000"/>
                  </a:prstClr>
                </a:solidFill>
              </a:rPr>
              <a:t>Deutsche Börse Group</a:t>
            </a:r>
            <a:r>
              <a:rPr lang="en-GB" dirty="0">
                <a:solidFill>
                  <a:prstClr val="black">
                    <a:tint val="75000"/>
                  </a:prstClr>
                </a:solidFill>
              </a:rPr>
              <a:t>	</a:t>
            </a:r>
            <a:fld id="{92F7DF68-39C9-4B8A-BEDC-AE012F5E4423}" type="slidenum">
              <a:rPr lang="en-GB" smtClean="0">
                <a:solidFill>
                  <a:prstClr val="black">
                    <a:tint val="75000"/>
                  </a:prstClr>
                </a:solidFill>
              </a:rPr>
              <a:pPr/>
              <a:t>‹Nr.›</a:t>
            </a:fld>
            <a:endParaRPr lang="en-GB" dirty="0">
              <a:solidFill>
                <a:prstClr val="black">
                  <a:tint val="75000"/>
                </a:prstClr>
              </a:solidFill>
            </a:endParaRPr>
          </a:p>
        </p:txBody>
      </p:sp>
      <p:sp>
        <p:nvSpPr>
          <p:cNvPr id="10" name="Text Placeholder 10"/>
          <p:cNvSpPr>
            <a:spLocks noGrp="1"/>
          </p:cNvSpPr>
          <p:nvPr>
            <p:ph type="body" sz="quarter" idx="11"/>
          </p:nvPr>
        </p:nvSpPr>
        <p:spPr bwMode="gray">
          <a:xfrm>
            <a:off x="188914" y="1062263"/>
            <a:ext cx="8775575" cy="935037"/>
          </a:xfrm>
        </p:spPr>
        <p:txBody>
          <a:bodyPr vert="horz" lIns="91440" tIns="45720" rIns="91440" bIns="45720" rtlCol="0" anchor="t" anchorCtr="0">
            <a:normAutofit/>
          </a:bodyPr>
          <a:lstStyle>
            <a:lvl1pPr>
              <a:defRPr lang="en-US" sz="2400" dirty="0" smtClean="0">
                <a:solidFill>
                  <a:srgbClr val="999999"/>
                </a:solidFill>
                <a:ea typeface="+mj-ea"/>
                <a:cs typeface="+mj-cs"/>
              </a:defRPr>
            </a:lvl1pPr>
            <a:lvl2pPr>
              <a:defRPr lang="en-US" dirty="0" smtClean="0">
                <a:solidFill>
                  <a:srgbClr val="999999"/>
                </a:solidFill>
              </a:defRPr>
            </a:lvl2pPr>
            <a:lvl3pPr>
              <a:defRPr lang="en-US" dirty="0" smtClean="0">
                <a:solidFill>
                  <a:srgbClr val="999999"/>
                </a:solidFill>
              </a:defRPr>
            </a:lvl3pPr>
            <a:lvl4pPr>
              <a:defRPr lang="en-US" dirty="0" smtClean="0">
                <a:solidFill>
                  <a:srgbClr val="999999"/>
                </a:solidFill>
              </a:defRPr>
            </a:lvl4pPr>
            <a:lvl5pPr>
              <a:defRPr lang="en-GB" dirty="0">
                <a:solidFill>
                  <a:srgbClr val="999999"/>
                </a:solidFill>
              </a:defRPr>
            </a:lvl5pPr>
          </a:lstStyle>
          <a:p>
            <a:pPr lvl="0">
              <a:spcBef>
                <a:spcPct val="0"/>
              </a:spcBef>
            </a:pPr>
            <a:r>
              <a:rPr lang="en-US"/>
              <a:t>Click to edit Master text styles</a:t>
            </a:r>
          </a:p>
        </p:txBody>
      </p:sp>
    </p:spTree>
    <p:extLst>
      <p:ext uri="{BB962C8B-B14F-4D97-AF65-F5344CB8AC3E}">
        <p14:creationId xmlns:p14="http://schemas.microsoft.com/office/powerpoint/2010/main" val="19297570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9" name="Titel 18"/>
          <p:cNvSpPr>
            <a:spLocks noGrp="1"/>
          </p:cNvSpPr>
          <p:nvPr>
            <p:ph type="title" hasCustomPrompt="1"/>
          </p:nvPr>
        </p:nvSpPr>
        <p:spPr>
          <a:xfrm>
            <a:off x="2255838" y="1235820"/>
            <a:ext cx="6329362"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2255838" y="1981199"/>
            <a:ext cx="6329362"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Datumsplatzhalter 14"/>
          <p:cNvSpPr>
            <a:spLocks noGrp="1"/>
          </p:cNvSpPr>
          <p:nvPr>
            <p:ph type="dt" sz="half" idx="14"/>
          </p:nvPr>
        </p:nvSpPr>
        <p:spPr/>
        <p:txBody>
          <a:bodyPr/>
          <a:lstStyle/>
          <a:p>
            <a:pPr>
              <a:defRPr/>
            </a:pPr>
            <a:fld id="{6889D757-E23A-497A-9B14-62A69CF34700}" type="datetime1">
              <a:rPr lang="en-US" altLang="en-US" smtClean="0"/>
              <a:pPr>
                <a:defRPr/>
              </a:pPr>
              <a:t>1/31/2018</a:t>
            </a:fld>
            <a:endParaRPr lang="en-US" altLang="en-US" dirty="0"/>
          </a:p>
        </p:txBody>
      </p:sp>
      <p:sp>
        <p:nvSpPr>
          <p:cNvPr id="16" name="Fußzeilenplatzhalter 15"/>
          <p:cNvSpPr>
            <a:spLocks noGrp="1"/>
          </p:cNvSpPr>
          <p:nvPr>
            <p:ph type="ftr" sz="quarter" idx="15"/>
          </p:nvPr>
        </p:nvSpPr>
        <p:spPr/>
        <p:txBody>
          <a:bodyPr/>
          <a:lstStyle/>
          <a:p>
            <a:pPr>
              <a:defRPr/>
            </a:pPr>
            <a:endParaRPr lang="en-US"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Nr.›</a:t>
            </a:fld>
            <a:endParaRPr lang="en-US" altLang="en-US" dirty="0"/>
          </a:p>
        </p:txBody>
      </p:sp>
    </p:spTree>
    <p:extLst>
      <p:ext uri="{BB962C8B-B14F-4D97-AF65-F5344CB8AC3E}">
        <p14:creationId xmlns:p14="http://schemas.microsoft.com/office/powerpoint/2010/main" val="47006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GB"/>
          </a:p>
        </p:txBody>
      </p:sp>
      <p:sp>
        <p:nvSpPr>
          <p:cNvPr id="3" name="Content Placeholder 2"/>
          <p:cNvSpPr>
            <a:spLocks noGrp="1"/>
          </p:cNvSpPr>
          <p:nvPr>
            <p:ph sz="half" idx="1"/>
          </p:nvPr>
        </p:nvSpPr>
        <p:spPr bwMode="gray">
          <a:xfrm>
            <a:off x="179512" y="1728000"/>
            <a:ext cx="4316288" cy="4525963"/>
          </a:xfrm>
        </p:spPr>
        <p:txBody>
          <a:bodyPr vert="horz" lIns="91440" tIns="45720" rIns="91440" bIns="45720" rtlCol="0">
            <a:norm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bwMode="gray">
          <a:xfrm>
            <a:off x="4648201" y="1728000"/>
            <a:ext cx="4316288" cy="4525963"/>
          </a:xfrm>
        </p:spPr>
        <p:txBody>
          <a:bodyPr vert="horz" lIns="91440" tIns="45720" rIns="91440" bIns="45720" rtlCol="0">
            <a:norm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3"/>
          <p:cNvSpPr>
            <a:spLocks noGrp="1"/>
          </p:cNvSpPr>
          <p:nvPr>
            <p:ph type="dt" sz="half" idx="10"/>
          </p:nvPr>
        </p:nvSpPr>
        <p:spPr bwMode="gray">
          <a:xfrm>
            <a:off x="3086472" y="183557"/>
            <a:ext cx="21336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endParaRPr lang="en-GB" dirty="0">
              <a:solidFill>
                <a:prstClr val="black">
                  <a:tint val="75000"/>
                </a:prstClr>
              </a:solidFill>
            </a:endParaRPr>
          </a:p>
        </p:txBody>
      </p:sp>
      <p:sp>
        <p:nvSpPr>
          <p:cNvPr id="9" name="Footer Placeholder 4"/>
          <p:cNvSpPr>
            <a:spLocks noGrp="1"/>
          </p:cNvSpPr>
          <p:nvPr>
            <p:ph type="ftr" sz="quarter" idx="3"/>
          </p:nvPr>
        </p:nvSpPr>
        <p:spPr bwMode="gray">
          <a:xfrm>
            <a:off x="180000" y="183557"/>
            <a:ext cx="28956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dirty="0">
              <a:solidFill>
                <a:prstClr val="black">
                  <a:tint val="75000"/>
                </a:prstClr>
              </a:solidFill>
            </a:endParaRPr>
          </a:p>
        </p:txBody>
      </p:sp>
      <p:sp>
        <p:nvSpPr>
          <p:cNvPr id="10" name="Slide Number Placeholder 5"/>
          <p:cNvSpPr>
            <a:spLocks noGrp="1"/>
          </p:cNvSpPr>
          <p:nvPr>
            <p:ph type="sldNum" sz="quarter" idx="4"/>
          </p:nvPr>
        </p:nvSpPr>
        <p:spPr bwMode="gray">
          <a:xfrm>
            <a:off x="6444208" y="155564"/>
            <a:ext cx="2519792"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dirty="0">
                <a:solidFill>
                  <a:prstClr val="black">
                    <a:tint val="75000"/>
                  </a:prstClr>
                </a:solidFill>
              </a:rPr>
              <a:t>Deutsche Börse Group</a:t>
            </a:r>
            <a:r>
              <a:rPr lang="en-GB" dirty="0">
                <a:solidFill>
                  <a:prstClr val="black">
                    <a:tint val="75000"/>
                  </a:prstClr>
                </a:solidFill>
              </a:rPr>
              <a:t>	</a:t>
            </a:r>
            <a:fld id="{92F7DF68-39C9-4B8A-BEDC-AE012F5E4423}" type="slidenum">
              <a:rPr lang="en-GB" smtClean="0">
                <a:solidFill>
                  <a:prstClr val="black">
                    <a:tint val="75000"/>
                  </a:prstClr>
                </a:solidFill>
              </a:rPr>
              <a:pPr/>
              <a:t>‹Nr.›</a:t>
            </a:fld>
            <a:endParaRPr lang="en-GB" dirty="0">
              <a:solidFill>
                <a:prstClr val="black">
                  <a:tint val="75000"/>
                </a:prstClr>
              </a:solidFill>
            </a:endParaRPr>
          </a:p>
        </p:txBody>
      </p:sp>
    </p:spTree>
    <p:extLst>
      <p:ext uri="{BB962C8B-B14F-4D97-AF65-F5344CB8AC3E}">
        <p14:creationId xmlns:p14="http://schemas.microsoft.com/office/powerpoint/2010/main" val="29040382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subhea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GB"/>
          </a:p>
        </p:txBody>
      </p:sp>
      <p:sp>
        <p:nvSpPr>
          <p:cNvPr id="3" name="Content Placeholder 2"/>
          <p:cNvSpPr>
            <a:spLocks noGrp="1"/>
          </p:cNvSpPr>
          <p:nvPr>
            <p:ph sz="half" idx="1"/>
          </p:nvPr>
        </p:nvSpPr>
        <p:spPr bwMode="gray">
          <a:xfrm>
            <a:off x="179512" y="1728000"/>
            <a:ext cx="4316288" cy="4525963"/>
          </a:xfrm>
        </p:spPr>
        <p:txBody>
          <a:bodyPr vert="horz" lIns="91440" tIns="45720" rIns="91440" bIns="45720" rtlCol="0">
            <a:norm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bwMode="gray">
          <a:xfrm>
            <a:off x="4648201" y="1728000"/>
            <a:ext cx="4316288" cy="4525963"/>
          </a:xfrm>
        </p:spPr>
        <p:txBody>
          <a:bodyPr vert="horz" lIns="91440" tIns="45720" rIns="91440" bIns="45720" rtlCol="0">
            <a:norm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3"/>
          <p:cNvSpPr>
            <a:spLocks noGrp="1"/>
          </p:cNvSpPr>
          <p:nvPr>
            <p:ph type="dt" sz="half" idx="10"/>
          </p:nvPr>
        </p:nvSpPr>
        <p:spPr bwMode="gray">
          <a:xfrm>
            <a:off x="3086472" y="183557"/>
            <a:ext cx="21336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endParaRPr lang="en-GB" dirty="0">
              <a:solidFill>
                <a:prstClr val="black">
                  <a:tint val="75000"/>
                </a:prstClr>
              </a:solidFill>
            </a:endParaRPr>
          </a:p>
        </p:txBody>
      </p:sp>
      <p:sp>
        <p:nvSpPr>
          <p:cNvPr id="9" name="Footer Placeholder 4"/>
          <p:cNvSpPr>
            <a:spLocks noGrp="1"/>
          </p:cNvSpPr>
          <p:nvPr>
            <p:ph type="ftr" sz="quarter" idx="3"/>
          </p:nvPr>
        </p:nvSpPr>
        <p:spPr bwMode="gray">
          <a:xfrm>
            <a:off x="180000" y="183557"/>
            <a:ext cx="28956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dirty="0">
              <a:solidFill>
                <a:prstClr val="black">
                  <a:tint val="75000"/>
                </a:prstClr>
              </a:solidFill>
            </a:endParaRPr>
          </a:p>
        </p:txBody>
      </p:sp>
      <p:sp>
        <p:nvSpPr>
          <p:cNvPr id="10" name="Slide Number Placeholder 5"/>
          <p:cNvSpPr>
            <a:spLocks noGrp="1"/>
          </p:cNvSpPr>
          <p:nvPr>
            <p:ph type="sldNum" sz="quarter" idx="4"/>
          </p:nvPr>
        </p:nvSpPr>
        <p:spPr bwMode="gray">
          <a:xfrm>
            <a:off x="6444208" y="155564"/>
            <a:ext cx="2519792"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dirty="0">
                <a:solidFill>
                  <a:prstClr val="black">
                    <a:tint val="75000"/>
                  </a:prstClr>
                </a:solidFill>
              </a:rPr>
              <a:t>Deutsche Börse Group</a:t>
            </a:r>
            <a:r>
              <a:rPr lang="en-GB" dirty="0">
                <a:solidFill>
                  <a:prstClr val="black">
                    <a:tint val="75000"/>
                  </a:prstClr>
                </a:solidFill>
              </a:rPr>
              <a:t>	</a:t>
            </a:r>
            <a:fld id="{92F7DF68-39C9-4B8A-BEDC-AE012F5E4423}" type="slidenum">
              <a:rPr lang="en-GB" smtClean="0">
                <a:solidFill>
                  <a:prstClr val="black">
                    <a:tint val="75000"/>
                  </a:prstClr>
                </a:solidFill>
              </a:rPr>
              <a:pPr/>
              <a:t>‹Nr.›</a:t>
            </a:fld>
            <a:endParaRPr lang="en-GB" dirty="0">
              <a:solidFill>
                <a:prstClr val="black">
                  <a:tint val="75000"/>
                </a:prstClr>
              </a:solidFill>
            </a:endParaRPr>
          </a:p>
        </p:txBody>
      </p:sp>
      <p:sp>
        <p:nvSpPr>
          <p:cNvPr id="11" name="Text Placeholder 10"/>
          <p:cNvSpPr>
            <a:spLocks noGrp="1"/>
          </p:cNvSpPr>
          <p:nvPr>
            <p:ph type="body" sz="quarter" idx="11"/>
          </p:nvPr>
        </p:nvSpPr>
        <p:spPr bwMode="gray">
          <a:xfrm>
            <a:off x="188914" y="1062263"/>
            <a:ext cx="8775575" cy="935037"/>
          </a:xfrm>
        </p:spPr>
        <p:txBody>
          <a:bodyPr vert="horz" lIns="91440" tIns="45720" rIns="91440" bIns="45720" rtlCol="0" anchor="t" anchorCtr="0">
            <a:normAutofit/>
          </a:bodyPr>
          <a:lstStyle>
            <a:lvl1pPr>
              <a:defRPr lang="en-US" sz="2400" dirty="0" smtClean="0">
                <a:solidFill>
                  <a:srgbClr val="999999"/>
                </a:solidFill>
                <a:ea typeface="+mj-ea"/>
                <a:cs typeface="+mj-cs"/>
              </a:defRPr>
            </a:lvl1pPr>
            <a:lvl2pPr>
              <a:defRPr lang="en-US" dirty="0" smtClean="0">
                <a:solidFill>
                  <a:srgbClr val="999999"/>
                </a:solidFill>
              </a:defRPr>
            </a:lvl2pPr>
            <a:lvl3pPr>
              <a:defRPr lang="en-US" dirty="0" smtClean="0">
                <a:solidFill>
                  <a:srgbClr val="999999"/>
                </a:solidFill>
              </a:defRPr>
            </a:lvl3pPr>
            <a:lvl4pPr>
              <a:defRPr lang="en-US" dirty="0" smtClean="0">
                <a:solidFill>
                  <a:srgbClr val="999999"/>
                </a:solidFill>
              </a:defRPr>
            </a:lvl4pPr>
            <a:lvl5pPr>
              <a:defRPr lang="en-GB" dirty="0">
                <a:solidFill>
                  <a:srgbClr val="999999"/>
                </a:solidFill>
              </a:defRPr>
            </a:lvl5pPr>
          </a:lstStyle>
          <a:p>
            <a:pPr lvl="0">
              <a:spcBef>
                <a:spcPct val="0"/>
              </a:spcBef>
            </a:pPr>
            <a:r>
              <a:rPr lang="en-US"/>
              <a:t>Click to edit Master text styles</a:t>
            </a:r>
          </a:p>
        </p:txBody>
      </p:sp>
    </p:spTree>
    <p:extLst>
      <p:ext uri="{BB962C8B-B14F-4D97-AF65-F5344CB8AC3E}">
        <p14:creationId xmlns:p14="http://schemas.microsoft.com/office/powerpoint/2010/main" val="34753363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80000" y="684002"/>
            <a:ext cx="8784000" cy="909015"/>
          </a:xfrm>
        </p:spPr>
        <p:txBody>
          <a:bodyPr/>
          <a:lstStyle/>
          <a:p>
            <a:r>
              <a:rPr lang="en-US"/>
              <a:t>Click to edit Master title style</a:t>
            </a:r>
            <a:endParaRPr lang="en-GB"/>
          </a:p>
        </p:txBody>
      </p:sp>
      <p:sp>
        <p:nvSpPr>
          <p:cNvPr id="3" name="Content Placeholder 2"/>
          <p:cNvSpPr>
            <a:spLocks noGrp="1"/>
          </p:cNvSpPr>
          <p:nvPr>
            <p:ph sz="half" idx="1"/>
          </p:nvPr>
        </p:nvSpPr>
        <p:spPr bwMode="gray">
          <a:xfrm>
            <a:off x="179512" y="1728000"/>
            <a:ext cx="2880000" cy="4592456"/>
          </a:xfrm>
        </p:spPr>
        <p:txBody>
          <a:bodyPr vert="horz" lIns="91440" tIns="45720" rIns="91440" bIns="45720" rtlCol="0">
            <a:norm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bwMode="gray">
          <a:xfrm>
            <a:off x="6084000" y="1728000"/>
            <a:ext cx="2880000" cy="4592456"/>
          </a:xfrm>
        </p:spPr>
        <p:txBody>
          <a:bodyPr vert="horz" lIns="91440" tIns="45720" rIns="91440" bIns="45720" rtlCol="0">
            <a:norm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3"/>
          <p:cNvSpPr>
            <a:spLocks noGrp="1"/>
          </p:cNvSpPr>
          <p:nvPr>
            <p:ph type="dt" sz="half" idx="10"/>
          </p:nvPr>
        </p:nvSpPr>
        <p:spPr bwMode="gray">
          <a:xfrm>
            <a:off x="3086472" y="183557"/>
            <a:ext cx="21336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endParaRPr lang="en-GB" dirty="0">
              <a:solidFill>
                <a:prstClr val="black">
                  <a:tint val="75000"/>
                </a:prstClr>
              </a:solidFill>
            </a:endParaRPr>
          </a:p>
        </p:txBody>
      </p:sp>
      <p:sp>
        <p:nvSpPr>
          <p:cNvPr id="9" name="Footer Placeholder 4"/>
          <p:cNvSpPr>
            <a:spLocks noGrp="1"/>
          </p:cNvSpPr>
          <p:nvPr>
            <p:ph type="ftr" sz="quarter" idx="3"/>
          </p:nvPr>
        </p:nvSpPr>
        <p:spPr bwMode="gray">
          <a:xfrm>
            <a:off x="180000" y="183557"/>
            <a:ext cx="28956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dirty="0">
              <a:solidFill>
                <a:prstClr val="black">
                  <a:tint val="75000"/>
                </a:prstClr>
              </a:solidFill>
            </a:endParaRPr>
          </a:p>
        </p:txBody>
      </p:sp>
      <p:sp>
        <p:nvSpPr>
          <p:cNvPr id="10" name="Slide Number Placeholder 5"/>
          <p:cNvSpPr>
            <a:spLocks noGrp="1"/>
          </p:cNvSpPr>
          <p:nvPr>
            <p:ph type="sldNum" sz="quarter" idx="4"/>
          </p:nvPr>
        </p:nvSpPr>
        <p:spPr bwMode="gray">
          <a:xfrm>
            <a:off x="6444208" y="155564"/>
            <a:ext cx="2519792"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dirty="0">
                <a:solidFill>
                  <a:prstClr val="black">
                    <a:tint val="75000"/>
                  </a:prstClr>
                </a:solidFill>
              </a:rPr>
              <a:t>Deutsche Börse Group</a:t>
            </a:r>
            <a:r>
              <a:rPr lang="en-GB" dirty="0">
                <a:solidFill>
                  <a:prstClr val="black">
                    <a:tint val="75000"/>
                  </a:prstClr>
                </a:solidFill>
              </a:rPr>
              <a:t>	</a:t>
            </a:r>
            <a:fld id="{92F7DF68-39C9-4B8A-BEDC-AE012F5E4423}" type="slidenum">
              <a:rPr lang="en-GB" smtClean="0">
                <a:solidFill>
                  <a:prstClr val="black">
                    <a:tint val="75000"/>
                  </a:prstClr>
                </a:solidFill>
              </a:rPr>
              <a:pPr/>
              <a:t>‹Nr.›</a:t>
            </a:fld>
            <a:endParaRPr lang="en-GB" dirty="0">
              <a:solidFill>
                <a:prstClr val="black">
                  <a:tint val="75000"/>
                </a:prstClr>
              </a:solidFill>
            </a:endParaRPr>
          </a:p>
        </p:txBody>
      </p:sp>
      <p:sp>
        <p:nvSpPr>
          <p:cNvPr id="6" name="Content Placeholder 5"/>
          <p:cNvSpPr>
            <a:spLocks noGrp="1"/>
          </p:cNvSpPr>
          <p:nvPr>
            <p:ph sz="quarter" idx="12"/>
          </p:nvPr>
        </p:nvSpPr>
        <p:spPr bwMode="gray">
          <a:xfrm>
            <a:off x="3131756" y="1716864"/>
            <a:ext cx="2880000" cy="4592456"/>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798397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hree content, subhead">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80000" y="684002"/>
            <a:ext cx="8784000" cy="909015"/>
          </a:xfrm>
        </p:spPr>
        <p:txBody>
          <a:bodyPr/>
          <a:lstStyle/>
          <a:p>
            <a:r>
              <a:rPr lang="en-US"/>
              <a:t>Click to edit Master title style</a:t>
            </a:r>
            <a:endParaRPr lang="en-GB"/>
          </a:p>
        </p:txBody>
      </p:sp>
      <p:sp>
        <p:nvSpPr>
          <p:cNvPr id="3" name="Content Placeholder 2"/>
          <p:cNvSpPr>
            <a:spLocks noGrp="1"/>
          </p:cNvSpPr>
          <p:nvPr>
            <p:ph sz="half" idx="1"/>
          </p:nvPr>
        </p:nvSpPr>
        <p:spPr bwMode="gray">
          <a:xfrm>
            <a:off x="179512" y="1728000"/>
            <a:ext cx="2880000" cy="4592456"/>
          </a:xfrm>
        </p:spPr>
        <p:txBody>
          <a:bodyPr vert="horz" lIns="91440" tIns="45720" rIns="91440" bIns="45720" rtlCol="0">
            <a:norm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bwMode="gray">
          <a:xfrm>
            <a:off x="6084000" y="1728000"/>
            <a:ext cx="2880000" cy="4592456"/>
          </a:xfrm>
        </p:spPr>
        <p:txBody>
          <a:bodyPr vert="horz" lIns="91440" tIns="45720" rIns="91440" bIns="45720" rtlCol="0">
            <a:normAutofit/>
          </a:bodyPr>
          <a:lstStyle>
            <a:lvl1pPr>
              <a:defRPr lang="en-US" smtClean="0"/>
            </a:lvl1pPr>
            <a:lvl2pPr>
              <a:defRPr lang="en-US" smtClean="0"/>
            </a:lvl2pPr>
            <a:lvl3pPr>
              <a:defRPr lang="en-US" smtClean="0"/>
            </a:lvl3pPr>
            <a:lvl4pPr>
              <a:defRPr lang="en-US" smtClean="0"/>
            </a:lvl4pPr>
            <a:lvl5pPr>
              <a:defRPr lang="en-GB"/>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Date Placeholder 3"/>
          <p:cNvSpPr>
            <a:spLocks noGrp="1"/>
          </p:cNvSpPr>
          <p:nvPr>
            <p:ph type="dt" sz="half" idx="10"/>
          </p:nvPr>
        </p:nvSpPr>
        <p:spPr bwMode="gray">
          <a:xfrm>
            <a:off x="3086472" y="183557"/>
            <a:ext cx="21336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endParaRPr lang="en-GB" dirty="0">
              <a:solidFill>
                <a:prstClr val="black">
                  <a:tint val="75000"/>
                </a:prstClr>
              </a:solidFill>
            </a:endParaRPr>
          </a:p>
        </p:txBody>
      </p:sp>
      <p:sp>
        <p:nvSpPr>
          <p:cNvPr id="9" name="Footer Placeholder 4"/>
          <p:cNvSpPr>
            <a:spLocks noGrp="1"/>
          </p:cNvSpPr>
          <p:nvPr>
            <p:ph type="ftr" sz="quarter" idx="3"/>
          </p:nvPr>
        </p:nvSpPr>
        <p:spPr bwMode="gray">
          <a:xfrm>
            <a:off x="180000" y="183557"/>
            <a:ext cx="28956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dirty="0">
              <a:solidFill>
                <a:prstClr val="black">
                  <a:tint val="75000"/>
                </a:prstClr>
              </a:solidFill>
            </a:endParaRPr>
          </a:p>
        </p:txBody>
      </p:sp>
      <p:sp>
        <p:nvSpPr>
          <p:cNvPr id="10" name="Slide Number Placeholder 5"/>
          <p:cNvSpPr>
            <a:spLocks noGrp="1"/>
          </p:cNvSpPr>
          <p:nvPr>
            <p:ph type="sldNum" sz="quarter" idx="4"/>
          </p:nvPr>
        </p:nvSpPr>
        <p:spPr bwMode="gray">
          <a:xfrm>
            <a:off x="6444208" y="155564"/>
            <a:ext cx="2519792"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dirty="0">
                <a:solidFill>
                  <a:prstClr val="black">
                    <a:tint val="75000"/>
                  </a:prstClr>
                </a:solidFill>
              </a:rPr>
              <a:t>Deutsche Börse Group</a:t>
            </a:r>
            <a:r>
              <a:rPr lang="en-GB" dirty="0">
                <a:solidFill>
                  <a:prstClr val="black">
                    <a:tint val="75000"/>
                  </a:prstClr>
                </a:solidFill>
              </a:rPr>
              <a:t>	</a:t>
            </a:r>
            <a:fld id="{92F7DF68-39C9-4B8A-BEDC-AE012F5E4423}" type="slidenum">
              <a:rPr lang="en-GB" smtClean="0">
                <a:solidFill>
                  <a:prstClr val="black">
                    <a:tint val="75000"/>
                  </a:prstClr>
                </a:solidFill>
              </a:rPr>
              <a:pPr/>
              <a:t>‹Nr.›</a:t>
            </a:fld>
            <a:endParaRPr lang="en-GB" dirty="0">
              <a:solidFill>
                <a:prstClr val="black">
                  <a:tint val="75000"/>
                </a:prstClr>
              </a:solidFill>
            </a:endParaRPr>
          </a:p>
        </p:txBody>
      </p:sp>
      <p:sp>
        <p:nvSpPr>
          <p:cNvPr id="11" name="Text Placeholder 10"/>
          <p:cNvSpPr>
            <a:spLocks noGrp="1"/>
          </p:cNvSpPr>
          <p:nvPr>
            <p:ph type="body" sz="quarter" idx="11"/>
          </p:nvPr>
        </p:nvSpPr>
        <p:spPr bwMode="gray">
          <a:xfrm>
            <a:off x="188914" y="1062263"/>
            <a:ext cx="8775575" cy="935037"/>
          </a:xfrm>
        </p:spPr>
        <p:txBody>
          <a:bodyPr vert="horz" lIns="91440" tIns="45720" rIns="91440" bIns="45720" rtlCol="0" anchor="t" anchorCtr="0">
            <a:normAutofit/>
          </a:bodyPr>
          <a:lstStyle>
            <a:lvl1pPr>
              <a:defRPr lang="en-US" sz="2400" dirty="0" smtClean="0">
                <a:solidFill>
                  <a:srgbClr val="999999"/>
                </a:solidFill>
                <a:ea typeface="+mj-ea"/>
                <a:cs typeface="+mj-cs"/>
              </a:defRPr>
            </a:lvl1pPr>
            <a:lvl2pPr>
              <a:defRPr lang="en-US" dirty="0" smtClean="0">
                <a:solidFill>
                  <a:srgbClr val="999999"/>
                </a:solidFill>
              </a:defRPr>
            </a:lvl2pPr>
            <a:lvl3pPr>
              <a:defRPr lang="en-US" dirty="0" smtClean="0">
                <a:solidFill>
                  <a:srgbClr val="999999"/>
                </a:solidFill>
              </a:defRPr>
            </a:lvl3pPr>
            <a:lvl4pPr>
              <a:defRPr lang="en-US" dirty="0" smtClean="0">
                <a:solidFill>
                  <a:srgbClr val="999999"/>
                </a:solidFill>
              </a:defRPr>
            </a:lvl4pPr>
            <a:lvl5pPr>
              <a:defRPr lang="en-GB" dirty="0">
                <a:solidFill>
                  <a:srgbClr val="999999"/>
                </a:solidFill>
              </a:defRPr>
            </a:lvl5pPr>
          </a:lstStyle>
          <a:p>
            <a:pPr lvl="0">
              <a:spcBef>
                <a:spcPct val="0"/>
              </a:spcBef>
            </a:pPr>
            <a:r>
              <a:rPr lang="en-US"/>
              <a:t>Click to edit Master text styles</a:t>
            </a:r>
          </a:p>
        </p:txBody>
      </p:sp>
      <p:sp>
        <p:nvSpPr>
          <p:cNvPr id="6" name="Content Placeholder 5"/>
          <p:cNvSpPr>
            <a:spLocks noGrp="1"/>
          </p:cNvSpPr>
          <p:nvPr>
            <p:ph sz="quarter" idx="12"/>
          </p:nvPr>
        </p:nvSpPr>
        <p:spPr bwMode="gray">
          <a:xfrm>
            <a:off x="3131756" y="1716864"/>
            <a:ext cx="2880000" cy="4592456"/>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377538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GB"/>
          </a:p>
        </p:txBody>
      </p:sp>
      <p:sp>
        <p:nvSpPr>
          <p:cNvPr id="6" name="Date Placeholder 3"/>
          <p:cNvSpPr>
            <a:spLocks noGrp="1"/>
          </p:cNvSpPr>
          <p:nvPr>
            <p:ph type="dt" sz="half" idx="2"/>
          </p:nvPr>
        </p:nvSpPr>
        <p:spPr bwMode="gray">
          <a:xfrm>
            <a:off x="3086472" y="183557"/>
            <a:ext cx="21336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endParaRPr lang="en-GB" dirty="0">
              <a:solidFill>
                <a:prstClr val="black">
                  <a:tint val="75000"/>
                </a:prstClr>
              </a:solidFill>
            </a:endParaRPr>
          </a:p>
        </p:txBody>
      </p:sp>
      <p:sp>
        <p:nvSpPr>
          <p:cNvPr id="7" name="Footer Placeholder 4"/>
          <p:cNvSpPr>
            <a:spLocks noGrp="1"/>
          </p:cNvSpPr>
          <p:nvPr>
            <p:ph type="ftr" sz="quarter" idx="3"/>
          </p:nvPr>
        </p:nvSpPr>
        <p:spPr bwMode="gray">
          <a:xfrm>
            <a:off x="180000" y="183557"/>
            <a:ext cx="28956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dirty="0">
              <a:solidFill>
                <a:prstClr val="black">
                  <a:tint val="75000"/>
                </a:prstClr>
              </a:solidFill>
            </a:endParaRPr>
          </a:p>
        </p:txBody>
      </p:sp>
      <p:sp>
        <p:nvSpPr>
          <p:cNvPr id="8" name="Slide Number Placeholder 5"/>
          <p:cNvSpPr>
            <a:spLocks noGrp="1"/>
          </p:cNvSpPr>
          <p:nvPr>
            <p:ph type="sldNum" sz="quarter" idx="4"/>
          </p:nvPr>
        </p:nvSpPr>
        <p:spPr bwMode="gray">
          <a:xfrm>
            <a:off x="6444208" y="155564"/>
            <a:ext cx="2519792"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dirty="0">
                <a:solidFill>
                  <a:prstClr val="black">
                    <a:tint val="75000"/>
                  </a:prstClr>
                </a:solidFill>
              </a:rPr>
              <a:t>Deutsche Börse Group</a:t>
            </a:r>
            <a:r>
              <a:rPr lang="en-GB" dirty="0">
                <a:solidFill>
                  <a:prstClr val="black">
                    <a:tint val="75000"/>
                  </a:prstClr>
                </a:solidFill>
              </a:rPr>
              <a:t>	</a:t>
            </a:r>
            <a:fld id="{92F7DF68-39C9-4B8A-BEDC-AE012F5E4423}" type="slidenum">
              <a:rPr lang="en-GB" smtClean="0">
                <a:solidFill>
                  <a:prstClr val="black">
                    <a:tint val="75000"/>
                  </a:prstClr>
                </a:solidFill>
              </a:rPr>
              <a:pPr/>
              <a:t>‹Nr.›</a:t>
            </a:fld>
            <a:endParaRPr lang="en-GB" dirty="0">
              <a:solidFill>
                <a:prstClr val="black">
                  <a:tint val="75000"/>
                </a:prstClr>
              </a:solidFill>
            </a:endParaRPr>
          </a:p>
        </p:txBody>
      </p:sp>
    </p:spTree>
    <p:extLst>
      <p:ext uri="{BB962C8B-B14F-4D97-AF65-F5344CB8AC3E}">
        <p14:creationId xmlns:p14="http://schemas.microsoft.com/office/powerpoint/2010/main" val="15099384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bwMode="gray">
          <a:xfrm>
            <a:off x="3086472" y="183557"/>
            <a:ext cx="21336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endParaRPr lang="en-GB" dirty="0">
              <a:solidFill>
                <a:prstClr val="black">
                  <a:tint val="75000"/>
                </a:prstClr>
              </a:solidFill>
            </a:endParaRPr>
          </a:p>
        </p:txBody>
      </p:sp>
      <p:sp>
        <p:nvSpPr>
          <p:cNvPr id="6" name="Footer Placeholder 4"/>
          <p:cNvSpPr>
            <a:spLocks noGrp="1"/>
          </p:cNvSpPr>
          <p:nvPr>
            <p:ph type="ftr" sz="quarter" idx="3"/>
          </p:nvPr>
        </p:nvSpPr>
        <p:spPr bwMode="gray">
          <a:xfrm>
            <a:off x="180000" y="183557"/>
            <a:ext cx="28956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a:endParaRPr lang="en-GB" dirty="0">
              <a:solidFill>
                <a:prstClr val="black">
                  <a:tint val="75000"/>
                </a:prstClr>
              </a:solidFill>
            </a:endParaRPr>
          </a:p>
        </p:txBody>
      </p:sp>
      <p:sp>
        <p:nvSpPr>
          <p:cNvPr id="7" name="Slide Number Placeholder 5"/>
          <p:cNvSpPr>
            <a:spLocks noGrp="1"/>
          </p:cNvSpPr>
          <p:nvPr>
            <p:ph type="sldNum" sz="quarter" idx="4"/>
          </p:nvPr>
        </p:nvSpPr>
        <p:spPr bwMode="gray">
          <a:xfrm>
            <a:off x="6444208" y="155564"/>
            <a:ext cx="2519792"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r>
              <a:rPr lang="en-GB" sz="1100" dirty="0">
                <a:solidFill>
                  <a:prstClr val="black">
                    <a:tint val="75000"/>
                  </a:prstClr>
                </a:solidFill>
              </a:rPr>
              <a:t>Deutsche Börse Group</a:t>
            </a:r>
            <a:r>
              <a:rPr lang="en-GB" dirty="0">
                <a:solidFill>
                  <a:prstClr val="black">
                    <a:tint val="75000"/>
                  </a:prstClr>
                </a:solidFill>
              </a:rPr>
              <a:t>	</a:t>
            </a:r>
            <a:fld id="{92F7DF68-39C9-4B8A-BEDC-AE012F5E4423}" type="slidenum">
              <a:rPr lang="en-GB" smtClean="0">
                <a:solidFill>
                  <a:prstClr val="black">
                    <a:tint val="75000"/>
                  </a:prstClr>
                </a:solidFill>
              </a:rPr>
              <a:pPr/>
              <a:t>‹Nr.›</a:t>
            </a:fld>
            <a:endParaRPr lang="en-GB" dirty="0">
              <a:solidFill>
                <a:prstClr val="black">
                  <a:tint val="75000"/>
                </a:prstClr>
              </a:solidFill>
            </a:endParaRPr>
          </a:p>
        </p:txBody>
      </p:sp>
    </p:spTree>
    <p:extLst>
      <p:ext uri="{BB962C8B-B14F-4D97-AF65-F5344CB8AC3E}">
        <p14:creationId xmlns:p14="http://schemas.microsoft.com/office/powerpoint/2010/main" val="8868897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plain">
    <p:spTree>
      <p:nvGrpSpPr>
        <p:cNvPr id="1" name=""/>
        <p:cNvGrpSpPr/>
        <p:nvPr/>
      </p:nvGrpSpPr>
      <p:grpSpPr>
        <a:xfrm>
          <a:off x="0" y="0"/>
          <a:ext cx="0" cy="0"/>
          <a:chOff x="0" y="0"/>
          <a:chExt cx="0" cy="0"/>
        </a:xfrm>
      </p:grpSpPr>
      <p:sp>
        <p:nvSpPr>
          <p:cNvPr id="3" name="Rectangle 2"/>
          <p:cNvSpPr/>
          <p:nvPr userDrawn="1"/>
        </p:nvSpPr>
        <p:spPr bwMode="gray">
          <a:xfrm>
            <a:off x="180000" y="185400"/>
            <a:ext cx="8784000" cy="6487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GB" dirty="0">
              <a:solidFill>
                <a:srgbClr val="FFFFFF"/>
              </a:solidFill>
              <a:latin typeface="Arial" pitchFamily="34" charset="0"/>
            </a:endParaRPr>
          </a:p>
        </p:txBody>
      </p:sp>
      <p:sp>
        <p:nvSpPr>
          <p:cNvPr id="2" name="Title 1"/>
          <p:cNvSpPr>
            <a:spLocks noGrp="1"/>
          </p:cNvSpPr>
          <p:nvPr>
            <p:ph type="ctrTitle" hasCustomPrompt="1"/>
          </p:nvPr>
        </p:nvSpPr>
        <p:spPr bwMode="gray">
          <a:xfrm>
            <a:off x="180000" y="4047209"/>
            <a:ext cx="8784000" cy="605929"/>
          </a:xfrm>
        </p:spPr>
        <p:txBody>
          <a:bodyPr lIns="252000">
            <a:normAutofit/>
          </a:bodyPr>
          <a:lstStyle>
            <a:lvl1pPr>
              <a:defRPr sz="2800"/>
            </a:lvl1pPr>
          </a:lstStyle>
          <a:p>
            <a:r>
              <a:rPr lang="en-US" dirty="0"/>
              <a:t>Click to edit “Thank you/Disclaimer”</a:t>
            </a:r>
            <a:endParaRPr lang="en-GB" dirty="0"/>
          </a:p>
        </p:txBody>
      </p:sp>
      <p:sp>
        <p:nvSpPr>
          <p:cNvPr id="14" name="Text Placeholder 13"/>
          <p:cNvSpPr>
            <a:spLocks noGrp="1"/>
          </p:cNvSpPr>
          <p:nvPr>
            <p:ph type="body" sz="quarter" idx="10" hasCustomPrompt="1"/>
          </p:nvPr>
        </p:nvSpPr>
        <p:spPr bwMode="gray">
          <a:xfrm>
            <a:off x="180000" y="4677200"/>
            <a:ext cx="8784000" cy="1584176"/>
          </a:xfrm>
        </p:spPr>
        <p:txBody>
          <a:bodyPr vert="horz" lIns="252000" tIns="45720" rIns="91440" bIns="45720" rtlCol="0" anchor="t" anchorCtr="0">
            <a:normAutofit/>
          </a:bodyPr>
          <a:lstStyle>
            <a:lvl1pPr>
              <a:defRPr lang="en-US" sz="1400" dirty="0" smtClean="0">
                <a:solidFill>
                  <a:schemeClr val="tx2"/>
                </a:solidFill>
                <a:ea typeface="+mj-ea"/>
                <a:cs typeface="+mj-cs"/>
              </a:defRPr>
            </a:lvl1pPr>
          </a:lstStyle>
          <a:p>
            <a:pPr lvl="0">
              <a:spcBef>
                <a:spcPct val="0"/>
              </a:spcBef>
            </a:pPr>
            <a:r>
              <a:rPr lang="en-US" dirty="0"/>
              <a:t>Contact information</a:t>
            </a:r>
          </a:p>
        </p:txBody>
      </p:sp>
      <p:sp>
        <p:nvSpPr>
          <p:cNvPr id="9" name="Text Placeholder 13"/>
          <p:cNvSpPr>
            <a:spLocks noGrp="1"/>
          </p:cNvSpPr>
          <p:nvPr>
            <p:ph type="body" sz="quarter" idx="11" hasCustomPrompt="1"/>
          </p:nvPr>
        </p:nvSpPr>
        <p:spPr bwMode="gray">
          <a:xfrm>
            <a:off x="6660232" y="1542774"/>
            <a:ext cx="2483768" cy="246221"/>
          </a:xfrm>
          <a:solidFill>
            <a:schemeClr val="tx2">
              <a:alpha val="90000"/>
            </a:schemeClr>
          </a:solidFill>
          <a:ln>
            <a:noFill/>
          </a:ln>
        </p:spPr>
        <p:txBody>
          <a:bodyPr wrap="square" lIns="234000" anchor="ctr" anchorCtr="0">
            <a:spAutoFit/>
          </a:bodyPr>
          <a:lstStyle>
            <a:lvl1pPr>
              <a:defRPr sz="10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err="1"/>
              <a:t>Veranstaltung</a:t>
            </a:r>
            <a:r>
              <a:rPr lang="en-US" dirty="0"/>
              <a:t>/Datum</a:t>
            </a:r>
          </a:p>
        </p:txBody>
      </p:sp>
      <p:pic>
        <p:nvPicPr>
          <p:cNvPr id="7" name="Picture 2" descr="H:\Corporate_Communications\MarketingC\Abteilungsordner\Corporate Identity\Logos\01 Corporate Logos\Deutsche Börse Group_REFRESH\DIN A4\png\DB_DBG2012_REFRESH__RGB_DINA4_.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60232" y="836713"/>
            <a:ext cx="2376264" cy="618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3529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separator fwb">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3" name="think-cell Folie" r:id="rId4" imgW="286" imgH="286" progId="TCLayout.ActiveDocument.1">
                  <p:embed/>
                </p:oleObj>
              </mc:Choice>
              <mc:Fallback>
                <p:oleObj name="think-cell Folie" r:id="rId4" imgW="286" imgH="28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110558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end bul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7" name="think-cell Folie" r:id="rId4" imgW="286" imgH="286" progId="TCLayout.ActiveDocument.1">
                  <p:embed/>
                </p:oleObj>
              </mc:Choice>
              <mc:Fallback>
                <p:oleObj name="think-cell Folie" r:id="rId4" imgW="286" imgH="28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80000" y="180254"/>
            <a:ext cx="8784000" cy="6497493"/>
          </a:xfrm>
          <a:prstGeom prst="rect">
            <a:avLst/>
          </a:prstGeom>
        </p:spPr>
      </p:pic>
      <p:sp>
        <p:nvSpPr>
          <p:cNvPr id="12" name="Rectangle 11"/>
          <p:cNvSpPr/>
          <p:nvPr/>
        </p:nvSpPr>
        <p:spPr bwMode="gray">
          <a:xfrm>
            <a:off x="0" y="3789040"/>
            <a:ext cx="9144000" cy="252028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GB" dirty="0">
              <a:solidFill>
                <a:srgbClr val="FFFFFF"/>
              </a:solidFill>
              <a:latin typeface="Arial" pitchFamily="34" charset="0"/>
            </a:endParaRPr>
          </a:p>
        </p:txBody>
      </p:sp>
      <p:sp>
        <p:nvSpPr>
          <p:cNvPr id="2" name="Title 1"/>
          <p:cNvSpPr>
            <a:spLocks noGrp="1"/>
          </p:cNvSpPr>
          <p:nvPr>
            <p:ph type="ctrTitle" hasCustomPrompt="1"/>
          </p:nvPr>
        </p:nvSpPr>
        <p:spPr bwMode="gray">
          <a:xfrm>
            <a:off x="180000" y="4047207"/>
            <a:ext cx="8784000" cy="605929"/>
          </a:xfrm>
        </p:spPr>
        <p:txBody>
          <a:bodyPr lIns="252000">
            <a:normAutofit/>
          </a:bodyPr>
          <a:lstStyle>
            <a:lvl1pPr>
              <a:defRPr sz="2800"/>
            </a:lvl1pPr>
          </a:lstStyle>
          <a:p>
            <a:r>
              <a:rPr lang="en-US" dirty="0" smtClean="0"/>
              <a:t>Click to edit “Thank you/Disclaimer”</a:t>
            </a:r>
            <a:endParaRPr lang="en-GB" dirty="0"/>
          </a:p>
        </p:txBody>
      </p:sp>
      <p:sp>
        <p:nvSpPr>
          <p:cNvPr id="9" name="Text Placeholder 13"/>
          <p:cNvSpPr>
            <a:spLocks noGrp="1"/>
          </p:cNvSpPr>
          <p:nvPr>
            <p:ph type="body" sz="quarter" idx="10" hasCustomPrompt="1"/>
          </p:nvPr>
        </p:nvSpPr>
        <p:spPr bwMode="gray">
          <a:xfrm>
            <a:off x="180000" y="4653136"/>
            <a:ext cx="4392000" cy="1584176"/>
          </a:xfrm>
        </p:spPr>
        <p:txBody>
          <a:bodyPr vert="horz" lIns="252000" tIns="45720" rIns="91440" bIns="45720" rtlCol="0" anchor="t" anchorCtr="0">
            <a:normAutofit/>
          </a:bodyPr>
          <a:lstStyle>
            <a:lvl1pPr>
              <a:defRPr lang="en-US" sz="1400" dirty="0" smtClean="0">
                <a:solidFill>
                  <a:schemeClr val="tx2"/>
                </a:solidFill>
                <a:ea typeface="+mj-ea"/>
                <a:cs typeface="+mj-cs"/>
              </a:defRPr>
            </a:lvl1pPr>
          </a:lstStyle>
          <a:p>
            <a:pPr lvl="0">
              <a:spcBef>
                <a:spcPct val="0"/>
              </a:spcBef>
            </a:pPr>
            <a:r>
              <a:rPr lang="en-US" dirty="0" smtClean="0"/>
              <a:t>Contact information</a:t>
            </a:r>
          </a:p>
        </p:txBody>
      </p:sp>
    </p:spTree>
    <p:extLst>
      <p:ext uri="{BB962C8B-B14F-4D97-AF65-F5344CB8AC3E}">
        <p14:creationId xmlns:p14="http://schemas.microsoft.com/office/powerpoint/2010/main" val="27723320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40386" y="843850"/>
            <a:ext cx="8046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Nr.›</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1/31/2018</a:t>
            </a:fld>
            <a:endParaRPr lang="en-US" altLang="en-US" dirty="0"/>
          </a:p>
        </p:txBody>
      </p:sp>
      <p:sp>
        <p:nvSpPr>
          <p:cNvPr id="8" name="Textplatzhalter 7"/>
          <p:cNvSpPr>
            <a:spLocks noGrp="1"/>
          </p:cNvSpPr>
          <p:nvPr>
            <p:ph type="body" sz="quarter" idx="13" hasCustomPrompt="1"/>
          </p:nvPr>
        </p:nvSpPr>
        <p:spPr>
          <a:xfrm>
            <a:off x="539999" y="1439999"/>
            <a:ext cx="8046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266941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Nr.›</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1/31/2018</a:t>
            </a:fld>
            <a:endParaRPr lang="en-US" altLang="en-US" dirty="0"/>
          </a:p>
        </p:txBody>
      </p:sp>
      <p:sp>
        <p:nvSpPr>
          <p:cNvPr id="8" name="Textplatzhalter 7"/>
          <p:cNvSpPr>
            <a:spLocks noGrp="1"/>
          </p:cNvSpPr>
          <p:nvPr>
            <p:ph type="body" sz="quarter" idx="13" hasCustomPrompt="1"/>
          </p:nvPr>
        </p:nvSpPr>
        <p:spPr>
          <a:xfrm>
            <a:off x="539750" y="1440000"/>
            <a:ext cx="39096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4675600" y="1440000"/>
            <a:ext cx="39096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8345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Nr.›</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1/31/2018</a:t>
            </a:fld>
            <a:endParaRPr lang="en-US" altLang="en-US" dirty="0"/>
          </a:p>
        </p:txBody>
      </p:sp>
      <p:sp>
        <p:nvSpPr>
          <p:cNvPr id="15" name="Textfeld 14"/>
          <p:cNvSpPr txBox="1"/>
          <p:nvPr/>
        </p:nvSpPr>
        <p:spPr>
          <a:xfrm>
            <a:off x="2971799" y="1696350"/>
            <a:ext cx="324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5801088" y="1696350"/>
            <a:ext cx="324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551962" y="1495425"/>
            <a:ext cx="2376488"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3377968" y="1495425"/>
            <a:ext cx="2376488"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6203974" y="1495425"/>
            <a:ext cx="2376488"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552450" y="1990800"/>
            <a:ext cx="2376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3377968" y="1990800"/>
            <a:ext cx="2376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6203974" y="1990800"/>
            <a:ext cx="2376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23770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Nr.›</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1/31/2018</a:t>
            </a:fld>
            <a:endParaRPr lang="en-US" altLang="en-US" dirty="0"/>
          </a:p>
        </p:txBody>
      </p:sp>
      <p:sp>
        <p:nvSpPr>
          <p:cNvPr id="25" name="Textfeld 24"/>
          <p:cNvSpPr txBox="1"/>
          <p:nvPr/>
        </p:nvSpPr>
        <p:spPr>
          <a:xfrm rot="5400000">
            <a:off x="1733549" y="3658501"/>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4471988" y="3658501"/>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7234238" y="3658501"/>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551962" y="1495425"/>
            <a:ext cx="2523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3304918" y="1495425"/>
            <a:ext cx="2523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6056862" y="1495425"/>
            <a:ext cx="2523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551962" y="4360950"/>
            <a:ext cx="80285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552450" y="1990800"/>
            <a:ext cx="2523112"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3304918" y="1990800"/>
            <a:ext cx="2523112"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6056862" y="1990800"/>
            <a:ext cx="2523112"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552450" y="4857750"/>
            <a:ext cx="8027524"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430429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Nr.›</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1/31/2018</a:t>
            </a:fld>
            <a:endParaRPr lang="en-US" altLang="en-US" dirty="0"/>
          </a:p>
        </p:txBody>
      </p:sp>
      <p:sp>
        <p:nvSpPr>
          <p:cNvPr id="12" name="Textplatzhalter 6"/>
          <p:cNvSpPr>
            <a:spLocks noGrp="1"/>
          </p:cNvSpPr>
          <p:nvPr>
            <p:ph type="body" sz="quarter" idx="31" hasCustomPrompt="1"/>
          </p:nvPr>
        </p:nvSpPr>
        <p:spPr>
          <a:xfrm>
            <a:off x="551962" y="1495425"/>
            <a:ext cx="25236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551962" y="3199650"/>
            <a:ext cx="25236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551962" y="4885576"/>
            <a:ext cx="25236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3304917" y="1495425"/>
            <a:ext cx="52848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3304917" y="3201449"/>
            <a:ext cx="52848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3304917" y="4887375"/>
            <a:ext cx="52848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599354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sp>
        <p:nvSpPr>
          <p:cNvPr id="18" name="Textplatzhalter 6"/>
          <p:cNvSpPr>
            <a:spLocks noGrp="1"/>
          </p:cNvSpPr>
          <p:nvPr>
            <p:ph type="body" sz="quarter" idx="28" hasCustomPrompt="1"/>
          </p:nvPr>
        </p:nvSpPr>
        <p:spPr>
          <a:xfrm>
            <a:off x="4778862" y="1495425"/>
            <a:ext cx="3801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4778862" y="4589850"/>
            <a:ext cx="38016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4778862" y="1989525"/>
            <a:ext cx="38016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551962" y="4094250"/>
            <a:ext cx="38016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552449" y="4589850"/>
            <a:ext cx="38016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Nr.›</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1/31/2018</a:t>
            </a:fld>
            <a:endParaRPr lang="en-US" altLang="en-US" dirty="0"/>
          </a:p>
        </p:txBody>
      </p:sp>
      <p:sp>
        <p:nvSpPr>
          <p:cNvPr id="32" name="Rechteck 31"/>
          <p:cNvSpPr/>
          <p:nvPr/>
        </p:nvSpPr>
        <p:spPr>
          <a:xfrm>
            <a:off x="552449" y="1989525"/>
            <a:ext cx="38016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551962" y="1495425"/>
            <a:ext cx="38016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4778862" y="4094250"/>
            <a:ext cx="38016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3436632" y="2746069"/>
            <a:ext cx="2271600"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552448" y="1992225"/>
            <a:ext cx="27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552448" y="4591050"/>
            <a:ext cx="27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5912862" y="1992225"/>
            <a:ext cx="26676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5912862" y="4591050"/>
            <a:ext cx="26676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680828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Nr.›</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1/31/2018</a:t>
            </a:fld>
            <a:endParaRPr lang="en-US" altLang="en-US" dirty="0"/>
          </a:p>
        </p:txBody>
      </p:sp>
      <p:sp>
        <p:nvSpPr>
          <p:cNvPr id="13" name="Bildplatzhalter 12"/>
          <p:cNvSpPr>
            <a:spLocks noGrp="1"/>
          </p:cNvSpPr>
          <p:nvPr>
            <p:ph type="pic" sz="quarter" idx="16" hasCustomPrompt="1"/>
          </p:nvPr>
        </p:nvSpPr>
        <p:spPr>
          <a:xfrm>
            <a:off x="558800" y="1495425"/>
            <a:ext cx="3897312"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4676400" y="1440000"/>
            <a:ext cx="39096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72904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image" Target="../media/image10.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Fußzeilenplatzhalter 4"/>
          <p:cNvSpPr>
            <a:spLocks noGrp="1"/>
          </p:cNvSpPr>
          <p:nvPr>
            <p:ph type="ftr" sz="quarter" idx="3"/>
          </p:nvPr>
        </p:nvSpPr>
        <p:spPr>
          <a:xfrm>
            <a:off x="5991663" y="6561297"/>
            <a:ext cx="2598324" cy="242601"/>
          </a:xfrm>
          <a:prstGeom prst="rect">
            <a:avLst/>
          </a:prstGeom>
          <a:noFill/>
        </p:spPr>
        <p:txBody>
          <a:bodyPr lIns="0" tIns="0" rIns="0" bIns="0" anchor="t" anchorCtr="0"/>
          <a:lstStyle>
            <a:lvl1pPr>
              <a:defRPr sz="800">
                <a:solidFill>
                  <a:schemeClr val="tx1"/>
                </a:solidFill>
              </a:defRPr>
            </a:lvl1pPr>
          </a:lstStyle>
          <a:p>
            <a:pPr>
              <a:defRPr/>
            </a:pPr>
            <a:endParaRPr lang="en-US" dirty="0"/>
          </a:p>
        </p:txBody>
      </p:sp>
      <p:sp>
        <p:nvSpPr>
          <p:cNvPr id="17" name="Foliennummernplatzhalter 5"/>
          <p:cNvSpPr>
            <a:spLocks noGrp="1"/>
          </p:cNvSpPr>
          <p:nvPr>
            <p:ph type="sldNum" sz="quarter" idx="4"/>
          </p:nvPr>
        </p:nvSpPr>
        <p:spPr>
          <a:xfrm>
            <a:off x="5657850" y="6524625"/>
            <a:ext cx="571500"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Nr.›</a:t>
            </a:fld>
            <a:endParaRPr lang="en-US" altLang="en-US" dirty="0"/>
          </a:p>
        </p:txBody>
      </p:sp>
      <p:pic>
        <p:nvPicPr>
          <p:cNvPr id="19" name="Grafik 18"/>
          <p:cNvPicPr>
            <a:picLocks noChangeAspect="1"/>
          </p:cNvPicPr>
          <p:nvPr userDrawn="1"/>
        </p:nvPicPr>
        <p:blipFill rotWithShape="1">
          <a:blip r:embed="rId15" cstate="print">
            <a:extLst>
              <a:ext uri="{28A0092B-C50C-407E-A947-70E740481C1C}">
                <a14:useLocalDpi xmlns:a14="http://schemas.microsoft.com/office/drawing/2010/main"/>
              </a:ext>
            </a:extLst>
          </a:blip>
          <a:srcRect/>
          <a:stretch/>
        </p:blipFill>
        <p:spPr>
          <a:xfrm>
            <a:off x="5622586" y="0"/>
            <a:ext cx="3521851" cy="630936"/>
          </a:xfrm>
          <a:prstGeom prst="rect">
            <a:avLst/>
          </a:prstGeom>
        </p:spPr>
      </p:pic>
      <p:sp>
        <p:nvSpPr>
          <p:cNvPr id="28" name="Titelplatzhalter 27"/>
          <p:cNvSpPr>
            <a:spLocks noGrp="1"/>
          </p:cNvSpPr>
          <p:nvPr>
            <p:ph type="title"/>
          </p:nvPr>
        </p:nvSpPr>
        <p:spPr>
          <a:xfrm>
            <a:off x="540386" y="843850"/>
            <a:ext cx="8044814"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30" name="Datumsplatzhalter 29"/>
          <p:cNvSpPr>
            <a:spLocks noGrp="1"/>
          </p:cNvSpPr>
          <p:nvPr>
            <p:ph type="dt" sz="half" idx="2"/>
          </p:nvPr>
        </p:nvSpPr>
        <p:spPr>
          <a:xfrm>
            <a:off x="4806950" y="6561297"/>
            <a:ext cx="685800" cy="241200"/>
          </a:xfrm>
          <a:prstGeom prst="rect">
            <a:avLst/>
          </a:prstGeom>
          <a:noFill/>
        </p:spPr>
        <p:txBody>
          <a:bodyPr vert="horz" lIns="0" tIns="0" rIns="0" bIns="0" rtlCol="0" anchor="t" anchorCtr="0"/>
          <a:lstStyle>
            <a:lvl1pPr algn="r">
              <a:defRPr sz="800">
                <a:solidFill>
                  <a:schemeClr val="tx1"/>
                </a:solidFill>
              </a:defRPr>
            </a:lvl1pPr>
          </a:lstStyle>
          <a:p>
            <a:pPr>
              <a:defRPr/>
            </a:pPr>
            <a:fld id="{6889D757-E23A-497A-9B14-62A69CF34700}" type="datetime1">
              <a:rPr lang="en-US" altLang="en-US" smtClean="0"/>
              <a:pPr>
                <a:defRPr/>
              </a:pPr>
              <a:t>1/31/2018</a:t>
            </a:fld>
            <a:endParaRPr lang="en-US" altLang="en-US" dirty="0"/>
          </a:p>
        </p:txBody>
      </p:sp>
      <p:pic>
        <p:nvPicPr>
          <p:cNvPr id="31" name="Grafik 30"/>
          <p:cNvPicPr>
            <a:picLocks noChangeAspect="1"/>
          </p:cNvPicPr>
          <p:nvPr userDrawn="1"/>
        </p:nvPicPr>
        <p:blipFill rotWithShape="1">
          <a:blip r:embed="rId16" cstate="print">
            <a:extLst>
              <a:ext uri="{28A0092B-C50C-407E-A947-70E740481C1C}">
                <a14:useLocalDpi xmlns:a14="http://schemas.microsoft.com/office/drawing/2010/main"/>
              </a:ext>
            </a:extLst>
          </a:blip>
          <a:srcRect/>
          <a:stretch/>
        </p:blipFill>
        <p:spPr>
          <a:xfrm>
            <a:off x="0" y="6711696"/>
            <a:ext cx="3245034" cy="146304"/>
          </a:xfrm>
          <a:prstGeom prst="rect">
            <a:avLst/>
          </a:prstGeom>
        </p:spPr>
      </p:pic>
      <p:sp>
        <p:nvSpPr>
          <p:cNvPr id="2" name="Textplatzhalter 1"/>
          <p:cNvSpPr>
            <a:spLocks noGrp="1"/>
          </p:cNvSpPr>
          <p:nvPr>
            <p:ph type="body" idx="1"/>
          </p:nvPr>
        </p:nvSpPr>
        <p:spPr>
          <a:xfrm>
            <a:off x="540000" y="1440000"/>
            <a:ext cx="8046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894363658"/>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4" r:id="rId10"/>
    <p:sldLayoutId id="2147483845" r:id="rId11"/>
    <p:sldLayoutId id="2147483846" r:id="rId12"/>
    <p:sldLayoutId id="2147483848"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ound Single Corner Rectangle 5"/>
          <p:cNvSpPr/>
          <p:nvPr/>
        </p:nvSpPr>
        <p:spPr>
          <a:xfrm>
            <a:off x="0" y="6381721"/>
            <a:ext cx="7937681" cy="476279"/>
          </a:xfrm>
          <a:prstGeom prst="round1Rect">
            <a:avLst/>
          </a:prstGeom>
          <a:solidFill>
            <a:srgbClr val="307098"/>
          </a:solidFill>
          <a:ln>
            <a:noFill/>
          </a:ln>
          <a:effectLst>
            <a:outerShdw blurRad="40000" dist="23000" dir="1836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sz="1400" b="1" dirty="0">
              <a:solidFill>
                <a:srgbClr val="FFFFFF"/>
              </a:solidFill>
            </a:endParaRPr>
          </a:p>
        </p:txBody>
      </p:sp>
      <p:sp>
        <p:nvSpPr>
          <p:cNvPr id="18" name="Round Single Corner Rectangle 7"/>
          <p:cNvSpPr/>
          <p:nvPr userDrawn="1"/>
        </p:nvSpPr>
        <p:spPr>
          <a:xfrm rot="10800000">
            <a:off x="2217329" y="0"/>
            <a:ext cx="6926671" cy="692675"/>
          </a:xfrm>
          <a:prstGeom prst="round1Rect">
            <a:avLst/>
          </a:prstGeom>
          <a:solidFill>
            <a:srgbClr val="307098"/>
          </a:solidFill>
          <a:ln>
            <a:noFill/>
          </a:ln>
          <a:effectLst>
            <a:outerShdw blurRad="40000" dist="23000" dir="1836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sz="1400" b="1" dirty="0">
                <a:solidFill>
                  <a:srgbClr val="FFFFFF"/>
                </a:solidFill>
              </a:rPr>
              <a:t> </a:t>
            </a:r>
          </a:p>
        </p:txBody>
      </p:sp>
      <p:pic>
        <p:nvPicPr>
          <p:cNvPr id="2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0951" y="-1"/>
            <a:ext cx="1466401" cy="667895"/>
          </a:xfrm>
          <a:prstGeom prst="rect">
            <a:avLst/>
          </a:prstGeom>
        </p:spPr>
      </p:pic>
      <p:sp>
        <p:nvSpPr>
          <p:cNvPr id="4" name="Datumsplatzhalter 3"/>
          <p:cNvSpPr>
            <a:spLocks noGrp="1"/>
          </p:cNvSpPr>
          <p:nvPr>
            <p:ph type="dt" sz="half" idx="2"/>
          </p:nvPr>
        </p:nvSpPr>
        <p:spPr>
          <a:xfrm>
            <a:off x="77351" y="6417376"/>
            <a:ext cx="1686337" cy="396000"/>
          </a:xfrm>
          <a:prstGeom prst="rect">
            <a:avLst/>
          </a:prstGeom>
        </p:spPr>
        <p:txBody>
          <a:bodyPr vert="horz" lIns="91440" tIns="45720" rIns="91440" bIns="45720" rtlCol="0" anchor="ctr"/>
          <a:lstStyle>
            <a:lvl1pPr algn="l">
              <a:defRPr sz="1600" b="1">
                <a:solidFill>
                  <a:schemeClr val="bg1"/>
                </a:solidFill>
              </a:defRPr>
            </a:lvl1pPr>
          </a:lstStyle>
          <a:p>
            <a:pPr fontAlgn="auto">
              <a:spcBef>
                <a:spcPts val="0"/>
              </a:spcBef>
              <a:spcAft>
                <a:spcPts val="0"/>
              </a:spcAft>
            </a:pPr>
            <a:r>
              <a:rPr lang="de-DE">
                <a:solidFill>
                  <a:srgbClr val="FFFFFF"/>
                </a:solidFill>
                <a:latin typeface="Verdana"/>
                <a:ea typeface="+mn-ea"/>
              </a:rPr>
              <a:t>04/01/2018</a:t>
            </a:r>
            <a:endParaRPr lang="en-US" dirty="0">
              <a:solidFill>
                <a:srgbClr val="FFFFFF"/>
              </a:solidFill>
              <a:latin typeface="Verdana"/>
              <a:ea typeface="+mn-ea"/>
            </a:endParaRPr>
          </a:p>
        </p:txBody>
      </p:sp>
      <p:sp>
        <p:nvSpPr>
          <p:cNvPr id="5" name="Fußzeilenplatzhalter 4"/>
          <p:cNvSpPr>
            <a:spLocks noGrp="1"/>
          </p:cNvSpPr>
          <p:nvPr>
            <p:ph type="ftr" sz="quarter" idx="3"/>
          </p:nvPr>
        </p:nvSpPr>
        <p:spPr>
          <a:xfrm>
            <a:off x="1691680" y="6417376"/>
            <a:ext cx="5256584" cy="396000"/>
          </a:xfrm>
          <a:prstGeom prst="rect">
            <a:avLst/>
          </a:prstGeom>
        </p:spPr>
        <p:txBody>
          <a:bodyPr vert="horz" lIns="91440" tIns="45720" rIns="91440" bIns="45720" rtlCol="0" anchor="ctr"/>
          <a:lstStyle>
            <a:lvl1pPr algn="ctr">
              <a:defRPr sz="1600" b="1">
                <a:solidFill>
                  <a:schemeClr val="bg1"/>
                </a:solidFill>
              </a:defRPr>
            </a:lvl1pPr>
          </a:lstStyle>
          <a:p>
            <a:pPr algn="l" fontAlgn="auto">
              <a:spcBef>
                <a:spcPts val="0"/>
              </a:spcBef>
              <a:spcAft>
                <a:spcPts val="0"/>
              </a:spcAft>
            </a:pPr>
            <a:r>
              <a:rPr lang="en-US">
                <a:solidFill>
                  <a:srgbClr val="FFFFFF"/>
                </a:solidFill>
                <a:latin typeface="Verdana"/>
                <a:ea typeface="+mn-ea"/>
              </a:rPr>
              <a:t>Update to CACM TF from BZR Workshop</a:t>
            </a:r>
            <a:endParaRPr lang="en-US" dirty="0">
              <a:solidFill>
                <a:srgbClr val="FFFFFF"/>
              </a:solidFill>
              <a:latin typeface="Verdana"/>
              <a:ea typeface="+mn-ea"/>
            </a:endParaRPr>
          </a:p>
        </p:txBody>
      </p:sp>
      <p:sp>
        <p:nvSpPr>
          <p:cNvPr id="8" name="Foliennummernplatzhalter 7"/>
          <p:cNvSpPr>
            <a:spLocks noGrp="1"/>
          </p:cNvSpPr>
          <p:nvPr>
            <p:ph type="sldNum" sz="quarter" idx="4"/>
          </p:nvPr>
        </p:nvSpPr>
        <p:spPr>
          <a:xfrm>
            <a:off x="6948264" y="6417376"/>
            <a:ext cx="893135" cy="396000"/>
          </a:xfrm>
          <a:prstGeom prst="rect">
            <a:avLst/>
          </a:prstGeom>
        </p:spPr>
        <p:txBody>
          <a:bodyPr vert="horz" lIns="91440" tIns="45720" rIns="91440" bIns="45720" rtlCol="0" anchor="ctr"/>
          <a:lstStyle>
            <a:lvl1pPr algn="r">
              <a:defRPr sz="1600" b="1">
                <a:solidFill>
                  <a:schemeClr val="bg1"/>
                </a:solidFill>
              </a:defRPr>
            </a:lvl1pPr>
          </a:lstStyle>
          <a:p>
            <a:pPr fontAlgn="auto">
              <a:spcBef>
                <a:spcPts val="0"/>
              </a:spcBef>
              <a:spcAft>
                <a:spcPts val="0"/>
              </a:spcAft>
            </a:pPr>
            <a:fld id="{023D7A0C-2893-4A5B-9776-FCF4CE9D02B2}" type="slidenum">
              <a:rPr lang="en-US" smtClean="0">
                <a:solidFill>
                  <a:srgbClr val="FFFFFF"/>
                </a:solidFill>
                <a:latin typeface="Verdana"/>
                <a:ea typeface="+mn-ea"/>
              </a:rPr>
              <a:pPr fontAlgn="auto">
                <a:spcBef>
                  <a:spcPts val="0"/>
                </a:spcBef>
                <a:spcAft>
                  <a:spcPts val="0"/>
                </a:spcAft>
              </a:pPr>
              <a:t>‹Nr.›</a:t>
            </a:fld>
            <a:endParaRPr lang="en-US" dirty="0">
              <a:solidFill>
                <a:srgbClr val="FFFFFF"/>
              </a:solidFill>
              <a:latin typeface="Verdana"/>
              <a:ea typeface="+mn-ea"/>
            </a:endParaRPr>
          </a:p>
        </p:txBody>
      </p:sp>
    </p:spTree>
    <p:extLst>
      <p:ext uri="{BB962C8B-B14F-4D97-AF65-F5344CB8AC3E}">
        <p14:creationId xmlns:p14="http://schemas.microsoft.com/office/powerpoint/2010/main" val="2507935967"/>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rtl="0" eaLnBrk="1" fontAlgn="base" hangingPunct="1">
        <a:lnSpc>
          <a:spcPct val="90000"/>
        </a:lnSpc>
        <a:spcBef>
          <a:spcPct val="0"/>
        </a:spcBef>
        <a:spcAft>
          <a:spcPct val="0"/>
        </a:spcAft>
        <a:defRPr sz="3200">
          <a:solidFill>
            <a:schemeClr val="tx1"/>
          </a:solidFill>
          <a:latin typeface="+mj-lt"/>
          <a:ea typeface="ＭＳ Ｐゴシック" pitchFamily="-108" charset="-128"/>
          <a:cs typeface="+mj-cs"/>
        </a:defRPr>
      </a:lvl1pPr>
      <a:lvl2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2pPr>
      <a:lvl3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3pPr>
      <a:lvl4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4pPr>
      <a:lvl5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p:titleStyle>
    <p:bodyStyle>
      <a:lvl1pPr marL="444500" marR="0" indent="-444500" algn="l" defTabSz="914400" rtl="0" eaLnBrk="1" fontAlgn="base" latinLnBrk="0" hangingPunct="1">
        <a:lnSpc>
          <a:spcPct val="100000"/>
        </a:lnSpc>
        <a:spcBef>
          <a:spcPct val="0"/>
        </a:spcBef>
        <a:spcAft>
          <a:spcPct val="0"/>
        </a:spcAft>
        <a:buClr>
          <a:srgbClr val="307098"/>
        </a:buClr>
        <a:buSzPct val="400000"/>
        <a:buFont typeface="Trebuchet MS" pitchFamily="34" charset="0"/>
        <a:buChar char="."/>
        <a:tabLst/>
        <a:defRPr lang="de-DE" sz="2400" baseline="0" noProof="0" dirty="0" smtClean="0">
          <a:solidFill>
            <a:schemeClr val="tx1"/>
          </a:solidFill>
          <a:latin typeface="Verdana" pitchFamily="34" charset="0"/>
          <a:ea typeface="ＭＳ Ｐゴシック" pitchFamily="-108" charset="-128"/>
          <a:cs typeface="+mn-cs"/>
        </a:defRPr>
      </a:lvl1pPr>
      <a:lvl2pPr marL="998538" marR="0" indent="-368300" algn="l" defTabSz="914400" rtl="0" eaLnBrk="1" fontAlgn="base" latinLnBrk="0" hangingPunct="1">
        <a:lnSpc>
          <a:spcPct val="100000"/>
        </a:lnSpc>
        <a:spcBef>
          <a:spcPct val="0"/>
        </a:spcBef>
        <a:spcAft>
          <a:spcPct val="0"/>
        </a:spcAft>
        <a:buClr>
          <a:srgbClr val="307098"/>
        </a:buClr>
        <a:buSzPct val="125000"/>
        <a:buFont typeface="Trebuchet MS" pitchFamily="34" charset="0"/>
        <a:buChar char="»"/>
        <a:tabLst/>
        <a:defRPr lang="de-DE" sz="2400" baseline="0" noProof="0" dirty="0" smtClean="0">
          <a:solidFill>
            <a:schemeClr val="tx1"/>
          </a:solidFill>
          <a:latin typeface="Verdana" pitchFamily="34" charset="0"/>
          <a:ea typeface="ＭＳ Ｐゴシック" pitchFamily="-108" charset="-128"/>
          <a:cs typeface="+mn-cs"/>
        </a:defRPr>
      </a:lvl2pPr>
      <a:lvl3pPr marL="1406525" marR="0" indent="-228600" algn="l" defTabSz="914400" rtl="0" eaLnBrk="1" fontAlgn="base" latinLnBrk="0" hangingPunct="1">
        <a:lnSpc>
          <a:spcPct val="100000"/>
        </a:lnSpc>
        <a:spcBef>
          <a:spcPct val="0"/>
        </a:spcBef>
        <a:spcAft>
          <a:spcPct val="0"/>
        </a:spcAft>
        <a:buClr>
          <a:srgbClr val="307098"/>
        </a:buClr>
        <a:buSzTx/>
        <a:buFont typeface="Arial" charset="0"/>
        <a:buChar char="•"/>
        <a:tabLst/>
        <a:defRPr lang="de-DE" sz="2400" baseline="0" noProof="0" dirty="0" smtClean="0">
          <a:solidFill>
            <a:schemeClr val="tx1"/>
          </a:solidFill>
          <a:latin typeface="Verdana" pitchFamily="34" charset="0"/>
          <a:ea typeface="ＭＳ Ｐゴシック" pitchFamily="-108" charset="-128"/>
          <a:cs typeface="+mn-cs"/>
        </a:defRPr>
      </a:lvl3pPr>
      <a:lvl4pPr marL="1814513" marR="0" indent="-228600" algn="l" defTabSz="914400" rtl="0" eaLnBrk="1" fontAlgn="base" latinLnBrk="0" hangingPunct="1">
        <a:lnSpc>
          <a:spcPct val="100000"/>
        </a:lnSpc>
        <a:spcBef>
          <a:spcPct val="0"/>
        </a:spcBef>
        <a:spcAft>
          <a:spcPct val="0"/>
        </a:spcAft>
        <a:buClr>
          <a:srgbClr val="307098"/>
        </a:buClr>
        <a:buSzPct val="125000"/>
        <a:buFont typeface="Arial" charset="0"/>
        <a:buChar char="­"/>
        <a:tabLst/>
        <a:defRPr lang="de-DE" sz="2400" baseline="0" noProof="0" dirty="0" smtClean="0">
          <a:solidFill>
            <a:schemeClr val="tx1"/>
          </a:solidFill>
          <a:latin typeface="Verdana" pitchFamily="34" charset="0"/>
          <a:ea typeface="ＭＳ Ｐゴシック" pitchFamily="-108" charset="-128"/>
          <a:cs typeface="+mn-cs"/>
        </a:defRPr>
      </a:lvl4pPr>
      <a:lvl5pPr marL="2222500" marR="0" indent="-228600" algn="l" defTabSz="914400" rtl="0" eaLnBrk="1" fontAlgn="base" latinLnBrk="0" hangingPunct="1">
        <a:lnSpc>
          <a:spcPct val="100000"/>
        </a:lnSpc>
        <a:spcBef>
          <a:spcPct val="0"/>
        </a:spcBef>
        <a:spcAft>
          <a:spcPct val="0"/>
        </a:spcAft>
        <a:buClr>
          <a:srgbClr val="307098"/>
        </a:buClr>
        <a:buSzTx/>
        <a:buFont typeface="Arial" charset="0"/>
        <a:buChar char="•"/>
        <a:tabLst/>
        <a:defRPr lang="fr-BE" sz="2400" baseline="0" noProof="0" dirty="0">
          <a:solidFill>
            <a:schemeClr val="tx1"/>
          </a:solidFill>
          <a:latin typeface="Verdana" pitchFamily="34" charset="0"/>
          <a:ea typeface="ＭＳ Ｐゴシック" pitchFamily="-108" charset="-128"/>
          <a:cs typeface="+mn-cs"/>
        </a:defRPr>
      </a:lvl5pPr>
      <a:lvl6pPr marL="26797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6pPr>
      <a:lvl7pPr marL="31369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7pPr>
      <a:lvl8pPr marL="35941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8pPr>
      <a:lvl9pPr marL="40513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180000" y="684002"/>
            <a:ext cx="8784000" cy="909015"/>
          </a:xfrm>
          <a:prstGeom prst="rect">
            <a:avLst/>
          </a:prstGeom>
        </p:spPr>
        <p:txBody>
          <a:bodyPr vert="horz" lIns="91440" tIns="45720" rIns="91440" bIns="45720" rtlCol="0" anchor="t" anchorCtr="0">
            <a:normAutofit/>
          </a:bodyPr>
          <a:lstStyle/>
          <a:p>
            <a:r>
              <a:rPr lang="en-US"/>
              <a:t>Click to edit Master title style</a:t>
            </a:r>
            <a:endParaRPr lang="en-GB" dirty="0"/>
          </a:p>
        </p:txBody>
      </p:sp>
      <p:sp>
        <p:nvSpPr>
          <p:cNvPr id="3" name="Text Placeholder 2"/>
          <p:cNvSpPr>
            <a:spLocks noGrp="1"/>
          </p:cNvSpPr>
          <p:nvPr>
            <p:ph type="body" idx="1"/>
          </p:nvPr>
        </p:nvSpPr>
        <p:spPr bwMode="gray">
          <a:xfrm>
            <a:off x="179513" y="1728000"/>
            <a:ext cx="878497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endParaRPr lang="en-GB" dirty="0"/>
          </a:p>
        </p:txBody>
      </p:sp>
      <p:sp>
        <p:nvSpPr>
          <p:cNvPr id="4" name="Date Placeholder 3"/>
          <p:cNvSpPr>
            <a:spLocks noGrp="1"/>
          </p:cNvSpPr>
          <p:nvPr>
            <p:ph type="dt" sz="half" idx="2"/>
          </p:nvPr>
        </p:nvSpPr>
        <p:spPr bwMode="gray">
          <a:xfrm>
            <a:off x="3086472" y="183557"/>
            <a:ext cx="2133600" cy="365125"/>
          </a:xfrm>
          <a:prstGeom prst="rect">
            <a:avLst/>
          </a:prstGeom>
        </p:spPr>
        <p:txBody>
          <a:bodyPr vert="horz" lIns="91440" tIns="45720" rIns="91440" bIns="45720" rtlCol="0" anchor="ctr"/>
          <a:lstStyle>
            <a:lvl1pPr algn="l">
              <a:defRPr sz="1100">
                <a:solidFill>
                  <a:schemeClr val="tx1">
                    <a:tint val="75000"/>
                  </a:schemeClr>
                </a:solidFill>
                <a:latin typeface="Arial" pitchFamily="34" charset="0"/>
              </a:defRPr>
            </a:lvl1pPr>
          </a:lstStyle>
          <a:p>
            <a:pPr fontAlgn="auto">
              <a:spcBef>
                <a:spcPts val="0"/>
              </a:spcBef>
              <a:spcAft>
                <a:spcPts val="0"/>
              </a:spcAft>
            </a:pPr>
            <a:endParaRPr lang="en-GB" dirty="0">
              <a:solidFill>
                <a:prstClr val="black">
                  <a:tint val="75000"/>
                </a:prstClr>
              </a:solidFill>
              <a:ea typeface="+mn-ea"/>
            </a:endParaRPr>
          </a:p>
        </p:txBody>
      </p:sp>
      <p:sp>
        <p:nvSpPr>
          <p:cNvPr id="5" name="Footer Placeholder 4"/>
          <p:cNvSpPr>
            <a:spLocks noGrp="1"/>
          </p:cNvSpPr>
          <p:nvPr>
            <p:ph type="ftr" sz="quarter" idx="3"/>
          </p:nvPr>
        </p:nvSpPr>
        <p:spPr bwMode="gray">
          <a:xfrm>
            <a:off x="180000" y="183557"/>
            <a:ext cx="2895600" cy="365125"/>
          </a:xfrm>
          <a:prstGeom prst="rect">
            <a:avLst/>
          </a:prstGeom>
        </p:spPr>
        <p:txBody>
          <a:bodyPr vert="horz" lIns="91440" tIns="45720" rIns="91440" bIns="45720" rtlCol="0" anchor="ctr"/>
          <a:lstStyle>
            <a:lvl1pPr algn="ctr">
              <a:defRPr sz="1100">
                <a:solidFill>
                  <a:schemeClr val="tx1">
                    <a:tint val="75000"/>
                  </a:schemeClr>
                </a:solidFill>
                <a:latin typeface="Arial" pitchFamily="34" charset="0"/>
              </a:defRPr>
            </a:lvl1pPr>
          </a:lstStyle>
          <a:p>
            <a:pPr algn="l" fontAlgn="auto">
              <a:spcBef>
                <a:spcPts val="0"/>
              </a:spcBef>
              <a:spcAft>
                <a:spcPts val="0"/>
              </a:spcAft>
            </a:pPr>
            <a:endParaRPr lang="en-GB" dirty="0">
              <a:solidFill>
                <a:prstClr val="black">
                  <a:tint val="75000"/>
                </a:prstClr>
              </a:solidFill>
              <a:ea typeface="+mn-ea"/>
            </a:endParaRPr>
          </a:p>
        </p:txBody>
      </p:sp>
      <p:sp>
        <p:nvSpPr>
          <p:cNvPr id="6" name="Slide Number Placeholder 5"/>
          <p:cNvSpPr>
            <a:spLocks noGrp="1"/>
          </p:cNvSpPr>
          <p:nvPr>
            <p:ph type="sldNum" sz="quarter" idx="4"/>
          </p:nvPr>
        </p:nvSpPr>
        <p:spPr bwMode="gray">
          <a:xfrm>
            <a:off x="6444208" y="155564"/>
            <a:ext cx="2519792" cy="365125"/>
          </a:xfrm>
          <a:prstGeom prst="rect">
            <a:avLst/>
          </a:prstGeom>
        </p:spPr>
        <p:txBody>
          <a:bodyPr vert="horz" lIns="91440" tIns="45720" rIns="91440" bIns="45720" rtlCol="0" anchor="ctr"/>
          <a:lstStyle>
            <a:lvl1pPr algn="r">
              <a:defRPr sz="2000">
                <a:solidFill>
                  <a:schemeClr val="tx1">
                    <a:tint val="75000"/>
                  </a:schemeClr>
                </a:solidFill>
                <a:latin typeface="Arial" pitchFamily="34" charset="0"/>
              </a:defRPr>
            </a:lvl1pPr>
          </a:lstStyle>
          <a:p>
            <a:pPr fontAlgn="auto">
              <a:spcBef>
                <a:spcPts val="0"/>
              </a:spcBef>
              <a:spcAft>
                <a:spcPts val="0"/>
              </a:spcAft>
            </a:pPr>
            <a:r>
              <a:rPr lang="en-GB" sz="1100" dirty="0">
                <a:solidFill>
                  <a:prstClr val="black">
                    <a:tint val="75000"/>
                  </a:prstClr>
                </a:solidFill>
                <a:ea typeface="+mn-ea"/>
              </a:rPr>
              <a:t>Deutsche Börse Group</a:t>
            </a:r>
            <a:r>
              <a:rPr lang="en-GB" dirty="0">
                <a:solidFill>
                  <a:prstClr val="black">
                    <a:tint val="75000"/>
                  </a:prstClr>
                </a:solidFill>
                <a:ea typeface="+mn-ea"/>
              </a:rPr>
              <a:t>	</a:t>
            </a:r>
            <a:fld id="{92F7DF68-39C9-4B8A-BEDC-AE012F5E4423}" type="slidenum">
              <a:rPr lang="en-GB" smtClean="0">
                <a:solidFill>
                  <a:prstClr val="black">
                    <a:tint val="75000"/>
                  </a:prstClr>
                </a:solidFill>
                <a:ea typeface="+mn-ea"/>
              </a:rPr>
              <a:pPr fontAlgn="auto">
                <a:spcBef>
                  <a:spcPts val="0"/>
                </a:spcBef>
                <a:spcAft>
                  <a:spcPts val="0"/>
                </a:spcAft>
              </a:pPr>
              <a:t>‹Nr.›</a:t>
            </a:fld>
            <a:endParaRPr lang="en-GB" dirty="0">
              <a:solidFill>
                <a:prstClr val="black">
                  <a:tint val="75000"/>
                </a:prstClr>
              </a:solidFill>
              <a:ea typeface="+mn-ea"/>
            </a:endParaRPr>
          </a:p>
        </p:txBody>
      </p:sp>
      <p:sp>
        <p:nvSpPr>
          <p:cNvPr id="14" name="Rectangle 13"/>
          <p:cNvSpPr/>
          <p:nvPr/>
        </p:nvSpPr>
        <p:spPr bwMode="gray">
          <a:xfrm>
            <a:off x="-1025574" y="0"/>
            <a:ext cx="972616" cy="432048"/>
          </a:xfrm>
          <a:prstGeom prst="rect">
            <a:avLst/>
          </a:prstGeom>
          <a:solidFill>
            <a:srgbClr val="0000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srgbClr val="FFFFFF"/>
                </a:solidFill>
                <a:latin typeface="Arial" pitchFamily="34" charset="0"/>
              </a:rPr>
              <a:t>0</a:t>
            </a:r>
          </a:p>
          <a:p>
            <a:pPr algn="r" fontAlgn="auto">
              <a:lnSpc>
                <a:spcPts val="1100"/>
              </a:lnSpc>
              <a:spcBef>
                <a:spcPts val="0"/>
              </a:spcBef>
              <a:spcAft>
                <a:spcPts val="0"/>
              </a:spcAft>
            </a:pPr>
            <a:r>
              <a:rPr lang="de-DE" sz="1100" dirty="0">
                <a:solidFill>
                  <a:srgbClr val="FFFFFF"/>
                </a:solidFill>
                <a:latin typeface="Arial" pitchFamily="34" charset="0"/>
              </a:rPr>
              <a:t>0</a:t>
            </a:r>
          </a:p>
          <a:p>
            <a:pPr algn="r" fontAlgn="auto">
              <a:lnSpc>
                <a:spcPts val="1100"/>
              </a:lnSpc>
              <a:spcBef>
                <a:spcPts val="0"/>
              </a:spcBef>
              <a:spcAft>
                <a:spcPts val="0"/>
              </a:spcAft>
            </a:pPr>
            <a:r>
              <a:rPr lang="de-DE" sz="1100" dirty="0">
                <a:solidFill>
                  <a:srgbClr val="FFFFFF"/>
                </a:solidFill>
                <a:latin typeface="Arial" pitchFamily="34" charset="0"/>
              </a:rPr>
              <a:t>153</a:t>
            </a:r>
            <a:endParaRPr lang="en-GB" sz="1100" dirty="0">
              <a:solidFill>
                <a:srgbClr val="FFFFFF"/>
              </a:solidFill>
              <a:latin typeface="Arial" pitchFamily="34" charset="0"/>
            </a:endParaRPr>
          </a:p>
        </p:txBody>
      </p:sp>
      <p:sp>
        <p:nvSpPr>
          <p:cNvPr id="15" name="Rectangle 14"/>
          <p:cNvSpPr/>
          <p:nvPr/>
        </p:nvSpPr>
        <p:spPr bwMode="gray">
          <a:xfrm>
            <a:off x="-1025574" y="458997"/>
            <a:ext cx="972616"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srgbClr val="FFFFFF"/>
                </a:solidFill>
                <a:latin typeface="Arial" pitchFamily="34" charset="0"/>
              </a:rPr>
              <a:t>0</a:t>
            </a:r>
          </a:p>
          <a:p>
            <a:pPr algn="r" fontAlgn="auto">
              <a:lnSpc>
                <a:spcPts val="1100"/>
              </a:lnSpc>
              <a:spcBef>
                <a:spcPts val="0"/>
              </a:spcBef>
              <a:spcAft>
                <a:spcPts val="0"/>
              </a:spcAft>
            </a:pPr>
            <a:r>
              <a:rPr lang="de-DE" sz="1100" dirty="0">
                <a:solidFill>
                  <a:srgbClr val="FFFFFF"/>
                </a:solidFill>
                <a:latin typeface="Arial" pitchFamily="34" charset="0"/>
              </a:rPr>
              <a:t>153</a:t>
            </a:r>
          </a:p>
          <a:p>
            <a:pPr algn="r" fontAlgn="auto">
              <a:lnSpc>
                <a:spcPts val="1100"/>
              </a:lnSpc>
              <a:spcBef>
                <a:spcPts val="0"/>
              </a:spcBef>
              <a:spcAft>
                <a:spcPts val="0"/>
              </a:spcAft>
            </a:pPr>
            <a:r>
              <a:rPr lang="de-DE" sz="1100" dirty="0">
                <a:solidFill>
                  <a:srgbClr val="FFFFFF"/>
                </a:solidFill>
                <a:latin typeface="Arial" pitchFamily="34" charset="0"/>
              </a:rPr>
              <a:t>255</a:t>
            </a:r>
            <a:endParaRPr lang="en-GB" sz="1100" dirty="0">
              <a:solidFill>
                <a:srgbClr val="FFFFFF"/>
              </a:solidFill>
              <a:latin typeface="Arial" pitchFamily="34" charset="0"/>
            </a:endParaRPr>
          </a:p>
        </p:txBody>
      </p:sp>
      <p:sp>
        <p:nvSpPr>
          <p:cNvPr id="16" name="Rectangle 15"/>
          <p:cNvSpPr/>
          <p:nvPr/>
        </p:nvSpPr>
        <p:spPr bwMode="gray">
          <a:xfrm>
            <a:off x="-1025574" y="917994"/>
            <a:ext cx="972616"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srgbClr val="FFFFFF"/>
                </a:solidFill>
                <a:latin typeface="Arial" pitchFamily="34" charset="0"/>
              </a:rPr>
              <a:t>95</a:t>
            </a:r>
          </a:p>
          <a:p>
            <a:pPr algn="r" fontAlgn="auto">
              <a:lnSpc>
                <a:spcPts val="1100"/>
              </a:lnSpc>
              <a:spcBef>
                <a:spcPts val="0"/>
              </a:spcBef>
              <a:spcAft>
                <a:spcPts val="0"/>
              </a:spcAft>
            </a:pPr>
            <a:r>
              <a:rPr lang="de-DE" sz="1100" dirty="0">
                <a:solidFill>
                  <a:srgbClr val="FFFFFF"/>
                </a:solidFill>
                <a:latin typeface="Arial" pitchFamily="34" charset="0"/>
              </a:rPr>
              <a:t>190</a:t>
            </a:r>
          </a:p>
          <a:p>
            <a:pPr algn="r" fontAlgn="auto">
              <a:lnSpc>
                <a:spcPts val="1100"/>
              </a:lnSpc>
              <a:spcBef>
                <a:spcPts val="0"/>
              </a:spcBef>
              <a:spcAft>
                <a:spcPts val="0"/>
              </a:spcAft>
            </a:pPr>
            <a:r>
              <a:rPr lang="de-DE" sz="1100" dirty="0">
                <a:solidFill>
                  <a:srgbClr val="FFFFFF"/>
                </a:solidFill>
                <a:latin typeface="Arial" pitchFamily="34" charset="0"/>
              </a:rPr>
              <a:t>255</a:t>
            </a:r>
            <a:endParaRPr lang="en-GB" sz="1100" dirty="0">
              <a:solidFill>
                <a:srgbClr val="FFFFFF"/>
              </a:solidFill>
              <a:latin typeface="Arial" pitchFamily="34" charset="0"/>
            </a:endParaRPr>
          </a:p>
        </p:txBody>
      </p:sp>
      <p:sp>
        <p:nvSpPr>
          <p:cNvPr id="17" name="Rectangle 16"/>
          <p:cNvSpPr/>
          <p:nvPr/>
        </p:nvSpPr>
        <p:spPr bwMode="gray">
          <a:xfrm>
            <a:off x="-1025574" y="1376991"/>
            <a:ext cx="972616" cy="432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prstClr val="black"/>
                </a:solidFill>
                <a:latin typeface="Arial" pitchFamily="34" charset="0"/>
              </a:rPr>
              <a:t>140</a:t>
            </a:r>
          </a:p>
          <a:p>
            <a:pPr algn="r" fontAlgn="auto">
              <a:lnSpc>
                <a:spcPts val="1100"/>
              </a:lnSpc>
              <a:spcBef>
                <a:spcPts val="0"/>
              </a:spcBef>
              <a:spcAft>
                <a:spcPts val="0"/>
              </a:spcAft>
            </a:pPr>
            <a:r>
              <a:rPr lang="de-DE" sz="1100" dirty="0">
                <a:solidFill>
                  <a:prstClr val="black"/>
                </a:solidFill>
                <a:latin typeface="Arial" pitchFamily="34" charset="0"/>
              </a:rPr>
              <a:t>210</a:t>
            </a:r>
          </a:p>
          <a:p>
            <a:pPr algn="r" fontAlgn="auto">
              <a:lnSpc>
                <a:spcPts val="1100"/>
              </a:lnSpc>
              <a:spcBef>
                <a:spcPts val="0"/>
              </a:spcBef>
              <a:spcAft>
                <a:spcPts val="0"/>
              </a:spcAft>
            </a:pPr>
            <a:r>
              <a:rPr lang="de-DE" sz="1100" dirty="0">
                <a:solidFill>
                  <a:prstClr val="black"/>
                </a:solidFill>
                <a:latin typeface="Arial" pitchFamily="34" charset="0"/>
              </a:rPr>
              <a:t>255</a:t>
            </a:r>
            <a:endParaRPr lang="en-GB" sz="1100" dirty="0">
              <a:solidFill>
                <a:prstClr val="black"/>
              </a:solidFill>
              <a:latin typeface="Arial" pitchFamily="34" charset="0"/>
            </a:endParaRPr>
          </a:p>
        </p:txBody>
      </p:sp>
      <p:sp>
        <p:nvSpPr>
          <p:cNvPr id="18" name="Rectangle 17"/>
          <p:cNvSpPr/>
          <p:nvPr/>
        </p:nvSpPr>
        <p:spPr bwMode="gray">
          <a:xfrm>
            <a:off x="-1025574" y="1835988"/>
            <a:ext cx="972616" cy="432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prstClr val="black"/>
                </a:solidFill>
                <a:latin typeface="Arial" pitchFamily="34" charset="0"/>
              </a:rPr>
              <a:t>180</a:t>
            </a:r>
          </a:p>
          <a:p>
            <a:pPr algn="r" fontAlgn="auto">
              <a:lnSpc>
                <a:spcPts val="1100"/>
              </a:lnSpc>
              <a:spcBef>
                <a:spcPts val="0"/>
              </a:spcBef>
              <a:spcAft>
                <a:spcPts val="0"/>
              </a:spcAft>
            </a:pPr>
            <a:r>
              <a:rPr lang="de-DE" sz="1100" dirty="0">
                <a:solidFill>
                  <a:prstClr val="black"/>
                </a:solidFill>
                <a:latin typeface="Arial" pitchFamily="34" charset="0"/>
              </a:rPr>
              <a:t>225</a:t>
            </a:r>
          </a:p>
          <a:p>
            <a:pPr algn="r" fontAlgn="auto">
              <a:lnSpc>
                <a:spcPts val="1100"/>
              </a:lnSpc>
              <a:spcBef>
                <a:spcPts val="0"/>
              </a:spcBef>
              <a:spcAft>
                <a:spcPts val="0"/>
              </a:spcAft>
            </a:pPr>
            <a:r>
              <a:rPr lang="de-DE" sz="1100" dirty="0">
                <a:solidFill>
                  <a:prstClr val="black"/>
                </a:solidFill>
                <a:latin typeface="Arial" pitchFamily="34" charset="0"/>
              </a:rPr>
              <a:t>255</a:t>
            </a:r>
            <a:endParaRPr lang="en-GB" sz="1100" dirty="0">
              <a:solidFill>
                <a:prstClr val="black"/>
              </a:solidFill>
              <a:latin typeface="Arial" pitchFamily="34" charset="0"/>
            </a:endParaRPr>
          </a:p>
        </p:txBody>
      </p:sp>
      <p:sp>
        <p:nvSpPr>
          <p:cNvPr id="19" name="Rectangle 18"/>
          <p:cNvSpPr/>
          <p:nvPr/>
        </p:nvSpPr>
        <p:spPr bwMode="gray">
          <a:xfrm>
            <a:off x="-1025574" y="2294985"/>
            <a:ext cx="972616" cy="432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prstClr val="black"/>
                </a:solidFill>
                <a:latin typeface="Arial" pitchFamily="34" charset="0"/>
              </a:rPr>
              <a:t>220</a:t>
            </a:r>
          </a:p>
          <a:p>
            <a:pPr algn="r" fontAlgn="auto">
              <a:lnSpc>
                <a:spcPts val="1100"/>
              </a:lnSpc>
              <a:spcBef>
                <a:spcPts val="0"/>
              </a:spcBef>
              <a:spcAft>
                <a:spcPts val="0"/>
              </a:spcAft>
            </a:pPr>
            <a:r>
              <a:rPr lang="de-DE" sz="1100" dirty="0">
                <a:solidFill>
                  <a:prstClr val="black"/>
                </a:solidFill>
                <a:latin typeface="Arial" pitchFamily="34" charset="0"/>
              </a:rPr>
              <a:t>240</a:t>
            </a:r>
          </a:p>
          <a:p>
            <a:pPr algn="r" fontAlgn="auto">
              <a:lnSpc>
                <a:spcPts val="1100"/>
              </a:lnSpc>
              <a:spcBef>
                <a:spcPts val="0"/>
              </a:spcBef>
              <a:spcAft>
                <a:spcPts val="0"/>
              </a:spcAft>
            </a:pPr>
            <a:r>
              <a:rPr lang="de-DE" sz="1100" dirty="0">
                <a:solidFill>
                  <a:prstClr val="black"/>
                </a:solidFill>
                <a:latin typeface="Arial" pitchFamily="34" charset="0"/>
              </a:rPr>
              <a:t>255</a:t>
            </a:r>
            <a:endParaRPr lang="en-GB" sz="1100" dirty="0">
              <a:solidFill>
                <a:prstClr val="black"/>
              </a:solidFill>
              <a:latin typeface="Arial" pitchFamily="34" charset="0"/>
            </a:endParaRPr>
          </a:p>
        </p:txBody>
      </p:sp>
      <p:sp>
        <p:nvSpPr>
          <p:cNvPr id="20" name="Rectangle 19"/>
          <p:cNvSpPr/>
          <p:nvPr/>
        </p:nvSpPr>
        <p:spPr bwMode="gray">
          <a:xfrm>
            <a:off x="-1025574" y="2753982"/>
            <a:ext cx="972616" cy="432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prstClr val="black"/>
                </a:solidFill>
                <a:latin typeface="Arial" pitchFamily="34" charset="0"/>
              </a:rPr>
              <a:t>222</a:t>
            </a:r>
          </a:p>
          <a:p>
            <a:pPr algn="r" fontAlgn="auto">
              <a:lnSpc>
                <a:spcPts val="1100"/>
              </a:lnSpc>
              <a:spcBef>
                <a:spcPts val="0"/>
              </a:spcBef>
              <a:spcAft>
                <a:spcPts val="0"/>
              </a:spcAft>
            </a:pPr>
            <a:r>
              <a:rPr lang="de-DE" sz="1100" dirty="0">
                <a:solidFill>
                  <a:prstClr val="black"/>
                </a:solidFill>
                <a:latin typeface="Arial" pitchFamily="34" charset="0"/>
              </a:rPr>
              <a:t>222</a:t>
            </a:r>
          </a:p>
          <a:p>
            <a:pPr algn="r" fontAlgn="auto">
              <a:lnSpc>
                <a:spcPts val="1100"/>
              </a:lnSpc>
              <a:spcBef>
                <a:spcPts val="0"/>
              </a:spcBef>
              <a:spcAft>
                <a:spcPts val="0"/>
              </a:spcAft>
            </a:pPr>
            <a:r>
              <a:rPr lang="de-DE" sz="1100" dirty="0">
                <a:solidFill>
                  <a:prstClr val="black"/>
                </a:solidFill>
                <a:latin typeface="Arial" pitchFamily="34" charset="0"/>
              </a:rPr>
              <a:t>222</a:t>
            </a:r>
            <a:endParaRPr lang="en-GB" sz="1100" dirty="0">
              <a:solidFill>
                <a:prstClr val="black"/>
              </a:solidFill>
              <a:latin typeface="Arial" pitchFamily="34" charset="0"/>
            </a:endParaRPr>
          </a:p>
        </p:txBody>
      </p:sp>
      <p:sp>
        <p:nvSpPr>
          <p:cNvPr id="21" name="Rectangle 20"/>
          <p:cNvSpPr/>
          <p:nvPr/>
        </p:nvSpPr>
        <p:spPr bwMode="gray">
          <a:xfrm>
            <a:off x="-1025574" y="3212979"/>
            <a:ext cx="972616" cy="4320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prstClr val="black"/>
                </a:solidFill>
                <a:latin typeface="Arial" pitchFamily="34" charset="0"/>
              </a:rPr>
              <a:t>204</a:t>
            </a:r>
          </a:p>
          <a:p>
            <a:pPr algn="r" fontAlgn="auto">
              <a:lnSpc>
                <a:spcPts val="1100"/>
              </a:lnSpc>
              <a:spcBef>
                <a:spcPts val="0"/>
              </a:spcBef>
              <a:spcAft>
                <a:spcPts val="0"/>
              </a:spcAft>
            </a:pPr>
            <a:r>
              <a:rPr lang="de-DE" sz="1100" dirty="0">
                <a:solidFill>
                  <a:prstClr val="black"/>
                </a:solidFill>
                <a:latin typeface="Arial" pitchFamily="34" charset="0"/>
              </a:rPr>
              <a:t>204</a:t>
            </a:r>
          </a:p>
          <a:p>
            <a:pPr algn="r" fontAlgn="auto">
              <a:lnSpc>
                <a:spcPts val="1100"/>
              </a:lnSpc>
              <a:spcBef>
                <a:spcPts val="0"/>
              </a:spcBef>
              <a:spcAft>
                <a:spcPts val="0"/>
              </a:spcAft>
            </a:pPr>
            <a:r>
              <a:rPr lang="de-DE" sz="1100" dirty="0">
                <a:solidFill>
                  <a:prstClr val="black"/>
                </a:solidFill>
                <a:latin typeface="Arial" pitchFamily="34" charset="0"/>
              </a:rPr>
              <a:t>204</a:t>
            </a:r>
            <a:endParaRPr lang="en-GB" sz="1100" dirty="0">
              <a:solidFill>
                <a:prstClr val="black"/>
              </a:solidFill>
              <a:latin typeface="Arial" pitchFamily="34" charset="0"/>
            </a:endParaRPr>
          </a:p>
        </p:txBody>
      </p:sp>
      <p:sp>
        <p:nvSpPr>
          <p:cNvPr id="22" name="Rectangle 21"/>
          <p:cNvSpPr/>
          <p:nvPr/>
        </p:nvSpPr>
        <p:spPr bwMode="gray">
          <a:xfrm>
            <a:off x="-1025574" y="3671976"/>
            <a:ext cx="972616" cy="432048"/>
          </a:xfrm>
          <a:prstGeom prst="rect">
            <a:avLst/>
          </a:prstGeom>
          <a:solidFill>
            <a:srgbClr val="99999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srgbClr val="FFFFFF"/>
                </a:solidFill>
                <a:latin typeface="Arial" pitchFamily="34" charset="0"/>
              </a:rPr>
              <a:t>153</a:t>
            </a:r>
          </a:p>
          <a:p>
            <a:pPr algn="r" fontAlgn="auto">
              <a:lnSpc>
                <a:spcPts val="1100"/>
              </a:lnSpc>
              <a:spcBef>
                <a:spcPts val="0"/>
              </a:spcBef>
              <a:spcAft>
                <a:spcPts val="0"/>
              </a:spcAft>
            </a:pPr>
            <a:r>
              <a:rPr lang="de-DE" sz="1100" dirty="0">
                <a:solidFill>
                  <a:srgbClr val="FFFFFF"/>
                </a:solidFill>
                <a:latin typeface="Arial" pitchFamily="34" charset="0"/>
              </a:rPr>
              <a:t>153</a:t>
            </a:r>
          </a:p>
          <a:p>
            <a:pPr algn="r" fontAlgn="auto">
              <a:lnSpc>
                <a:spcPts val="1100"/>
              </a:lnSpc>
              <a:spcBef>
                <a:spcPts val="0"/>
              </a:spcBef>
              <a:spcAft>
                <a:spcPts val="0"/>
              </a:spcAft>
            </a:pPr>
            <a:r>
              <a:rPr lang="de-DE" sz="1100" dirty="0">
                <a:solidFill>
                  <a:srgbClr val="FFFFFF"/>
                </a:solidFill>
                <a:latin typeface="Arial" pitchFamily="34" charset="0"/>
              </a:rPr>
              <a:t>153</a:t>
            </a:r>
            <a:endParaRPr lang="en-GB" sz="1100" dirty="0">
              <a:solidFill>
                <a:srgbClr val="FFFFFF"/>
              </a:solidFill>
              <a:latin typeface="Arial" pitchFamily="34" charset="0"/>
            </a:endParaRPr>
          </a:p>
        </p:txBody>
      </p:sp>
      <p:sp>
        <p:nvSpPr>
          <p:cNvPr id="23" name="Rectangle 22"/>
          <p:cNvSpPr/>
          <p:nvPr/>
        </p:nvSpPr>
        <p:spPr bwMode="gray">
          <a:xfrm>
            <a:off x="-1025574" y="4130973"/>
            <a:ext cx="972616" cy="432048"/>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srgbClr val="FFFFFF"/>
                </a:solidFill>
                <a:latin typeface="Arial" pitchFamily="34" charset="0"/>
              </a:rPr>
              <a:t>102</a:t>
            </a:r>
          </a:p>
          <a:p>
            <a:pPr algn="r" fontAlgn="auto">
              <a:lnSpc>
                <a:spcPts val="1100"/>
              </a:lnSpc>
              <a:spcBef>
                <a:spcPts val="0"/>
              </a:spcBef>
              <a:spcAft>
                <a:spcPts val="0"/>
              </a:spcAft>
            </a:pPr>
            <a:r>
              <a:rPr lang="de-DE" sz="1100" dirty="0">
                <a:solidFill>
                  <a:srgbClr val="FFFFFF"/>
                </a:solidFill>
                <a:latin typeface="Arial" pitchFamily="34" charset="0"/>
              </a:rPr>
              <a:t>102</a:t>
            </a:r>
          </a:p>
          <a:p>
            <a:pPr algn="r" fontAlgn="auto">
              <a:lnSpc>
                <a:spcPts val="1100"/>
              </a:lnSpc>
              <a:spcBef>
                <a:spcPts val="0"/>
              </a:spcBef>
              <a:spcAft>
                <a:spcPts val="0"/>
              </a:spcAft>
            </a:pPr>
            <a:r>
              <a:rPr lang="de-DE" sz="1100" dirty="0">
                <a:solidFill>
                  <a:srgbClr val="FFFFFF"/>
                </a:solidFill>
                <a:latin typeface="Arial" pitchFamily="34" charset="0"/>
              </a:rPr>
              <a:t>102</a:t>
            </a:r>
            <a:endParaRPr lang="en-GB" sz="1100" dirty="0">
              <a:solidFill>
                <a:srgbClr val="FFFFFF"/>
              </a:solidFill>
              <a:latin typeface="Arial" pitchFamily="34" charset="0"/>
            </a:endParaRPr>
          </a:p>
        </p:txBody>
      </p:sp>
      <p:sp>
        <p:nvSpPr>
          <p:cNvPr id="24" name="Rectangle 23"/>
          <p:cNvSpPr/>
          <p:nvPr/>
        </p:nvSpPr>
        <p:spPr bwMode="gray">
          <a:xfrm>
            <a:off x="-1025574" y="4589970"/>
            <a:ext cx="972616" cy="432048"/>
          </a:xfrm>
          <a:prstGeom prst="rect">
            <a:avLst/>
          </a:prstGeom>
          <a:solidFill>
            <a:srgbClr val="6ED7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prstClr val="black"/>
                </a:solidFill>
                <a:latin typeface="Arial" pitchFamily="34" charset="0"/>
              </a:rPr>
              <a:t>110</a:t>
            </a:r>
          </a:p>
          <a:p>
            <a:pPr algn="r" fontAlgn="auto">
              <a:lnSpc>
                <a:spcPts val="1100"/>
              </a:lnSpc>
              <a:spcBef>
                <a:spcPts val="0"/>
              </a:spcBef>
              <a:spcAft>
                <a:spcPts val="0"/>
              </a:spcAft>
            </a:pPr>
            <a:r>
              <a:rPr lang="de-DE" sz="1100" dirty="0">
                <a:solidFill>
                  <a:prstClr val="black"/>
                </a:solidFill>
                <a:latin typeface="Arial" pitchFamily="34" charset="0"/>
              </a:rPr>
              <a:t>215</a:t>
            </a:r>
          </a:p>
          <a:p>
            <a:pPr algn="r" fontAlgn="auto">
              <a:lnSpc>
                <a:spcPts val="1100"/>
              </a:lnSpc>
              <a:spcBef>
                <a:spcPts val="0"/>
              </a:spcBef>
              <a:spcAft>
                <a:spcPts val="0"/>
              </a:spcAft>
            </a:pPr>
            <a:r>
              <a:rPr lang="de-DE" sz="1100" dirty="0">
                <a:solidFill>
                  <a:prstClr val="black"/>
                </a:solidFill>
                <a:latin typeface="Arial" pitchFamily="34" charset="0"/>
              </a:rPr>
              <a:t>0</a:t>
            </a:r>
            <a:endParaRPr lang="en-GB" sz="1100" dirty="0">
              <a:solidFill>
                <a:prstClr val="black"/>
              </a:solidFill>
              <a:latin typeface="Arial" pitchFamily="34" charset="0"/>
            </a:endParaRPr>
          </a:p>
        </p:txBody>
      </p:sp>
      <p:sp>
        <p:nvSpPr>
          <p:cNvPr id="25" name="Rectangle 24"/>
          <p:cNvSpPr/>
          <p:nvPr/>
        </p:nvSpPr>
        <p:spPr bwMode="gray">
          <a:xfrm>
            <a:off x="-1025574" y="5048967"/>
            <a:ext cx="972616" cy="432048"/>
          </a:xfrm>
          <a:prstGeom prst="rect">
            <a:avLst/>
          </a:prstGeom>
          <a:solidFill>
            <a:srgbClr val="A5E6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prstClr val="black"/>
                </a:solidFill>
                <a:latin typeface="Arial" pitchFamily="34" charset="0"/>
              </a:rPr>
              <a:t>165</a:t>
            </a:r>
          </a:p>
          <a:p>
            <a:pPr algn="r" fontAlgn="auto">
              <a:lnSpc>
                <a:spcPts val="1100"/>
              </a:lnSpc>
              <a:spcBef>
                <a:spcPts val="0"/>
              </a:spcBef>
              <a:spcAft>
                <a:spcPts val="0"/>
              </a:spcAft>
            </a:pPr>
            <a:r>
              <a:rPr lang="de-DE" sz="1100" dirty="0">
                <a:solidFill>
                  <a:prstClr val="black"/>
                </a:solidFill>
                <a:latin typeface="Arial" pitchFamily="34" charset="0"/>
              </a:rPr>
              <a:t>230</a:t>
            </a:r>
          </a:p>
          <a:p>
            <a:pPr algn="r" fontAlgn="auto">
              <a:lnSpc>
                <a:spcPts val="1100"/>
              </a:lnSpc>
              <a:spcBef>
                <a:spcPts val="0"/>
              </a:spcBef>
              <a:spcAft>
                <a:spcPts val="0"/>
              </a:spcAft>
            </a:pPr>
            <a:r>
              <a:rPr lang="de-DE" sz="1100" dirty="0">
                <a:solidFill>
                  <a:prstClr val="black"/>
                </a:solidFill>
                <a:latin typeface="Arial" pitchFamily="34" charset="0"/>
              </a:rPr>
              <a:t>0</a:t>
            </a:r>
            <a:endParaRPr lang="en-GB" sz="1100" dirty="0">
              <a:solidFill>
                <a:prstClr val="black"/>
              </a:solidFill>
              <a:latin typeface="Arial" pitchFamily="34" charset="0"/>
            </a:endParaRPr>
          </a:p>
        </p:txBody>
      </p:sp>
      <p:sp>
        <p:nvSpPr>
          <p:cNvPr id="26" name="Rectangle 25"/>
          <p:cNvSpPr/>
          <p:nvPr/>
        </p:nvSpPr>
        <p:spPr bwMode="gray">
          <a:xfrm>
            <a:off x="-1025574" y="5507964"/>
            <a:ext cx="972616" cy="432048"/>
          </a:xfrm>
          <a:prstGeom prst="rect">
            <a:avLst/>
          </a:prstGeom>
          <a:solidFill>
            <a:srgbClr val="FFE1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prstClr val="black"/>
                </a:solidFill>
                <a:latin typeface="Arial" pitchFamily="34" charset="0"/>
              </a:rPr>
              <a:t>255</a:t>
            </a:r>
          </a:p>
          <a:p>
            <a:pPr algn="r" fontAlgn="auto">
              <a:lnSpc>
                <a:spcPts val="1100"/>
              </a:lnSpc>
              <a:spcBef>
                <a:spcPts val="0"/>
              </a:spcBef>
              <a:spcAft>
                <a:spcPts val="0"/>
              </a:spcAft>
            </a:pPr>
            <a:r>
              <a:rPr lang="de-DE" sz="1100" dirty="0">
                <a:solidFill>
                  <a:prstClr val="black"/>
                </a:solidFill>
                <a:latin typeface="Arial" pitchFamily="34" charset="0"/>
              </a:rPr>
              <a:t>225</a:t>
            </a:r>
          </a:p>
          <a:p>
            <a:pPr algn="r" fontAlgn="auto">
              <a:lnSpc>
                <a:spcPts val="1100"/>
              </a:lnSpc>
              <a:spcBef>
                <a:spcPts val="0"/>
              </a:spcBef>
              <a:spcAft>
                <a:spcPts val="0"/>
              </a:spcAft>
            </a:pPr>
            <a:r>
              <a:rPr lang="de-DE" sz="1100" dirty="0">
                <a:solidFill>
                  <a:prstClr val="black"/>
                </a:solidFill>
                <a:latin typeface="Arial" pitchFamily="34" charset="0"/>
              </a:rPr>
              <a:t>0</a:t>
            </a:r>
          </a:p>
        </p:txBody>
      </p:sp>
      <p:sp>
        <p:nvSpPr>
          <p:cNvPr id="27" name="Rectangle 26"/>
          <p:cNvSpPr/>
          <p:nvPr/>
        </p:nvSpPr>
        <p:spPr bwMode="gray">
          <a:xfrm>
            <a:off x="-1025574" y="5966961"/>
            <a:ext cx="972616" cy="432048"/>
          </a:xfrm>
          <a:prstGeom prst="rect">
            <a:avLst/>
          </a:prstGeom>
          <a:solidFill>
            <a:srgbClr val="FF7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srgbClr val="FFFFFF"/>
                </a:solidFill>
                <a:latin typeface="Arial" pitchFamily="34" charset="0"/>
              </a:rPr>
              <a:t>255</a:t>
            </a:r>
          </a:p>
          <a:p>
            <a:pPr algn="r" fontAlgn="auto">
              <a:lnSpc>
                <a:spcPts val="1100"/>
              </a:lnSpc>
              <a:spcBef>
                <a:spcPts val="0"/>
              </a:spcBef>
              <a:spcAft>
                <a:spcPts val="0"/>
              </a:spcAft>
            </a:pPr>
            <a:r>
              <a:rPr lang="de-DE" sz="1100" dirty="0">
                <a:solidFill>
                  <a:srgbClr val="FFFFFF"/>
                </a:solidFill>
                <a:latin typeface="Arial" pitchFamily="34" charset="0"/>
              </a:rPr>
              <a:t>115</a:t>
            </a:r>
          </a:p>
          <a:p>
            <a:pPr algn="r" fontAlgn="auto">
              <a:lnSpc>
                <a:spcPts val="1100"/>
              </a:lnSpc>
              <a:spcBef>
                <a:spcPts val="0"/>
              </a:spcBef>
              <a:spcAft>
                <a:spcPts val="0"/>
              </a:spcAft>
            </a:pPr>
            <a:r>
              <a:rPr lang="de-DE" sz="1100" dirty="0">
                <a:solidFill>
                  <a:srgbClr val="FFFFFF"/>
                </a:solidFill>
                <a:latin typeface="Arial" pitchFamily="34" charset="0"/>
              </a:rPr>
              <a:t>0</a:t>
            </a:r>
            <a:endParaRPr lang="en-GB" sz="1100" dirty="0">
              <a:solidFill>
                <a:srgbClr val="FFFFFF"/>
              </a:solidFill>
              <a:latin typeface="Arial" pitchFamily="34" charset="0"/>
            </a:endParaRPr>
          </a:p>
        </p:txBody>
      </p:sp>
      <p:sp>
        <p:nvSpPr>
          <p:cNvPr id="28" name="Rectangle 27"/>
          <p:cNvSpPr/>
          <p:nvPr/>
        </p:nvSpPr>
        <p:spPr bwMode="gray">
          <a:xfrm>
            <a:off x="-1025574" y="6425952"/>
            <a:ext cx="972616" cy="432048"/>
          </a:xfrm>
          <a:prstGeom prst="rect">
            <a:avLst/>
          </a:prstGeom>
          <a:solidFill>
            <a:srgbClr val="F0333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algn="r" fontAlgn="auto">
              <a:lnSpc>
                <a:spcPts val="1100"/>
              </a:lnSpc>
              <a:spcBef>
                <a:spcPts val="0"/>
              </a:spcBef>
              <a:spcAft>
                <a:spcPts val="0"/>
              </a:spcAft>
            </a:pPr>
            <a:r>
              <a:rPr lang="de-DE" sz="1100" dirty="0">
                <a:solidFill>
                  <a:srgbClr val="FFFFFF"/>
                </a:solidFill>
                <a:latin typeface="Arial" pitchFamily="34" charset="0"/>
              </a:rPr>
              <a:t>240</a:t>
            </a:r>
          </a:p>
          <a:p>
            <a:pPr algn="r" fontAlgn="auto">
              <a:lnSpc>
                <a:spcPts val="1100"/>
              </a:lnSpc>
              <a:spcBef>
                <a:spcPts val="0"/>
              </a:spcBef>
              <a:spcAft>
                <a:spcPts val="0"/>
              </a:spcAft>
            </a:pPr>
            <a:r>
              <a:rPr lang="de-DE" sz="1100" dirty="0">
                <a:solidFill>
                  <a:srgbClr val="FFFFFF"/>
                </a:solidFill>
                <a:latin typeface="Arial" pitchFamily="34" charset="0"/>
              </a:rPr>
              <a:t>51</a:t>
            </a:r>
          </a:p>
          <a:p>
            <a:pPr algn="r" fontAlgn="auto">
              <a:lnSpc>
                <a:spcPts val="1100"/>
              </a:lnSpc>
              <a:spcBef>
                <a:spcPts val="0"/>
              </a:spcBef>
              <a:spcAft>
                <a:spcPts val="0"/>
              </a:spcAft>
            </a:pPr>
            <a:r>
              <a:rPr lang="de-DE" sz="1100" dirty="0">
                <a:solidFill>
                  <a:srgbClr val="FFFFFF"/>
                </a:solidFill>
                <a:latin typeface="Arial" pitchFamily="34" charset="0"/>
              </a:rPr>
              <a:t>51</a:t>
            </a:r>
            <a:endParaRPr lang="en-GB" sz="1100" dirty="0">
              <a:solidFill>
                <a:srgbClr val="FFFFFF"/>
              </a:solidFill>
              <a:latin typeface="Arial" pitchFamily="34" charset="0"/>
            </a:endParaRPr>
          </a:p>
        </p:txBody>
      </p:sp>
    </p:spTree>
    <p:extLst>
      <p:ext uri="{BB962C8B-B14F-4D97-AF65-F5344CB8AC3E}">
        <p14:creationId xmlns:p14="http://schemas.microsoft.com/office/powerpoint/2010/main" val="244350471"/>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Lst>
  <p:hf hdr="0" ftr="0" dt="0"/>
  <p:txStyles>
    <p:titleStyle>
      <a:lvl1pPr algn="l" defTabSz="914400" rtl="0" eaLnBrk="1" latinLnBrk="0" hangingPunct="1">
        <a:spcBef>
          <a:spcPct val="0"/>
        </a:spcBef>
        <a:buNone/>
        <a:defRPr sz="2400" kern="1200">
          <a:solidFill>
            <a:schemeClr val="tx2"/>
          </a:solidFill>
          <a:latin typeface="Arial" pitchFamily="34" charset="0"/>
          <a:ea typeface="+mj-ea"/>
          <a:cs typeface="+mj-cs"/>
        </a:defRPr>
      </a:lvl1pPr>
    </p:titleStyle>
    <p:bodyStyle>
      <a:lvl1pPr marL="0" indent="0" algn="l" defTabSz="914400" rtl="0" eaLnBrk="1" latinLnBrk="0" hangingPunct="1">
        <a:spcBef>
          <a:spcPts val="0"/>
        </a:spcBef>
        <a:spcAft>
          <a:spcPts val="600"/>
        </a:spcAft>
        <a:buFont typeface="Arial" pitchFamily="34" charset="0"/>
        <a:buNone/>
        <a:defRPr sz="1600" kern="1200">
          <a:solidFill>
            <a:schemeClr val="tx1"/>
          </a:solidFill>
          <a:latin typeface="Arial" pitchFamily="34" charset="0"/>
          <a:ea typeface="+mn-ea"/>
          <a:cs typeface="+mn-cs"/>
        </a:defRPr>
      </a:lvl1pPr>
      <a:lvl2pPr marL="180000" indent="-180000" algn="l" defTabSz="914400" rtl="0" eaLnBrk="1" latinLnBrk="0" hangingPunct="1">
        <a:spcBef>
          <a:spcPts val="0"/>
        </a:spcBef>
        <a:spcAft>
          <a:spcPts val="600"/>
        </a:spcAft>
        <a:buSzPct val="100000"/>
        <a:buFont typeface="Wingdings" pitchFamily="2" charset="2"/>
        <a:buChar char="§"/>
        <a:defRPr sz="1600" kern="1200">
          <a:solidFill>
            <a:schemeClr val="tx1"/>
          </a:solidFill>
          <a:latin typeface="Arial" pitchFamily="34" charset="0"/>
          <a:ea typeface="+mn-ea"/>
          <a:cs typeface="+mn-cs"/>
        </a:defRPr>
      </a:lvl2pPr>
      <a:lvl3pPr marL="360000" indent="-180000" algn="l" defTabSz="914400" rtl="0" eaLnBrk="1" latinLnBrk="0" hangingPunct="1">
        <a:spcBef>
          <a:spcPts val="0"/>
        </a:spcBef>
        <a:spcAft>
          <a:spcPts val="600"/>
        </a:spcAft>
        <a:buSzPct val="80000"/>
        <a:buFont typeface="Wingdings" pitchFamily="2" charset="2"/>
        <a:buChar char="§"/>
        <a:defRPr sz="1600" kern="1200">
          <a:solidFill>
            <a:schemeClr val="tx1"/>
          </a:solidFill>
          <a:latin typeface="Arial" pitchFamily="34" charset="0"/>
          <a:ea typeface="+mn-ea"/>
          <a:cs typeface="+mn-cs"/>
        </a:defRPr>
      </a:lvl3pPr>
      <a:lvl4pPr marL="540000" indent="-180000" algn="l" defTabSz="914400" rtl="0" eaLnBrk="1" latinLnBrk="0" hangingPunct="1">
        <a:spcBef>
          <a:spcPts val="0"/>
        </a:spcBef>
        <a:spcAft>
          <a:spcPts val="600"/>
        </a:spcAft>
        <a:buFont typeface="Arial" pitchFamily="34" charset="0"/>
        <a:buChar char="–"/>
        <a:defRPr sz="1600" kern="1200">
          <a:solidFill>
            <a:schemeClr val="tx1"/>
          </a:solidFill>
          <a:latin typeface="Arial"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package" Target="../embeddings/Microsoft_Excel_Worksheet1.xlsx"/><Relationship Id="rId47" Type="http://schemas.openxmlformats.org/officeDocument/2006/relationships/image" Target="../media/image23.png"/><Relationship Id="rId50" Type="http://schemas.openxmlformats.org/officeDocument/2006/relationships/image" Target="../media/image26.png"/><Relationship Id="rId55" Type="http://schemas.openxmlformats.org/officeDocument/2006/relationships/image" Target="../media/image31.png"/><Relationship Id="rId63" Type="http://schemas.openxmlformats.org/officeDocument/2006/relationships/image" Target="../media/image39.png"/><Relationship Id="rId68" Type="http://schemas.openxmlformats.org/officeDocument/2006/relationships/image" Target="../media/image44.jpeg"/><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9"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slideLayout" Target="../slideLayouts/slideLayout3.xml"/><Relationship Id="rId45" Type="http://schemas.openxmlformats.org/officeDocument/2006/relationships/image" Target="../media/image21.png"/><Relationship Id="rId53" Type="http://schemas.openxmlformats.org/officeDocument/2006/relationships/image" Target="../media/image29.png"/><Relationship Id="rId58" Type="http://schemas.openxmlformats.org/officeDocument/2006/relationships/image" Target="../media/image34.png"/><Relationship Id="rId66" Type="http://schemas.openxmlformats.org/officeDocument/2006/relationships/image" Target="../media/image42.png"/><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image" Target="../media/image25.jpeg"/><Relationship Id="rId57" Type="http://schemas.openxmlformats.org/officeDocument/2006/relationships/image" Target="../media/image33.jpeg"/><Relationship Id="rId61" Type="http://schemas.openxmlformats.org/officeDocument/2006/relationships/image" Target="../media/image37.png"/><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image" Target="../media/image20.png"/><Relationship Id="rId52" Type="http://schemas.openxmlformats.org/officeDocument/2006/relationships/image" Target="../media/image28.png"/><Relationship Id="rId60" Type="http://schemas.openxmlformats.org/officeDocument/2006/relationships/image" Target="../media/image36.jpeg"/><Relationship Id="rId65" Type="http://schemas.openxmlformats.org/officeDocument/2006/relationships/image" Target="../media/image41.pn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image" Target="../media/image19.wmf"/><Relationship Id="rId48" Type="http://schemas.openxmlformats.org/officeDocument/2006/relationships/image" Target="../media/image24.wmf"/><Relationship Id="rId56" Type="http://schemas.openxmlformats.org/officeDocument/2006/relationships/image" Target="../media/image32.jpeg"/><Relationship Id="rId64" Type="http://schemas.openxmlformats.org/officeDocument/2006/relationships/image" Target="../media/image40.png"/><Relationship Id="rId8" Type="http://schemas.openxmlformats.org/officeDocument/2006/relationships/tags" Target="../tags/tag11.xml"/><Relationship Id="rId51" Type="http://schemas.openxmlformats.org/officeDocument/2006/relationships/image" Target="../media/image27.png"/><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image" Target="../media/image22.png"/><Relationship Id="rId59" Type="http://schemas.openxmlformats.org/officeDocument/2006/relationships/image" Target="../media/image35.jpeg"/><Relationship Id="rId67" Type="http://schemas.openxmlformats.org/officeDocument/2006/relationships/image" Target="../media/image43.png"/><Relationship Id="rId20" Type="http://schemas.openxmlformats.org/officeDocument/2006/relationships/tags" Target="../tags/tag23.xml"/><Relationship Id="rId41" Type="http://schemas.openxmlformats.org/officeDocument/2006/relationships/oleObject" Target="../embeddings/oleObject4.bin"/><Relationship Id="rId54" Type="http://schemas.openxmlformats.org/officeDocument/2006/relationships/image" Target="../media/image30.jpeg"/><Relationship Id="rId62" Type="http://schemas.openxmlformats.org/officeDocument/2006/relationships/image" Target="../media/image3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8.xml"/><Relationship Id="rId16" Type="http://schemas.openxmlformats.org/officeDocument/2006/relationships/diagramColors" Target="../diagrams/colors3.xml"/><Relationship Id="rId1" Type="http://schemas.openxmlformats.org/officeDocument/2006/relationships/slideLayout" Target="../slideLayouts/slideLayout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tags" Target="../tags/tag67.xml"/><Relationship Id="rId39" Type="http://schemas.openxmlformats.org/officeDocument/2006/relationships/tags" Target="../tags/tag80.xml"/><Relationship Id="rId21" Type="http://schemas.openxmlformats.org/officeDocument/2006/relationships/tags" Target="../tags/tag62.xml"/><Relationship Id="rId34" Type="http://schemas.openxmlformats.org/officeDocument/2006/relationships/tags" Target="../tags/tag75.xml"/><Relationship Id="rId42" Type="http://schemas.openxmlformats.org/officeDocument/2006/relationships/tags" Target="../tags/tag83.xml"/><Relationship Id="rId47" Type="http://schemas.openxmlformats.org/officeDocument/2006/relationships/tags" Target="../tags/tag88.xml"/><Relationship Id="rId50" Type="http://schemas.openxmlformats.org/officeDocument/2006/relationships/tags" Target="../tags/tag91.xml"/><Relationship Id="rId55" Type="http://schemas.openxmlformats.org/officeDocument/2006/relationships/tags" Target="../tags/tag96.xml"/><Relationship Id="rId63" Type="http://schemas.openxmlformats.org/officeDocument/2006/relationships/image" Target="../media/image19.wmf"/><Relationship Id="rId68" Type="http://schemas.openxmlformats.org/officeDocument/2006/relationships/image" Target="../media/image25.jpeg"/><Relationship Id="rId76" Type="http://schemas.openxmlformats.org/officeDocument/2006/relationships/image" Target="../media/image36.jpeg"/><Relationship Id="rId7" Type="http://schemas.openxmlformats.org/officeDocument/2006/relationships/tags" Target="../tags/tag48.xml"/><Relationship Id="rId71" Type="http://schemas.openxmlformats.org/officeDocument/2006/relationships/image" Target="../media/image28.png"/><Relationship Id="rId2" Type="http://schemas.openxmlformats.org/officeDocument/2006/relationships/tags" Target="../tags/tag43.xml"/><Relationship Id="rId16" Type="http://schemas.openxmlformats.org/officeDocument/2006/relationships/tags" Target="../tags/tag57.xml"/><Relationship Id="rId29" Type="http://schemas.openxmlformats.org/officeDocument/2006/relationships/tags" Target="../tags/tag70.xml"/><Relationship Id="rId11" Type="http://schemas.openxmlformats.org/officeDocument/2006/relationships/tags" Target="../tags/tag52.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tags" Target="../tags/tag81.xml"/><Relationship Id="rId45" Type="http://schemas.openxmlformats.org/officeDocument/2006/relationships/tags" Target="../tags/tag86.xml"/><Relationship Id="rId53" Type="http://schemas.openxmlformats.org/officeDocument/2006/relationships/tags" Target="../tags/tag94.xml"/><Relationship Id="rId58" Type="http://schemas.openxmlformats.org/officeDocument/2006/relationships/tags" Target="../tags/tag99.xml"/><Relationship Id="rId66" Type="http://schemas.openxmlformats.org/officeDocument/2006/relationships/image" Target="../media/image23.png"/><Relationship Id="rId74" Type="http://schemas.openxmlformats.org/officeDocument/2006/relationships/image" Target="../media/image31.png"/><Relationship Id="rId79" Type="http://schemas.openxmlformats.org/officeDocument/2006/relationships/image" Target="../media/image53.jpeg"/><Relationship Id="rId5" Type="http://schemas.openxmlformats.org/officeDocument/2006/relationships/tags" Target="../tags/tag46.xml"/><Relationship Id="rId61" Type="http://schemas.openxmlformats.org/officeDocument/2006/relationships/oleObject" Target="../embeddings/oleObject5.bin"/><Relationship Id="rId82" Type="http://schemas.openxmlformats.org/officeDocument/2006/relationships/image" Target="../media/image33.jpeg"/><Relationship Id="rId10" Type="http://schemas.openxmlformats.org/officeDocument/2006/relationships/tags" Target="../tags/tag51.xml"/><Relationship Id="rId19" Type="http://schemas.openxmlformats.org/officeDocument/2006/relationships/tags" Target="../tags/tag60.xml"/><Relationship Id="rId31" Type="http://schemas.openxmlformats.org/officeDocument/2006/relationships/tags" Target="../tags/tag72.xml"/><Relationship Id="rId44" Type="http://schemas.openxmlformats.org/officeDocument/2006/relationships/tags" Target="../tags/tag85.xml"/><Relationship Id="rId52" Type="http://schemas.openxmlformats.org/officeDocument/2006/relationships/tags" Target="../tags/tag93.xml"/><Relationship Id="rId60" Type="http://schemas.openxmlformats.org/officeDocument/2006/relationships/slideLayout" Target="../slideLayouts/slideLayout3.xml"/><Relationship Id="rId65" Type="http://schemas.openxmlformats.org/officeDocument/2006/relationships/image" Target="../media/image22.png"/><Relationship Id="rId73" Type="http://schemas.openxmlformats.org/officeDocument/2006/relationships/image" Target="../media/image30.jpeg"/><Relationship Id="rId78" Type="http://schemas.openxmlformats.org/officeDocument/2006/relationships/image" Target="../media/image38.png"/><Relationship Id="rId81" Type="http://schemas.openxmlformats.org/officeDocument/2006/relationships/image" Target="../media/image32.jpeg"/><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43" Type="http://schemas.openxmlformats.org/officeDocument/2006/relationships/tags" Target="../tags/tag84.xml"/><Relationship Id="rId48" Type="http://schemas.openxmlformats.org/officeDocument/2006/relationships/tags" Target="../tags/tag89.xml"/><Relationship Id="rId56" Type="http://schemas.openxmlformats.org/officeDocument/2006/relationships/tags" Target="../tags/tag97.xml"/><Relationship Id="rId64" Type="http://schemas.openxmlformats.org/officeDocument/2006/relationships/image" Target="../media/image20.png"/><Relationship Id="rId69" Type="http://schemas.openxmlformats.org/officeDocument/2006/relationships/image" Target="../media/image26.png"/><Relationship Id="rId77" Type="http://schemas.openxmlformats.org/officeDocument/2006/relationships/image" Target="../media/image37.png"/><Relationship Id="rId8" Type="http://schemas.openxmlformats.org/officeDocument/2006/relationships/tags" Target="../tags/tag49.xml"/><Relationship Id="rId51" Type="http://schemas.openxmlformats.org/officeDocument/2006/relationships/tags" Target="../tags/tag92.xml"/><Relationship Id="rId72" Type="http://schemas.openxmlformats.org/officeDocument/2006/relationships/image" Target="../media/image29.png"/><Relationship Id="rId80" Type="http://schemas.openxmlformats.org/officeDocument/2006/relationships/image" Target="../media/image44.jpeg"/><Relationship Id="rId3" Type="http://schemas.openxmlformats.org/officeDocument/2006/relationships/tags" Target="../tags/tag44.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 Id="rId46" Type="http://schemas.openxmlformats.org/officeDocument/2006/relationships/tags" Target="../tags/tag87.xml"/><Relationship Id="rId59" Type="http://schemas.openxmlformats.org/officeDocument/2006/relationships/tags" Target="../tags/tag100.xml"/><Relationship Id="rId67" Type="http://schemas.openxmlformats.org/officeDocument/2006/relationships/image" Target="../media/image24.wmf"/><Relationship Id="rId20" Type="http://schemas.openxmlformats.org/officeDocument/2006/relationships/tags" Target="../tags/tag61.xml"/><Relationship Id="rId41" Type="http://schemas.openxmlformats.org/officeDocument/2006/relationships/tags" Target="../tags/tag82.xml"/><Relationship Id="rId54" Type="http://schemas.openxmlformats.org/officeDocument/2006/relationships/tags" Target="../tags/tag95.xml"/><Relationship Id="rId62" Type="http://schemas.openxmlformats.org/officeDocument/2006/relationships/package" Target="../embeddings/Microsoft_Excel_Worksheet2.xlsx"/><Relationship Id="rId70" Type="http://schemas.openxmlformats.org/officeDocument/2006/relationships/image" Target="../media/image27.png"/><Relationship Id="rId75" Type="http://schemas.openxmlformats.org/officeDocument/2006/relationships/image" Target="../media/image35.jpeg"/><Relationship Id="rId83" Type="http://schemas.openxmlformats.org/officeDocument/2006/relationships/image" Target="../media/image34.png"/><Relationship Id="rId1" Type="http://schemas.openxmlformats.org/officeDocument/2006/relationships/vmlDrawing" Target="../drawings/vmlDrawing5.vml"/><Relationship Id="rId6" Type="http://schemas.openxmlformats.org/officeDocument/2006/relationships/tags" Target="../tags/tag47.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49" Type="http://schemas.openxmlformats.org/officeDocument/2006/relationships/tags" Target="../tags/tag90.xml"/><Relationship Id="rId57" Type="http://schemas.openxmlformats.org/officeDocument/2006/relationships/tags" Target="../tags/tag98.xml"/></Relationships>
</file>

<file path=ppt/slides/_rels/slide51.xml.rels><?xml version="1.0" encoding="UTF-8" standalone="yes"?>
<Relationships xmlns="http://schemas.openxmlformats.org/package/2006/relationships"><Relationship Id="rId13" Type="http://schemas.openxmlformats.org/officeDocument/2006/relationships/tags" Target="../tags/tag112.xml"/><Relationship Id="rId18" Type="http://schemas.openxmlformats.org/officeDocument/2006/relationships/tags" Target="../tags/tag117.xml"/><Relationship Id="rId26" Type="http://schemas.openxmlformats.org/officeDocument/2006/relationships/tags" Target="../tags/tag125.xml"/><Relationship Id="rId39" Type="http://schemas.openxmlformats.org/officeDocument/2006/relationships/tags" Target="../tags/tag138.xml"/><Relationship Id="rId21" Type="http://schemas.openxmlformats.org/officeDocument/2006/relationships/tags" Target="../tags/tag120.xml"/><Relationship Id="rId34" Type="http://schemas.openxmlformats.org/officeDocument/2006/relationships/tags" Target="../tags/tag133.xml"/><Relationship Id="rId42" Type="http://schemas.openxmlformats.org/officeDocument/2006/relationships/tags" Target="../tags/tag141.xml"/><Relationship Id="rId47" Type="http://schemas.openxmlformats.org/officeDocument/2006/relationships/tags" Target="../tags/tag146.xml"/><Relationship Id="rId50" Type="http://schemas.openxmlformats.org/officeDocument/2006/relationships/tags" Target="../tags/tag149.xml"/><Relationship Id="rId55" Type="http://schemas.openxmlformats.org/officeDocument/2006/relationships/tags" Target="../tags/tag154.xml"/><Relationship Id="rId63" Type="http://schemas.openxmlformats.org/officeDocument/2006/relationships/tags" Target="../tags/tag162.xml"/><Relationship Id="rId68" Type="http://schemas.openxmlformats.org/officeDocument/2006/relationships/tags" Target="../tags/tag167.xml"/><Relationship Id="rId76" Type="http://schemas.openxmlformats.org/officeDocument/2006/relationships/tags" Target="../tags/tag175.xml"/><Relationship Id="rId84" Type="http://schemas.openxmlformats.org/officeDocument/2006/relationships/tags" Target="../tags/tag183.xml"/><Relationship Id="rId89" Type="http://schemas.openxmlformats.org/officeDocument/2006/relationships/tags" Target="../tags/tag188.xml"/><Relationship Id="rId7" Type="http://schemas.openxmlformats.org/officeDocument/2006/relationships/tags" Target="../tags/tag106.xml"/><Relationship Id="rId71" Type="http://schemas.openxmlformats.org/officeDocument/2006/relationships/tags" Target="../tags/tag170.xml"/><Relationship Id="rId92" Type="http://schemas.openxmlformats.org/officeDocument/2006/relationships/package" Target="../embeddings/Microsoft_Excel_Worksheet3.xlsx"/><Relationship Id="rId2" Type="http://schemas.openxmlformats.org/officeDocument/2006/relationships/tags" Target="../tags/tag101.xml"/><Relationship Id="rId16" Type="http://schemas.openxmlformats.org/officeDocument/2006/relationships/tags" Target="../tags/tag115.xml"/><Relationship Id="rId29" Type="http://schemas.openxmlformats.org/officeDocument/2006/relationships/tags" Target="../tags/tag128.xml"/><Relationship Id="rId11" Type="http://schemas.openxmlformats.org/officeDocument/2006/relationships/tags" Target="../tags/tag110.xml"/><Relationship Id="rId24" Type="http://schemas.openxmlformats.org/officeDocument/2006/relationships/tags" Target="../tags/tag123.xml"/><Relationship Id="rId32" Type="http://schemas.openxmlformats.org/officeDocument/2006/relationships/tags" Target="../tags/tag131.xml"/><Relationship Id="rId37" Type="http://schemas.openxmlformats.org/officeDocument/2006/relationships/tags" Target="../tags/tag136.xml"/><Relationship Id="rId40" Type="http://schemas.openxmlformats.org/officeDocument/2006/relationships/tags" Target="../tags/tag139.xml"/><Relationship Id="rId45" Type="http://schemas.openxmlformats.org/officeDocument/2006/relationships/tags" Target="../tags/tag144.xml"/><Relationship Id="rId53" Type="http://schemas.openxmlformats.org/officeDocument/2006/relationships/tags" Target="../tags/tag152.xml"/><Relationship Id="rId58" Type="http://schemas.openxmlformats.org/officeDocument/2006/relationships/tags" Target="../tags/tag157.xml"/><Relationship Id="rId66" Type="http://schemas.openxmlformats.org/officeDocument/2006/relationships/tags" Target="../tags/tag165.xml"/><Relationship Id="rId74" Type="http://schemas.openxmlformats.org/officeDocument/2006/relationships/tags" Target="../tags/tag173.xml"/><Relationship Id="rId79" Type="http://schemas.openxmlformats.org/officeDocument/2006/relationships/tags" Target="../tags/tag178.xml"/><Relationship Id="rId87" Type="http://schemas.openxmlformats.org/officeDocument/2006/relationships/tags" Target="../tags/tag186.xml"/><Relationship Id="rId5" Type="http://schemas.openxmlformats.org/officeDocument/2006/relationships/tags" Target="../tags/tag104.xml"/><Relationship Id="rId61" Type="http://schemas.openxmlformats.org/officeDocument/2006/relationships/tags" Target="../tags/tag160.xml"/><Relationship Id="rId82" Type="http://schemas.openxmlformats.org/officeDocument/2006/relationships/tags" Target="../tags/tag181.xml"/><Relationship Id="rId90" Type="http://schemas.openxmlformats.org/officeDocument/2006/relationships/slideLayout" Target="../slideLayouts/slideLayout3.xml"/><Relationship Id="rId19" Type="http://schemas.openxmlformats.org/officeDocument/2006/relationships/tags" Target="../tags/tag118.xml"/><Relationship Id="rId14" Type="http://schemas.openxmlformats.org/officeDocument/2006/relationships/tags" Target="../tags/tag113.xml"/><Relationship Id="rId22" Type="http://schemas.openxmlformats.org/officeDocument/2006/relationships/tags" Target="../tags/tag121.xml"/><Relationship Id="rId27" Type="http://schemas.openxmlformats.org/officeDocument/2006/relationships/tags" Target="../tags/tag126.xml"/><Relationship Id="rId30" Type="http://schemas.openxmlformats.org/officeDocument/2006/relationships/tags" Target="../tags/tag129.xml"/><Relationship Id="rId35" Type="http://schemas.openxmlformats.org/officeDocument/2006/relationships/tags" Target="../tags/tag134.xml"/><Relationship Id="rId43" Type="http://schemas.openxmlformats.org/officeDocument/2006/relationships/tags" Target="../tags/tag142.xml"/><Relationship Id="rId48" Type="http://schemas.openxmlformats.org/officeDocument/2006/relationships/tags" Target="../tags/tag147.xml"/><Relationship Id="rId56" Type="http://schemas.openxmlformats.org/officeDocument/2006/relationships/tags" Target="../tags/tag155.xml"/><Relationship Id="rId64" Type="http://schemas.openxmlformats.org/officeDocument/2006/relationships/tags" Target="../tags/tag163.xml"/><Relationship Id="rId69" Type="http://schemas.openxmlformats.org/officeDocument/2006/relationships/tags" Target="../tags/tag168.xml"/><Relationship Id="rId77" Type="http://schemas.openxmlformats.org/officeDocument/2006/relationships/tags" Target="../tags/tag176.xml"/><Relationship Id="rId8" Type="http://schemas.openxmlformats.org/officeDocument/2006/relationships/tags" Target="../tags/tag107.xml"/><Relationship Id="rId51" Type="http://schemas.openxmlformats.org/officeDocument/2006/relationships/tags" Target="../tags/tag150.xml"/><Relationship Id="rId72" Type="http://schemas.openxmlformats.org/officeDocument/2006/relationships/tags" Target="../tags/tag171.xml"/><Relationship Id="rId80" Type="http://schemas.openxmlformats.org/officeDocument/2006/relationships/tags" Target="../tags/tag179.xml"/><Relationship Id="rId85" Type="http://schemas.openxmlformats.org/officeDocument/2006/relationships/tags" Target="../tags/tag184.xml"/><Relationship Id="rId93" Type="http://schemas.openxmlformats.org/officeDocument/2006/relationships/image" Target="../media/image19.wmf"/><Relationship Id="rId3" Type="http://schemas.openxmlformats.org/officeDocument/2006/relationships/tags" Target="../tags/tag102.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tags" Target="../tags/tag124.xml"/><Relationship Id="rId33" Type="http://schemas.openxmlformats.org/officeDocument/2006/relationships/tags" Target="../tags/tag132.xml"/><Relationship Id="rId38" Type="http://schemas.openxmlformats.org/officeDocument/2006/relationships/tags" Target="../tags/tag137.xml"/><Relationship Id="rId46" Type="http://schemas.openxmlformats.org/officeDocument/2006/relationships/tags" Target="../tags/tag145.xml"/><Relationship Id="rId59" Type="http://schemas.openxmlformats.org/officeDocument/2006/relationships/tags" Target="../tags/tag158.xml"/><Relationship Id="rId67" Type="http://schemas.openxmlformats.org/officeDocument/2006/relationships/tags" Target="../tags/tag166.xml"/><Relationship Id="rId20" Type="http://schemas.openxmlformats.org/officeDocument/2006/relationships/tags" Target="../tags/tag119.xml"/><Relationship Id="rId41" Type="http://schemas.openxmlformats.org/officeDocument/2006/relationships/tags" Target="../tags/tag140.xml"/><Relationship Id="rId54" Type="http://schemas.openxmlformats.org/officeDocument/2006/relationships/tags" Target="../tags/tag153.xml"/><Relationship Id="rId62" Type="http://schemas.openxmlformats.org/officeDocument/2006/relationships/tags" Target="../tags/tag161.xml"/><Relationship Id="rId70" Type="http://schemas.openxmlformats.org/officeDocument/2006/relationships/tags" Target="../tags/tag169.xml"/><Relationship Id="rId75" Type="http://schemas.openxmlformats.org/officeDocument/2006/relationships/tags" Target="../tags/tag174.xml"/><Relationship Id="rId83" Type="http://schemas.openxmlformats.org/officeDocument/2006/relationships/tags" Target="../tags/tag182.xml"/><Relationship Id="rId88" Type="http://schemas.openxmlformats.org/officeDocument/2006/relationships/tags" Target="../tags/tag187.xml"/><Relationship Id="rId91"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105.xml"/><Relationship Id="rId15" Type="http://schemas.openxmlformats.org/officeDocument/2006/relationships/tags" Target="../tags/tag114.xml"/><Relationship Id="rId23" Type="http://schemas.openxmlformats.org/officeDocument/2006/relationships/tags" Target="../tags/tag122.xml"/><Relationship Id="rId28" Type="http://schemas.openxmlformats.org/officeDocument/2006/relationships/tags" Target="../tags/tag127.xml"/><Relationship Id="rId36" Type="http://schemas.openxmlformats.org/officeDocument/2006/relationships/tags" Target="../tags/tag135.xml"/><Relationship Id="rId49" Type="http://schemas.openxmlformats.org/officeDocument/2006/relationships/tags" Target="../tags/tag148.xml"/><Relationship Id="rId57" Type="http://schemas.openxmlformats.org/officeDocument/2006/relationships/tags" Target="../tags/tag156.xml"/><Relationship Id="rId10" Type="http://schemas.openxmlformats.org/officeDocument/2006/relationships/tags" Target="../tags/tag109.xml"/><Relationship Id="rId31" Type="http://schemas.openxmlformats.org/officeDocument/2006/relationships/tags" Target="../tags/tag130.xml"/><Relationship Id="rId44" Type="http://schemas.openxmlformats.org/officeDocument/2006/relationships/tags" Target="../tags/tag143.xml"/><Relationship Id="rId52" Type="http://schemas.openxmlformats.org/officeDocument/2006/relationships/tags" Target="../tags/tag151.xml"/><Relationship Id="rId60" Type="http://schemas.openxmlformats.org/officeDocument/2006/relationships/tags" Target="../tags/tag159.xml"/><Relationship Id="rId65" Type="http://schemas.openxmlformats.org/officeDocument/2006/relationships/tags" Target="../tags/tag164.xml"/><Relationship Id="rId73" Type="http://schemas.openxmlformats.org/officeDocument/2006/relationships/tags" Target="../tags/tag172.xml"/><Relationship Id="rId78" Type="http://schemas.openxmlformats.org/officeDocument/2006/relationships/tags" Target="../tags/tag177.xml"/><Relationship Id="rId81" Type="http://schemas.openxmlformats.org/officeDocument/2006/relationships/tags" Target="../tags/tag180.xml"/><Relationship Id="rId86" Type="http://schemas.openxmlformats.org/officeDocument/2006/relationships/tags" Target="../tags/tag185.xml"/><Relationship Id="rId4" Type="http://schemas.openxmlformats.org/officeDocument/2006/relationships/tags" Target="../tags/tag103.xml"/><Relationship Id="rId9" Type="http://schemas.openxmlformats.org/officeDocument/2006/relationships/tags" Target="../tags/tag108.xml"/></Relationships>
</file>

<file path=ppt/slides/_rels/slide52.xml.rels><?xml version="1.0" encoding="UTF-8" standalone="yes"?>
<Relationships xmlns="http://schemas.openxmlformats.org/package/2006/relationships"><Relationship Id="rId13" Type="http://schemas.openxmlformats.org/officeDocument/2006/relationships/tags" Target="../tags/tag201.xml"/><Relationship Id="rId18" Type="http://schemas.openxmlformats.org/officeDocument/2006/relationships/tags" Target="../tags/tag206.xml"/><Relationship Id="rId26" Type="http://schemas.openxmlformats.org/officeDocument/2006/relationships/tags" Target="../tags/tag214.xml"/><Relationship Id="rId39" Type="http://schemas.openxmlformats.org/officeDocument/2006/relationships/tags" Target="../tags/tag227.xml"/><Relationship Id="rId21" Type="http://schemas.openxmlformats.org/officeDocument/2006/relationships/tags" Target="../tags/tag209.xml"/><Relationship Id="rId34" Type="http://schemas.openxmlformats.org/officeDocument/2006/relationships/tags" Target="../tags/tag222.xml"/><Relationship Id="rId42" Type="http://schemas.openxmlformats.org/officeDocument/2006/relationships/tags" Target="../tags/tag230.xml"/><Relationship Id="rId47" Type="http://schemas.openxmlformats.org/officeDocument/2006/relationships/tags" Target="../tags/tag235.xml"/><Relationship Id="rId50" Type="http://schemas.openxmlformats.org/officeDocument/2006/relationships/tags" Target="../tags/tag238.xml"/><Relationship Id="rId55" Type="http://schemas.openxmlformats.org/officeDocument/2006/relationships/tags" Target="../tags/tag243.xml"/><Relationship Id="rId63" Type="http://schemas.openxmlformats.org/officeDocument/2006/relationships/tags" Target="../tags/tag251.xml"/><Relationship Id="rId68" Type="http://schemas.openxmlformats.org/officeDocument/2006/relationships/tags" Target="../tags/tag256.xml"/><Relationship Id="rId76" Type="http://schemas.openxmlformats.org/officeDocument/2006/relationships/tags" Target="../tags/tag264.xml"/><Relationship Id="rId84" Type="http://schemas.openxmlformats.org/officeDocument/2006/relationships/tags" Target="../tags/tag272.xml"/><Relationship Id="rId89" Type="http://schemas.openxmlformats.org/officeDocument/2006/relationships/slideLayout" Target="../slideLayouts/slideLayout3.xml"/><Relationship Id="rId7" Type="http://schemas.openxmlformats.org/officeDocument/2006/relationships/tags" Target="../tags/tag195.xml"/><Relationship Id="rId71" Type="http://schemas.openxmlformats.org/officeDocument/2006/relationships/tags" Target="../tags/tag259.xml"/><Relationship Id="rId2" Type="http://schemas.openxmlformats.org/officeDocument/2006/relationships/tags" Target="../tags/tag190.xml"/><Relationship Id="rId16" Type="http://schemas.openxmlformats.org/officeDocument/2006/relationships/tags" Target="../tags/tag204.xml"/><Relationship Id="rId29" Type="http://schemas.openxmlformats.org/officeDocument/2006/relationships/tags" Target="../tags/tag217.xml"/><Relationship Id="rId11" Type="http://schemas.openxmlformats.org/officeDocument/2006/relationships/tags" Target="../tags/tag199.xml"/><Relationship Id="rId24" Type="http://schemas.openxmlformats.org/officeDocument/2006/relationships/tags" Target="../tags/tag212.xml"/><Relationship Id="rId32" Type="http://schemas.openxmlformats.org/officeDocument/2006/relationships/tags" Target="../tags/tag220.xml"/><Relationship Id="rId37" Type="http://schemas.openxmlformats.org/officeDocument/2006/relationships/tags" Target="../tags/tag225.xml"/><Relationship Id="rId40" Type="http://schemas.openxmlformats.org/officeDocument/2006/relationships/tags" Target="../tags/tag228.xml"/><Relationship Id="rId45" Type="http://schemas.openxmlformats.org/officeDocument/2006/relationships/tags" Target="../tags/tag233.xml"/><Relationship Id="rId53" Type="http://schemas.openxmlformats.org/officeDocument/2006/relationships/tags" Target="../tags/tag241.xml"/><Relationship Id="rId58" Type="http://schemas.openxmlformats.org/officeDocument/2006/relationships/tags" Target="../tags/tag246.xml"/><Relationship Id="rId66" Type="http://schemas.openxmlformats.org/officeDocument/2006/relationships/tags" Target="../tags/tag254.xml"/><Relationship Id="rId74" Type="http://schemas.openxmlformats.org/officeDocument/2006/relationships/tags" Target="../tags/tag262.xml"/><Relationship Id="rId79" Type="http://schemas.openxmlformats.org/officeDocument/2006/relationships/tags" Target="../tags/tag267.xml"/><Relationship Id="rId87" Type="http://schemas.openxmlformats.org/officeDocument/2006/relationships/tags" Target="../tags/tag275.xml"/><Relationship Id="rId5" Type="http://schemas.openxmlformats.org/officeDocument/2006/relationships/tags" Target="../tags/tag193.xml"/><Relationship Id="rId61" Type="http://schemas.openxmlformats.org/officeDocument/2006/relationships/tags" Target="../tags/tag249.xml"/><Relationship Id="rId82" Type="http://schemas.openxmlformats.org/officeDocument/2006/relationships/tags" Target="../tags/tag270.xml"/><Relationship Id="rId19" Type="http://schemas.openxmlformats.org/officeDocument/2006/relationships/tags" Target="../tags/tag207.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 Id="rId22" Type="http://schemas.openxmlformats.org/officeDocument/2006/relationships/tags" Target="../tags/tag210.xml"/><Relationship Id="rId27" Type="http://schemas.openxmlformats.org/officeDocument/2006/relationships/tags" Target="../tags/tag215.xml"/><Relationship Id="rId30" Type="http://schemas.openxmlformats.org/officeDocument/2006/relationships/tags" Target="../tags/tag218.xml"/><Relationship Id="rId35" Type="http://schemas.openxmlformats.org/officeDocument/2006/relationships/tags" Target="../tags/tag223.xml"/><Relationship Id="rId43" Type="http://schemas.openxmlformats.org/officeDocument/2006/relationships/tags" Target="../tags/tag231.xml"/><Relationship Id="rId48" Type="http://schemas.openxmlformats.org/officeDocument/2006/relationships/tags" Target="../tags/tag236.xml"/><Relationship Id="rId56" Type="http://schemas.openxmlformats.org/officeDocument/2006/relationships/tags" Target="../tags/tag244.xml"/><Relationship Id="rId64" Type="http://schemas.openxmlformats.org/officeDocument/2006/relationships/tags" Target="../tags/tag252.xml"/><Relationship Id="rId69" Type="http://schemas.openxmlformats.org/officeDocument/2006/relationships/tags" Target="../tags/tag257.xml"/><Relationship Id="rId77" Type="http://schemas.openxmlformats.org/officeDocument/2006/relationships/tags" Target="../tags/tag265.xml"/><Relationship Id="rId8" Type="http://schemas.openxmlformats.org/officeDocument/2006/relationships/tags" Target="../tags/tag196.xml"/><Relationship Id="rId51" Type="http://schemas.openxmlformats.org/officeDocument/2006/relationships/tags" Target="../tags/tag239.xml"/><Relationship Id="rId72" Type="http://schemas.openxmlformats.org/officeDocument/2006/relationships/tags" Target="../tags/tag260.xml"/><Relationship Id="rId80" Type="http://schemas.openxmlformats.org/officeDocument/2006/relationships/tags" Target="../tags/tag268.xml"/><Relationship Id="rId85" Type="http://schemas.openxmlformats.org/officeDocument/2006/relationships/tags" Target="../tags/tag273.xml"/><Relationship Id="rId3" Type="http://schemas.openxmlformats.org/officeDocument/2006/relationships/tags" Target="../tags/tag191.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tags" Target="../tags/tag213.xml"/><Relationship Id="rId33" Type="http://schemas.openxmlformats.org/officeDocument/2006/relationships/tags" Target="../tags/tag221.xml"/><Relationship Id="rId38" Type="http://schemas.openxmlformats.org/officeDocument/2006/relationships/tags" Target="../tags/tag226.xml"/><Relationship Id="rId46" Type="http://schemas.openxmlformats.org/officeDocument/2006/relationships/tags" Target="../tags/tag234.xml"/><Relationship Id="rId59" Type="http://schemas.openxmlformats.org/officeDocument/2006/relationships/tags" Target="../tags/tag247.xml"/><Relationship Id="rId67" Type="http://schemas.openxmlformats.org/officeDocument/2006/relationships/tags" Target="../tags/tag255.xml"/><Relationship Id="rId20" Type="http://schemas.openxmlformats.org/officeDocument/2006/relationships/tags" Target="../tags/tag208.xml"/><Relationship Id="rId41" Type="http://schemas.openxmlformats.org/officeDocument/2006/relationships/tags" Target="../tags/tag229.xml"/><Relationship Id="rId54" Type="http://schemas.openxmlformats.org/officeDocument/2006/relationships/tags" Target="../tags/tag242.xml"/><Relationship Id="rId62" Type="http://schemas.openxmlformats.org/officeDocument/2006/relationships/tags" Target="../tags/tag250.xml"/><Relationship Id="rId70" Type="http://schemas.openxmlformats.org/officeDocument/2006/relationships/tags" Target="../tags/tag258.xml"/><Relationship Id="rId75" Type="http://schemas.openxmlformats.org/officeDocument/2006/relationships/tags" Target="../tags/tag263.xml"/><Relationship Id="rId83" Type="http://schemas.openxmlformats.org/officeDocument/2006/relationships/tags" Target="../tags/tag271.xml"/><Relationship Id="rId88" Type="http://schemas.openxmlformats.org/officeDocument/2006/relationships/tags" Target="../tags/tag276.xml"/><Relationship Id="rId1" Type="http://schemas.openxmlformats.org/officeDocument/2006/relationships/tags" Target="../tags/tag189.xml"/><Relationship Id="rId6" Type="http://schemas.openxmlformats.org/officeDocument/2006/relationships/tags" Target="../tags/tag194.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tags" Target="../tags/tag216.xml"/><Relationship Id="rId36" Type="http://schemas.openxmlformats.org/officeDocument/2006/relationships/tags" Target="../tags/tag224.xml"/><Relationship Id="rId49" Type="http://schemas.openxmlformats.org/officeDocument/2006/relationships/tags" Target="../tags/tag237.xml"/><Relationship Id="rId57" Type="http://schemas.openxmlformats.org/officeDocument/2006/relationships/tags" Target="../tags/tag245.xml"/><Relationship Id="rId10" Type="http://schemas.openxmlformats.org/officeDocument/2006/relationships/tags" Target="../tags/tag198.xml"/><Relationship Id="rId31" Type="http://schemas.openxmlformats.org/officeDocument/2006/relationships/tags" Target="../tags/tag219.xml"/><Relationship Id="rId44" Type="http://schemas.openxmlformats.org/officeDocument/2006/relationships/tags" Target="../tags/tag232.xml"/><Relationship Id="rId52" Type="http://schemas.openxmlformats.org/officeDocument/2006/relationships/tags" Target="../tags/tag240.xml"/><Relationship Id="rId60" Type="http://schemas.openxmlformats.org/officeDocument/2006/relationships/tags" Target="../tags/tag248.xml"/><Relationship Id="rId65" Type="http://schemas.openxmlformats.org/officeDocument/2006/relationships/tags" Target="../tags/tag253.xml"/><Relationship Id="rId73" Type="http://schemas.openxmlformats.org/officeDocument/2006/relationships/tags" Target="../tags/tag261.xml"/><Relationship Id="rId78" Type="http://schemas.openxmlformats.org/officeDocument/2006/relationships/tags" Target="../tags/tag266.xml"/><Relationship Id="rId81" Type="http://schemas.openxmlformats.org/officeDocument/2006/relationships/tags" Target="../tags/tag269.xml"/><Relationship Id="rId86" Type="http://schemas.openxmlformats.org/officeDocument/2006/relationships/tags" Target="../tags/tag274.xml"/></Relationships>
</file>

<file path=ppt/slides/_rels/slide53.xml.rels><?xml version="1.0" encoding="UTF-8" standalone="yes"?>
<Relationships xmlns="http://schemas.openxmlformats.org/package/2006/relationships"><Relationship Id="rId8" Type="http://schemas.openxmlformats.org/officeDocument/2006/relationships/tags" Target="../tags/tag284.xml"/><Relationship Id="rId13" Type="http://schemas.openxmlformats.org/officeDocument/2006/relationships/tags" Target="../tags/tag289.xml"/><Relationship Id="rId18" Type="http://schemas.openxmlformats.org/officeDocument/2006/relationships/tags" Target="../tags/tag294.xml"/><Relationship Id="rId26" Type="http://schemas.openxmlformats.org/officeDocument/2006/relationships/tags" Target="../tags/tag302.xml"/><Relationship Id="rId39" Type="http://schemas.openxmlformats.org/officeDocument/2006/relationships/tags" Target="../tags/tag315.xml"/><Relationship Id="rId3" Type="http://schemas.openxmlformats.org/officeDocument/2006/relationships/tags" Target="../tags/tag279.xml"/><Relationship Id="rId21" Type="http://schemas.openxmlformats.org/officeDocument/2006/relationships/tags" Target="../tags/tag297.xml"/><Relationship Id="rId34" Type="http://schemas.openxmlformats.org/officeDocument/2006/relationships/tags" Target="../tags/tag310.xml"/><Relationship Id="rId42" Type="http://schemas.openxmlformats.org/officeDocument/2006/relationships/tags" Target="../tags/tag318.xml"/><Relationship Id="rId7" Type="http://schemas.openxmlformats.org/officeDocument/2006/relationships/tags" Target="../tags/tag283.xml"/><Relationship Id="rId12" Type="http://schemas.openxmlformats.org/officeDocument/2006/relationships/tags" Target="../tags/tag288.xml"/><Relationship Id="rId17" Type="http://schemas.openxmlformats.org/officeDocument/2006/relationships/tags" Target="../tags/tag293.xml"/><Relationship Id="rId25" Type="http://schemas.openxmlformats.org/officeDocument/2006/relationships/tags" Target="../tags/tag301.xml"/><Relationship Id="rId33" Type="http://schemas.openxmlformats.org/officeDocument/2006/relationships/tags" Target="../tags/tag309.xml"/><Relationship Id="rId38" Type="http://schemas.openxmlformats.org/officeDocument/2006/relationships/tags" Target="../tags/tag314.xml"/><Relationship Id="rId46" Type="http://schemas.openxmlformats.org/officeDocument/2006/relationships/notesSlide" Target="../notesSlides/notesSlide23.xml"/><Relationship Id="rId2" Type="http://schemas.openxmlformats.org/officeDocument/2006/relationships/tags" Target="../tags/tag278.xml"/><Relationship Id="rId16" Type="http://schemas.openxmlformats.org/officeDocument/2006/relationships/tags" Target="../tags/tag292.xml"/><Relationship Id="rId20" Type="http://schemas.openxmlformats.org/officeDocument/2006/relationships/tags" Target="../tags/tag296.xml"/><Relationship Id="rId29" Type="http://schemas.openxmlformats.org/officeDocument/2006/relationships/tags" Target="../tags/tag305.xml"/><Relationship Id="rId41" Type="http://schemas.openxmlformats.org/officeDocument/2006/relationships/tags" Target="../tags/tag317.xml"/><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tags" Target="../tags/tag287.xml"/><Relationship Id="rId24" Type="http://schemas.openxmlformats.org/officeDocument/2006/relationships/tags" Target="../tags/tag300.xml"/><Relationship Id="rId32" Type="http://schemas.openxmlformats.org/officeDocument/2006/relationships/tags" Target="../tags/tag308.xml"/><Relationship Id="rId37" Type="http://schemas.openxmlformats.org/officeDocument/2006/relationships/tags" Target="../tags/tag313.xml"/><Relationship Id="rId40" Type="http://schemas.openxmlformats.org/officeDocument/2006/relationships/tags" Target="../tags/tag316.xml"/><Relationship Id="rId45" Type="http://schemas.openxmlformats.org/officeDocument/2006/relationships/slideLayout" Target="../slideLayouts/slideLayout3.xml"/><Relationship Id="rId5" Type="http://schemas.openxmlformats.org/officeDocument/2006/relationships/tags" Target="../tags/tag281.xml"/><Relationship Id="rId15" Type="http://schemas.openxmlformats.org/officeDocument/2006/relationships/tags" Target="../tags/tag291.xml"/><Relationship Id="rId23" Type="http://schemas.openxmlformats.org/officeDocument/2006/relationships/tags" Target="../tags/tag299.xml"/><Relationship Id="rId28" Type="http://schemas.openxmlformats.org/officeDocument/2006/relationships/tags" Target="../tags/tag304.xml"/><Relationship Id="rId36" Type="http://schemas.openxmlformats.org/officeDocument/2006/relationships/tags" Target="../tags/tag312.xml"/><Relationship Id="rId10" Type="http://schemas.openxmlformats.org/officeDocument/2006/relationships/tags" Target="../tags/tag286.xml"/><Relationship Id="rId19" Type="http://schemas.openxmlformats.org/officeDocument/2006/relationships/tags" Target="../tags/tag295.xml"/><Relationship Id="rId31" Type="http://schemas.openxmlformats.org/officeDocument/2006/relationships/tags" Target="../tags/tag307.xml"/><Relationship Id="rId44" Type="http://schemas.openxmlformats.org/officeDocument/2006/relationships/tags" Target="../tags/tag320.xml"/><Relationship Id="rId4" Type="http://schemas.openxmlformats.org/officeDocument/2006/relationships/tags" Target="../tags/tag280.xml"/><Relationship Id="rId9" Type="http://schemas.openxmlformats.org/officeDocument/2006/relationships/tags" Target="../tags/tag285.xml"/><Relationship Id="rId14" Type="http://schemas.openxmlformats.org/officeDocument/2006/relationships/tags" Target="../tags/tag290.xml"/><Relationship Id="rId22" Type="http://schemas.openxmlformats.org/officeDocument/2006/relationships/tags" Target="../tags/tag298.xml"/><Relationship Id="rId27" Type="http://schemas.openxmlformats.org/officeDocument/2006/relationships/tags" Target="../tags/tag303.xml"/><Relationship Id="rId30" Type="http://schemas.openxmlformats.org/officeDocument/2006/relationships/tags" Target="../tags/tag306.xml"/><Relationship Id="rId35" Type="http://schemas.openxmlformats.org/officeDocument/2006/relationships/tags" Target="../tags/tag311.xml"/><Relationship Id="rId43" Type="http://schemas.openxmlformats.org/officeDocument/2006/relationships/tags" Target="../tags/tag319.xml"/></Relationships>
</file>

<file path=ppt/slides/_rels/slide54.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tags" Target="../tags/tag338.xml"/><Relationship Id="rId26" Type="http://schemas.openxmlformats.org/officeDocument/2006/relationships/tags" Target="../tags/tag346.xml"/><Relationship Id="rId39" Type="http://schemas.openxmlformats.org/officeDocument/2006/relationships/tags" Target="../tags/tag359.xml"/><Relationship Id="rId3" Type="http://schemas.openxmlformats.org/officeDocument/2006/relationships/tags" Target="../tags/tag323.xml"/><Relationship Id="rId21" Type="http://schemas.openxmlformats.org/officeDocument/2006/relationships/tags" Target="../tags/tag341.xml"/><Relationship Id="rId34" Type="http://schemas.openxmlformats.org/officeDocument/2006/relationships/tags" Target="../tags/tag354.xml"/><Relationship Id="rId42" Type="http://schemas.openxmlformats.org/officeDocument/2006/relationships/tags" Target="../tags/tag362.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tags" Target="../tags/tag345.xml"/><Relationship Id="rId33" Type="http://schemas.openxmlformats.org/officeDocument/2006/relationships/tags" Target="../tags/tag353.xml"/><Relationship Id="rId38" Type="http://schemas.openxmlformats.org/officeDocument/2006/relationships/tags" Target="../tags/tag358.xml"/><Relationship Id="rId46" Type="http://schemas.openxmlformats.org/officeDocument/2006/relationships/notesSlide" Target="../notesSlides/notesSlide24.xml"/><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tags" Target="../tags/tag340.xml"/><Relationship Id="rId29" Type="http://schemas.openxmlformats.org/officeDocument/2006/relationships/tags" Target="../tags/tag349.xml"/><Relationship Id="rId41" Type="http://schemas.openxmlformats.org/officeDocument/2006/relationships/tags" Target="../tags/tag361.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tags" Target="../tags/tag331.xml"/><Relationship Id="rId24" Type="http://schemas.openxmlformats.org/officeDocument/2006/relationships/tags" Target="../tags/tag344.xml"/><Relationship Id="rId32" Type="http://schemas.openxmlformats.org/officeDocument/2006/relationships/tags" Target="../tags/tag352.xml"/><Relationship Id="rId37" Type="http://schemas.openxmlformats.org/officeDocument/2006/relationships/tags" Target="../tags/tag357.xml"/><Relationship Id="rId40" Type="http://schemas.openxmlformats.org/officeDocument/2006/relationships/tags" Target="../tags/tag360.xml"/><Relationship Id="rId45" Type="http://schemas.openxmlformats.org/officeDocument/2006/relationships/slideLayout" Target="../slideLayouts/slideLayout3.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tags" Target="../tags/tag343.xml"/><Relationship Id="rId28" Type="http://schemas.openxmlformats.org/officeDocument/2006/relationships/tags" Target="../tags/tag348.xml"/><Relationship Id="rId36" Type="http://schemas.openxmlformats.org/officeDocument/2006/relationships/tags" Target="../tags/tag356.xml"/><Relationship Id="rId10" Type="http://schemas.openxmlformats.org/officeDocument/2006/relationships/tags" Target="../tags/tag330.xml"/><Relationship Id="rId19" Type="http://schemas.openxmlformats.org/officeDocument/2006/relationships/tags" Target="../tags/tag339.xml"/><Relationship Id="rId31" Type="http://schemas.openxmlformats.org/officeDocument/2006/relationships/tags" Target="../tags/tag351.xml"/><Relationship Id="rId44" Type="http://schemas.openxmlformats.org/officeDocument/2006/relationships/tags" Target="../tags/tag364.xml"/><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tags" Target="../tags/tag342.xml"/><Relationship Id="rId27" Type="http://schemas.openxmlformats.org/officeDocument/2006/relationships/tags" Target="../tags/tag347.xml"/><Relationship Id="rId30" Type="http://schemas.openxmlformats.org/officeDocument/2006/relationships/tags" Target="../tags/tag350.xml"/><Relationship Id="rId35" Type="http://schemas.openxmlformats.org/officeDocument/2006/relationships/tags" Target="../tags/tag355.xml"/><Relationship Id="rId43" Type="http://schemas.openxmlformats.org/officeDocument/2006/relationships/tags" Target="../tags/tag36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3" Type="http://schemas.openxmlformats.org/officeDocument/2006/relationships/tags" Target="../tags/tag376.xml"/><Relationship Id="rId18" Type="http://schemas.openxmlformats.org/officeDocument/2006/relationships/tags" Target="../tags/tag381.xml"/><Relationship Id="rId26" Type="http://schemas.openxmlformats.org/officeDocument/2006/relationships/tags" Target="../tags/tag389.xml"/><Relationship Id="rId39" Type="http://schemas.openxmlformats.org/officeDocument/2006/relationships/tags" Target="../tags/tag402.xml"/><Relationship Id="rId3" Type="http://schemas.openxmlformats.org/officeDocument/2006/relationships/tags" Target="../tags/tag366.xml"/><Relationship Id="rId21" Type="http://schemas.openxmlformats.org/officeDocument/2006/relationships/tags" Target="../tags/tag384.xml"/><Relationship Id="rId34" Type="http://schemas.openxmlformats.org/officeDocument/2006/relationships/tags" Target="../tags/tag397.xml"/><Relationship Id="rId42" Type="http://schemas.openxmlformats.org/officeDocument/2006/relationships/tags" Target="../tags/tag405.xml"/><Relationship Id="rId47" Type="http://schemas.openxmlformats.org/officeDocument/2006/relationships/oleObject" Target="../embeddings/oleObject7.bin"/><Relationship Id="rId7" Type="http://schemas.openxmlformats.org/officeDocument/2006/relationships/tags" Target="../tags/tag370.xml"/><Relationship Id="rId12" Type="http://schemas.openxmlformats.org/officeDocument/2006/relationships/tags" Target="../tags/tag375.xml"/><Relationship Id="rId17" Type="http://schemas.openxmlformats.org/officeDocument/2006/relationships/tags" Target="../tags/tag380.xml"/><Relationship Id="rId25" Type="http://schemas.openxmlformats.org/officeDocument/2006/relationships/tags" Target="../tags/tag388.xml"/><Relationship Id="rId33" Type="http://schemas.openxmlformats.org/officeDocument/2006/relationships/tags" Target="../tags/tag396.xml"/><Relationship Id="rId38" Type="http://schemas.openxmlformats.org/officeDocument/2006/relationships/tags" Target="../tags/tag401.xml"/><Relationship Id="rId46" Type="http://schemas.openxmlformats.org/officeDocument/2006/relationships/slideLayout" Target="../slideLayouts/slideLayout3.xml"/><Relationship Id="rId2" Type="http://schemas.openxmlformats.org/officeDocument/2006/relationships/tags" Target="../tags/tag365.xml"/><Relationship Id="rId16" Type="http://schemas.openxmlformats.org/officeDocument/2006/relationships/tags" Target="../tags/tag379.xml"/><Relationship Id="rId20" Type="http://schemas.openxmlformats.org/officeDocument/2006/relationships/tags" Target="../tags/tag383.xml"/><Relationship Id="rId29" Type="http://schemas.openxmlformats.org/officeDocument/2006/relationships/tags" Target="../tags/tag392.xml"/><Relationship Id="rId41" Type="http://schemas.openxmlformats.org/officeDocument/2006/relationships/tags" Target="../tags/tag404.xml"/><Relationship Id="rId1" Type="http://schemas.openxmlformats.org/officeDocument/2006/relationships/vmlDrawing" Target="../drawings/vmlDrawing7.vml"/><Relationship Id="rId6" Type="http://schemas.openxmlformats.org/officeDocument/2006/relationships/tags" Target="../tags/tag369.xml"/><Relationship Id="rId11" Type="http://schemas.openxmlformats.org/officeDocument/2006/relationships/tags" Target="../tags/tag374.xml"/><Relationship Id="rId24" Type="http://schemas.openxmlformats.org/officeDocument/2006/relationships/tags" Target="../tags/tag387.xml"/><Relationship Id="rId32" Type="http://schemas.openxmlformats.org/officeDocument/2006/relationships/tags" Target="../tags/tag395.xml"/><Relationship Id="rId37" Type="http://schemas.openxmlformats.org/officeDocument/2006/relationships/tags" Target="../tags/tag400.xml"/><Relationship Id="rId40" Type="http://schemas.openxmlformats.org/officeDocument/2006/relationships/tags" Target="../tags/tag403.xml"/><Relationship Id="rId45" Type="http://schemas.openxmlformats.org/officeDocument/2006/relationships/tags" Target="../tags/tag408.xml"/><Relationship Id="rId5" Type="http://schemas.openxmlformats.org/officeDocument/2006/relationships/tags" Target="../tags/tag368.xml"/><Relationship Id="rId15" Type="http://schemas.openxmlformats.org/officeDocument/2006/relationships/tags" Target="../tags/tag378.xml"/><Relationship Id="rId23" Type="http://schemas.openxmlformats.org/officeDocument/2006/relationships/tags" Target="../tags/tag386.xml"/><Relationship Id="rId28" Type="http://schemas.openxmlformats.org/officeDocument/2006/relationships/tags" Target="../tags/tag391.xml"/><Relationship Id="rId36" Type="http://schemas.openxmlformats.org/officeDocument/2006/relationships/tags" Target="../tags/tag399.xml"/><Relationship Id="rId49" Type="http://schemas.openxmlformats.org/officeDocument/2006/relationships/image" Target="../media/image19.wmf"/><Relationship Id="rId10" Type="http://schemas.openxmlformats.org/officeDocument/2006/relationships/tags" Target="../tags/tag373.xml"/><Relationship Id="rId19" Type="http://schemas.openxmlformats.org/officeDocument/2006/relationships/tags" Target="../tags/tag382.xml"/><Relationship Id="rId31" Type="http://schemas.openxmlformats.org/officeDocument/2006/relationships/tags" Target="../tags/tag394.xml"/><Relationship Id="rId44" Type="http://schemas.openxmlformats.org/officeDocument/2006/relationships/tags" Target="../tags/tag407.xml"/><Relationship Id="rId4" Type="http://schemas.openxmlformats.org/officeDocument/2006/relationships/tags" Target="../tags/tag367.xml"/><Relationship Id="rId9" Type="http://schemas.openxmlformats.org/officeDocument/2006/relationships/tags" Target="../tags/tag372.xml"/><Relationship Id="rId14" Type="http://schemas.openxmlformats.org/officeDocument/2006/relationships/tags" Target="../tags/tag377.xml"/><Relationship Id="rId22" Type="http://schemas.openxmlformats.org/officeDocument/2006/relationships/tags" Target="../tags/tag385.xml"/><Relationship Id="rId27" Type="http://schemas.openxmlformats.org/officeDocument/2006/relationships/tags" Target="../tags/tag390.xml"/><Relationship Id="rId30" Type="http://schemas.openxmlformats.org/officeDocument/2006/relationships/tags" Target="../tags/tag393.xml"/><Relationship Id="rId35" Type="http://schemas.openxmlformats.org/officeDocument/2006/relationships/tags" Target="../tags/tag398.xml"/><Relationship Id="rId43" Type="http://schemas.openxmlformats.org/officeDocument/2006/relationships/tags" Target="../tags/tag406.xml"/><Relationship Id="rId48" Type="http://schemas.openxmlformats.org/officeDocument/2006/relationships/package" Target="../embeddings/Microsoft_Excel_Worksheet4.xlsx"/><Relationship Id="rId8" Type="http://schemas.openxmlformats.org/officeDocument/2006/relationships/tags" Target="../tags/tag371.xml"/></Relationships>
</file>

<file path=ppt/slides/_rels/slide57.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tags" Target="../tags/tag421.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tags" Target="../tags/tag420.xml"/><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tags" Target="../tags/tag414.xml"/><Relationship Id="rId11" Type="http://schemas.openxmlformats.org/officeDocument/2006/relationships/tags" Target="../tags/tag419.xml"/><Relationship Id="rId5" Type="http://schemas.openxmlformats.org/officeDocument/2006/relationships/tags" Target="../tags/tag413.xml"/><Relationship Id="rId10" Type="http://schemas.openxmlformats.org/officeDocument/2006/relationships/tags" Target="../tags/tag418.xml"/><Relationship Id="rId4" Type="http://schemas.openxmlformats.org/officeDocument/2006/relationships/tags" Target="../tags/tag412.xml"/><Relationship Id="rId9" Type="http://schemas.openxmlformats.org/officeDocument/2006/relationships/tags" Target="../tags/tag417.xml"/><Relationship Id="rId14"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8" Type="http://schemas.openxmlformats.org/officeDocument/2006/relationships/tags" Target="../tags/tag429.xml"/><Relationship Id="rId13" Type="http://schemas.openxmlformats.org/officeDocument/2006/relationships/tags" Target="../tags/tag434.xml"/><Relationship Id="rId3" Type="http://schemas.openxmlformats.org/officeDocument/2006/relationships/tags" Target="../tags/tag424.xml"/><Relationship Id="rId7" Type="http://schemas.openxmlformats.org/officeDocument/2006/relationships/tags" Target="../tags/tag428.xml"/><Relationship Id="rId12" Type="http://schemas.openxmlformats.org/officeDocument/2006/relationships/tags" Target="../tags/tag433.xml"/><Relationship Id="rId2" Type="http://schemas.openxmlformats.org/officeDocument/2006/relationships/tags" Target="../tags/tag423.xml"/><Relationship Id="rId16" Type="http://schemas.openxmlformats.org/officeDocument/2006/relationships/slideLayout" Target="../slideLayouts/slideLayout3.xml"/><Relationship Id="rId1" Type="http://schemas.openxmlformats.org/officeDocument/2006/relationships/tags" Target="../tags/tag422.xml"/><Relationship Id="rId6" Type="http://schemas.openxmlformats.org/officeDocument/2006/relationships/tags" Target="../tags/tag427.xml"/><Relationship Id="rId11" Type="http://schemas.openxmlformats.org/officeDocument/2006/relationships/tags" Target="../tags/tag432.xml"/><Relationship Id="rId5" Type="http://schemas.openxmlformats.org/officeDocument/2006/relationships/tags" Target="../tags/tag426.xml"/><Relationship Id="rId15" Type="http://schemas.openxmlformats.org/officeDocument/2006/relationships/tags" Target="../tags/tag436.xml"/><Relationship Id="rId10" Type="http://schemas.openxmlformats.org/officeDocument/2006/relationships/tags" Target="../tags/tag431.xml"/><Relationship Id="rId4" Type="http://schemas.openxmlformats.org/officeDocument/2006/relationships/tags" Target="../tags/tag425.xml"/><Relationship Id="rId9" Type="http://schemas.openxmlformats.org/officeDocument/2006/relationships/tags" Target="../tags/tag430.xml"/><Relationship Id="rId14" Type="http://schemas.openxmlformats.org/officeDocument/2006/relationships/tags" Target="../tags/tag435.xml"/></Relationships>
</file>

<file path=ppt/slides/_rels/slide59.xml.rels><?xml version="1.0" encoding="UTF-8" standalone="yes"?>
<Relationships xmlns="http://schemas.openxmlformats.org/package/2006/relationships"><Relationship Id="rId8" Type="http://schemas.openxmlformats.org/officeDocument/2006/relationships/tags" Target="../tags/tag444.xml"/><Relationship Id="rId13" Type="http://schemas.openxmlformats.org/officeDocument/2006/relationships/tags" Target="../tags/tag449.xml"/><Relationship Id="rId18" Type="http://schemas.openxmlformats.org/officeDocument/2006/relationships/tags" Target="../tags/tag454.xml"/><Relationship Id="rId3" Type="http://schemas.openxmlformats.org/officeDocument/2006/relationships/tags" Target="../tags/tag439.xml"/><Relationship Id="rId7" Type="http://schemas.openxmlformats.org/officeDocument/2006/relationships/tags" Target="../tags/tag443.xml"/><Relationship Id="rId12" Type="http://schemas.openxmlformats.org/officeDocument/2006/relationships/tags" Target="../tags/tag448.xml"/><Relationship Id="rId17" Type="http://schemas.openxmlformats.org/officeDocument/2006/relationships/tags" Target="../tags/tag453.xml"/><Relationship Id="rId2" Type="http://schemas.openxmlformats.org/officeDocument/2006/relationships/tags" Target="../tags/tag438.xml"/><Relationship Id="rId16" Type="http://schemas.openxmlformats.org/officeDocument/2006/relationships/tags" Target="../tags/tag452.xml"/><Relationship Id="rId20" Type="http://schemas.openxmlformats.org/officeDocument/2006/relationships/slideLayout" Target="../slideLayouts/slideLayout3.xm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tags" Target="../tags/tag447.xml"/><Relationship Id="rId5" Type="http://schemas.openxmlformats.org/officeDocument/2006/relationships/tags" Target="../tags/tag441.xml"/><Relationship Id="rId15" Type="http://schemas.openxmlformats.org/officeDocument/2006/relationships/tags" Target="../tags/tag451.xml"/><Relationship Id="rId10" Type="http://schemas.openxmlformats.org/officeDocument/2006/relationships/tags" Target="../tags/tag446.xml"/><Relationship Id="rId19" Type="http://schemas.openxmlformats.org/officeDocument/2006/relationships/tags" Target="../tags/tag455.xml"/><Relationship Id="rId4" Type="http://schemas.openxmlformats.org/officeDocument/2006/relationships/tags" Target="../tags/tag440.xml"/><Relationship Id="rId9" Type="http://schemas.openxmlformats.org/officeDocument/2006/relationships/tags" Target="../tags/tag445.xml"/><Relationship Id="rId14" Type="http://schemas.openxmlformats.org/officeDocument/2006/relationships/tags" Target="../tags/tag45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hyperlink" Target="http://clients.rte-france.com/lang/an/clients_traders_fournisseurs/services_clients/inter_france_allemagne.jsp" TargetMode="Externa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76.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77.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78.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28.xml"/><Relationship Id="rId1" Type="http://schemas.openxmlformats.org/officeDocument/2006/relationships/slideLayout" Target="../slideLayouts/slideLayout27.xml"/><Relationship Id="rId4" Type="http://schemas.openxmlformats.org/officeDocument/2006/relationships/image" Target="../media/image58.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31.xml"/><Relationship Id="rId1" Type="http://schemas.openxmlformats.org/officeDocument/2006/relationships/slideLayout" Target="../slideLayouts/slideLayout2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image" Target="../media/image62.png"/><Relationship Id="rId1" Type="http://schemas.openxmlformats.org/officeDocument/2006/relationships/slideLayout" Target="../slideLayouts/slideLayout3.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56.xml"/><Relationship Id="rId1" Type="http://schemas.openxmlformats.org/officeDocument/2006/relationships/vmlDrawing" Target="../drawings/vmlDrawing8.vml"/><Relationship Id="rId5" Type="http://schemas.openxmlformats.org/officeDocument/2006/relationships/image" Target="../media/image18.emf"/><Relationship Id="rId4" Type="http://schemas.openxmlformats.org/officeDocument/2006/relationships/oleObject" Target="../embeddings/oleObject8.bin"/></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57.xml"/><Relationship Id="rId1" Type="http://schemas.openxmlformats.org/officeDocument/2006/relationships/vmlDrawing" Target="../drawings/vmlDrawing9.vml"/><Relationship Id="rId5" Type="http://schemas.openxmlformats.org/officeDocument/2006/relationships/image" Target="../media/image18.emf"/><Relationship Id="rId4" Type="http://schemas.openxmlformats.org/officeDocument/2006/relationships/oleObject" Target="../embeddings/oleObject9.bin"/></Relationships>
</file>

<file path=ppt/slides/_rels/slide99.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09550" y="188259"/>
            <a:ext cx="1043829" cy="1147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a:xfrm>
            <a:off x="2238586" y="2322663"/>
            <a:ext cx="6329361" cy="809625"/>
          </a:xfrm>
        </p:spPr>
        <p:txBody>
          <a:bodyPr/>
          <a:lstStyle/>
          <a:p>
            <a:r>
              <a:rPr lang="en-US" dirty="0" smtClean="0"/>
              <a:t/>
            </a:r>
            <a:br>
              <a:rPr lang="en-US" dirty="0" smtClean="0"/>
            </a:br>
            <a:r>
              <a:rPr lang="en-US" dirty="0"/>
              <a:t/>
            </a:r>
            <a:br>
              <a:rPr lang="en-US" dirty="0"/>
            </a:br>
            <a:r>
              <a:rPr lang="en-US" dirty="0" smtClean="0"/>
              <a:t>Cross </a:t>
            </a:r>
            <a:r>
              <a:rPr lang="en-US" dirty="0"/>
              <a:t>Border Intraday (XBID) Trading Solution Pre-launch Event </a:t>
            </a:r>
            <a:endParaRPr lang="en-GB" dirty="0"/>
          </a:p>
        </p:txBody>
      </p:sp>
      <p:sp>
        <p:nvSpPr>
          <p:cNvPr id="6" name="Text Placeholder 5"/>
          <p:cNvSpPr>
            <a:spLocks noGrp="1"/>
          </p:cNvSpPr>
          <p:nvPr>
            <p:ph type="body" sz="quarter" idx="14"/>
          </p:nvPr>
        </p:nvSpPr>
        <p:spPr/>
        <p:txBody>
          <a:bodyPr/>
          <a:lstStyle/>
          <a:p>
            <a:r>
              <a:rPr lang="en-GB" dirty="0"/>
              <a:t>Brussels, </a:t>
            </a:r>
            <a:r>
              <a:rPr lang="en-GB" dirty="0" smtClean="0"/>
              <a:t>31st </a:t>
            </a:r>
            <a:r>
              <a:rPr lang="en-GB" dirty="0"/>
              <a:t>January 2018</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tra-day versus Day-ahead </a:t>
            </a:r>
            <a:br>
              <a:rPr lang="en-US" dirty="0"/>
            </a:br>
            <a:r>
              <a:rPr lang="en-US" dirty="0"/>
              <a:t>– What are the challenges?</a:t>
            </a:r>
            <a:endParaRPr lang="de-DE" dirty="0"/>
          </a:p>
        </p:txBody>
      </p:sp>
      <p:sp>
        <p:nvSpPr>
          <p:cNvPr id="3" name="Foliennummernplatzhalter 2"/>
          <p:cNvSpPr>
            <a:spLocks noGrp="1"/>
          </p:cNvSpPr>
          <p:nvPr>
            <p:ph type="sldNum" sz="quarter" idx="11"/>
          </p:nvPr>
        </p:nvSpPr>
        <p:spPr/>
        <p:txBody>
          <a:bodyPr/>
          <a:lstStyle/>
          <a:p>
            <a:fld id="{AD89DE65-C7D9-40CE-B96E-B8C3E7B233C5}" type="slidenum">
              <a:rPr lang="de-DE" smtClean="0"/>
              <a:pPr/>
              <a:t>10</a:t>
            </a:fld>
            <a:endParaRPr lang="de-DE" dirty="0"/>
          </a:p>
        </p:txBody>
      </p:sp>
      <p:sp>
        <p:nvSpPr>
          <p:cNvPr id="4" name="Textplatzhalter 3"/>
          <p:cNvSpPr>
            <a:spLocks noGrp="1"/>
          </p:cNvSpPr>
          <p:nvPr>
            <p:ph type="body" sz="quarter" idx="13"/>
          </p:nvPr>
        </p:nvSpPr>
        <p:spPr>
          <a:xfrm>
            <a:off x="539750" y="1781174"/>
            <a:ext cx="3909600" cy="4554825"/>
          </a:xfrm>
          <a:noFill/>
          <a:ln w="19050">
            <a:solidFill>
              <a:schemeClr val="accent2"/>
            </a:solidFill>
          </a:ln>
        </p:spPr>
        <p:txBody>
          <a:bodyPr/>
          <a:lstStyle/>
          <a:p>
            <a:pPr marL="342900" indent="-342900" algn="ctr">
              <a:buNone/>
              <a:defRPr/>
            </a:pPr>
            <a:r>
              <a:rPr lang="en-GB" b="1" dirty="0">
                <a:latin typeface="Arial" pitchFamily="34" charset="0"/>
                <a:ea typeface="MS PGothic" pitchFamily="34" charset="-128"/>
                <a:cs typeface="Arial" pitchFamily="34" charset="0"/>
              </a:rPr>
              <a:t>Intraday</a:t>
            </a:r>
          </a:p>
          <a:p>
            <a:pPr marL="342900" indent="-342900">
              <a:defRPr/>
            </a:pPr>
            <a:endParaRPr lang="en-GB" dirty="0">
              <a:latin typeface="Arial" pitchFamily="34" charset="0"/>
              <a:ea typeface="MS PGothic" pitchFamily="34" charset="-128"/>
              <a:cs typeface="Arial" pitchFamily="34" charset="0"/>
            </a:endParaRPr>
          </a:p>
          <a:p>
            <a:pPr marL="523875" lvl="1" indent="-342900">
              <a:buClrTx/>
              <a:defRPr/>
            </a:pPr>
            <a:r>
              <a:rPr lang="en-GB" dirty="0">
                <a:latin typeface="Arial" pitchFamily="34" charset="0"/>
                <a:ea typeface="MS PGothic" pitchFamily="34" charset="-128"/>
                <a:cs typeface="Arial" pitchFamily="34" charset="0"/>
              </a:rPr>
              <a:t>Continuous trading close to real time</a:t>
            </a:r>
          </a:p>
          <a:p>
            <a:pPr marL="923925" lvl="2" indent="-285750">
              <a:buSzPct val="50000"/>
              <a:defRPr/>
            </a:pPr>
            <a:r>
              <a:rPr lang="en-GB" dirty="0">
                <a:latin typeface="Arial" pitchFamily="34" charset="0"/>
                <a:ea typeface="MS PGothic" pitchFamily="34" charset="-128"/>
                <a:cs typeface="Arial" pitchFamily="34" charset="0"/>
              </a:rPr>
              <a:t>Increases system security challenges</a:t>
            </a:r>
          </a:p>
          <a:p>
            <a:pPr marL="923925" lvl="2" indent="-285750">
              <a:buSzPct val="50000"/>
              <a:defRPr/>
            </a:pPr>
            <a:r>
              <a:rPr lang="en-GB" dirty="0">
                <a:latin typeface="Arial" pitchFamily="34" charset="0"/>
                <a:ea typeface="MS PGothic" pitchFamily="34" charset="-128"/>
                <a:cs typeface="Arial" pitchFamily="34" charset="0"/>
              </a:rPr>
              <a:t>Increases IT performance requiremen</a:t>
            </a:r>
            <a:r>
              <a:rPr lang="en-GB" sz="1600" dirty="0">
                <a:latin typeface="Arial" pitchFamily="34" charset="0"/>
                <a:ea typeface="MS PGothic" pitchFamily="34" charset="-128"/>
                <a:cs typeface="Arial" pitchFamily="34" charset="0"/>
              </a:rPr>
              <a:t>t</a:t>
            </a:r>
          </a:p>
          <a:p>
            <a:pPr marL="523875" lvl="1" indent="-342900">
              <a:buClrTx/>
              <a:defRPr/>
            </a:pPr>
            <a:r>
              <a:rPr lang="en-GB" dirty="0">
                <a:latin typeface="Arial" pitchFamily="34" charset="0"/>
                <a:ea typeface="MS PGothic" pitchFamily="34" charset="-128"/>
                <a:cs typeface="Arial" pitchFamily="34" charset="0"/>
              </a:rPr>
              <a:t>Equal treatment / legal requirements between</a:t>
            </a:r>
          </a:p>
          <a:p>
            <a:pPr marL="923925" lvl="2" indent="-285750">
              <a:buSzPct val="50000"/>
              <a:defRPr/>
            </a:pPr>
            <a:r>
              <a:rPr lang="en-GB" dirty="0">
                <a:latin typeface="Arial" pitchFamily="34" charset="0"/>
                <a:ea typeface="MS PGothic" pitchFamily="34" charset="-128"/>
                <a:cs typeface="Arial" pitchFamily="34" charset="0"/>
              </a:rPr>
              <a:t>Explicit and Implicit</a:t>
            </a:r>
          </a:p>
          <a:p>
            <a:pPr marL="923925" lvl="2" indent="-285750">
              <a:buSzPct val="50000"/>
              <a:defRPr/>
            </a:pPr>
            <a:r>
              <a:rPr lang="en-GB" dirty="0">
                <a:latin typeface="Arial" pitchFamily="34" charset="0"/>
                <a:ea typeface="MS PGothic" pitchFamily="34" charset="-128"/>
                <a:cs typeface="Arial" pitchFamily="34" charset="0"/>
              </a:rPr>
              <a:t>Local trading solutions</a:t>
            </a:r>
          </a:p>
          <a:p>
            <a:pPr marL="923925" lvl="2" indent="-285750">
              <a:buSzPct val="50000"/>
              <a:defRPr/>
            </a:pPr>
            <a:r>
              <a:rPr lang="en-GB" dirty="0">
                <a:latin typeface="Arial" pitchFamily="34" charset="0"/>
                <a:ea typeface="MS PGothic" pitchFamily="34" charset="-128"/>
                <a:cs typeface="Arial" pitchFamily="34" charset="0"/>
              </a:rPr>
              <a:t>PXs</a:t>
            </a:r>
          </a:p>
          <a:p>
            <a:pPr marL="523875" lvl="1" indent="-342900">
              <a:buClrTx/>
              <a:defRPr/>
            </a:pPr>
            <a:r>
              <a:rPr lang="en-GB" dirty="0">
                <a:latin typeface="Arial" pitchFamily="34" charset="0"/>
                <a:ea typeface="MS PGothic" pitchFamily="34" charset="-128"/>
                <a:cs typeface="Arial" pitchFamily="34" charset="0"/>
              </a:rPr>
              <a:t>Pan-European solution</a:t>
            </a:r>
          </a:p>
          <a:p>
            <a:endParaRPr lang="de-DE" dirty="0"/>
          </a:p>
        </p:txBody>
      </p:sp>
      <p:sp>
        <p:nvSpPr>
          <p:cNvPr id="5" name="Textplatzhalter 4"/>
          <p:cNvSpPr>
            <a:spLocks noGrp="1"/>
          </p:cNvSpPr>
          <p:nvPr>
            <p:ph type="body" sz="quarter" idx="14"/>
          </p:nvPr>
        </p:nvSpPr>
        <p:spPr>
          <a:xfrm>
            <a:off x="4675600" y="1781174"/>
            <a:ext cx="3909600" cy="4554825"/>
          </a:xfrm>
          <a:noFill/>
          <a:ln w="19050">
            <a:solidFill>
              <a:schemeClr val="accent2"/>
            </a:solidFill>
          </a:ln>
        </p:spPr>
        <p:txBody>
          <a:bodyPr vert="horz" lIns="0" tIns="0" rIns="0" bIns="0" rtlCol="0">
            <a:normAutofit/>
          </a:bodyPr>
          <a:lstStyle/>
          <a:p>
            <a:pPr marL="342900" indent="-342900" algn="ctr">
              <a:buNone/>
            </a:pPr>
            <a:r>
              <a:rPr lang="en-GB" b="1" dirty="0">
                <a:latin typeface="Arial" pitchFamily="34" charset="0"/>
                <a:ea typeface="MS PGothic" pitchFamily="34" charset="-128"/>
                <a:cs typeface="Arial" pitchFamily="34" charset="0"/>
              </a:rPr>
              <a:t>Day Ahead </a:t>
            </a:r>
          </a:p>
          <a:p>
            <a:pPr marL="342900" indent="-342900" algn="ctr">
              <a:buNone/>
            </a:pPr>
            <a:r>
              <a:rPr lang="en-GB" b="1" dirty="0">
                <a:latin typeface="Arial" pitchFamily="34" charset="0"/>
                <a:ea typeface="MS PGothic" pitchFamily="34" charset="-128"/>
                <a:cs typeface="Arial" pitchFamily="34" charset="0"/>
              </a:rPr>
              <a:t>(took 4 years to deliver)</a:t>
            </a:r>
          </a:p>
          <a:p>
            <a:pPr marL="523875" lvl="1" indent="-342900">
              <a:buClrTx/>
            </a:pPr>
            <a:r>
              <a:rPr lang="en-GB" dirty="0">
                <a:latin typeface="Arial" pitchFamily="34" charset="0"/>
                <a:ea typeface="MS PGothic" pitchFamily="34" charset="-128"/>
                <a:cs typeface="Arial" pitchFamily="34" charset="0"/>
              </a:rPr>
              <a:t>Single allocation each day with time to calculate results</a:t>
            </a:r>
          </a:p>
          <a:p>
            <a:pPr marL="523875" lvl="1" indent="-342900">
              <a:buClrTx/>
            </a:pPr>
            <a:r>
              <a:rPr lang="en-GB" dirty="0">
                <a:latin typeface="Arial" pitchFamily="34" charset="0"/>
                <a:ea typeface="MS PGothic" pitchFamily="34" charset="-128"/>
                <a:cs typeface="Arial" pitchFamily="34" charset="0"/>
              </a:rPr>
              <a:t>Evolution of existing solutions</a:t>
            </a:r>
          </a:p>
          <a:p>
            <a:pPr marL="523875" lvl="1" indent="-342900">
              <a:buClrTx/>
            </a:pPr>
            <a:r>
              <a:rPr lang="en-GB" dirty="0">
                <a:latin typeface="Arial" pitchFamily="34" charset="0"/>
                <a:ea typeface="MS PGothic" pitchFamily="34" charset="-128"/>
                <a:cs typeface="Arial" pitchFamily="34" charset="0"/>
              </a:rPr>
              <a:t>Implicit only</a:t>
            </a:r>
          </a:p>
          <a:p>
            <a:pPr marL="523875" lvl="1" indent="-342900">
              <a:buClrTx/>
            </a:pPr>
            <a:r>
              <a:rPr lang="en-GB" dirty="0">
                <a:latin typeface="Arial" pitchFamily="34" charset="0"/>
                <a:ea typeface="MS PGothic" pitchFamily="34" charset="-128"/>
                <a:cs typeface="Arial" pitchFamily="34" charset="0"/>
              </a:rPr>
              <a:t>Progressive implementation throughout Europe</a:t>
            </a:r>
          </a:p>
          <a:p>
            <a:pPr marL="342900" indent="-342900" algn="ctr">
              <a:buNone/>
            </a:pPr>
            <a:endParaRPr lang="de-DE" b="1" dirty="0">
              <a:latin typeface="Arial" pitchFamily="34" charset="0"/>
              <a:ea typeface="MS PGothic" pitchFamily="34" charset="-128"/>
              <a:cs typeface="Arial" pitchFamily="34" charset="0"/>
            </a:endParaRPr>
          </a:p>
        </p:txBody>
      </p:sp>
    </p:spTree>
    <p:extLst>
      <p:ext uri="{BB962C8B-B14F-4D97-AF65-F5344CB8AC3E}">
        <p14:creationId xmlns:p14="http://schemas.microsoft.com/office/powerpoint/2010/main" val="3098752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pPr>
              <a:defRPr/>
            </a:pPr>
            <a:fld id="{D383EB99-40B2-4176-B4FA-CDBAA950DF99}" type="slidenum">
              <a:rPr lang="en-US" altLang="en-US" smtClean="0"/>
              <a:pPr>
                <a:defRPr/>
              </a:pPr>
              <a:t>100</a:t>
            </a:fld>
            <a:endParaRPr lang="en-US" altLang="en-US" dirty="0"/>
          </a:p>
        </p:txBody>
      </p:sp>
      <p:sp>
        <p:nvSpPr>
          <p:cNvPr id="3" name="Textplatzhalter 2"/>
          <p:cNvSpPr>
            <a:spLocks noGrp="1"/>
          </p:cNvSpPr>
          <p:nvPr>
            <p:ph type="body" sz="quarter" idx="17"/>
          </p:nvPr>
        </p:nvSpPr>
        <p:spPr/>
        <p:txBody>
          <a:bodyPr/>
          <a:lstStyle/>
          <a:p>
            <a:r>
              <a:rPr lang="de-DE" dirty="0" smtClean="0"/>
              <a:t>Q&amp;A</a:t>
            </a:r>
            <a:endParaRPr lang="de-DE" dirty="0"/>
          </a:p>
        </p:txBody>
      </p:sp>
      <p:pic>
        <p:nvPicPr>
          <p:cNvPr id="4" name="Imagen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87107" y="2704299"/>
            <a:ext cx="2531935" cy="2531935"/>
          </a:xfrm>
          <a:prstGeom prst="rect">
            <a:avLst/>
          </a:prstGeom>
        </p:spPr>
      </p:pic>
    </p:spTree>
    <p:extLst>
      <p:ext uri="{BB962C8B-B14F-4D97-AF65-F5344CB8AC3E}">
        <p14:creationId xmlns:p14="http://schemas.microsoft.com/office/powerpoint/2010/main" val="1928786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255840" y="4123427"/>
            <a:ext cx="6329361" cy="809625"/>
          </a:xfrm>
        </p:spPr>
        <p:txBody>
          <a:bodyPr/>
          <a:lstStyle/>
          <a:p>
            <a:r>
              <a:rPr lang="en-GB" dirty="0"/>
              <a:t>Thank you very much for your attention</a:t>
            </a:r>
            <a:r>
              <a:rPr lang="en-GB" dirty="0" smtClean="0"/>
              <a:t>! </a:t>
            </a:r>
            <a:br>
              <a:rPr lang="en-GB" dirty="0" smtClean="0"/>
            </a:br>
            <a:r>
              <a:rPr lang="en-GB" dirty="0"/>
              <a:t/>
            </a:r>
            <a:br>
              <a:rPr lang="en-GB" dirty="0"/>
            </a:br>
            <a:r>
              <a:rPr lang="en-GB" i="1" dirty="0" smtClean="0">
                <a:solidFill>
                  <a:schemeClr val="accent2"/>
                </a:solidFill>
              </a:rPr>
              <a:t>We will send you a copy of today’s slides</a:t>
            </a:r>
            <a:r>
              <a:rPr lang="en-GB" dirty="0"/>
              <a:t/>
            </a:r>
            <a:br>
              <a:rPr lang="en-GB" dirty="0"/>
            </a:br>
            <a:r>
              <a:rPr lang="en-GB" dirty="0"/>
              <a:t/>
            </a:r>
            <a:br>
              <a:rPr lang="en-GB" dirty="0"/>
            </a:br>
            <a:r>
              <a:rPr lang="en-GB" dirty="0" smtClean="0"/>
              <a:t>You are welcome to stay for the </a:t>
            </a:r>
            <a:r>
              <a:rPr lang="en-US" dirty="0" smtClean="0"/>
              <a:t>get </a:t>
            </a:r>
            <a:r>
              <a:rPr lang="en-US" dirty="0"/>
              <a:t>together </a:t>
            </a:r>
            <a:r>
              <a:rPr lang="en-US" dirty="0" smtClean="0"/>
              <a:t>16:00-17:00</a:t>
            </a:r>
            <a:r>
              <a:rPr lang="en-GB" dirty="0"/>
              <a:t/>
            </a:r>
            <a:br>
              <a:rPr lang="en-GB" dirty="0"/>
            </a:br>
            <a:r>
              <a:rPr lang="en-GB" dirty="0" smtClean="0"/>
              <a:t/>
            </a:r>
            <a:br>
              <a:rPr lang="en-GB" dirty="0" smtClean="0"/>
            </a:br>
            <a:r>
              <a:rPr lang="en-GB" dirty="0" smtClean="0"/>
              <a:t>A </a:t>
            </a:r>
            <a:r>
              <a:rPr lang="en-GB" dirty="0"/>
              <a:t>safe journey </a:t>
            </a:r>
            <a:r>
              <a:rPr lang="en-GB" dirty="0" smtClean="0"/>
              <a:t>home…</a:t>
            </a:r>
            <a:endParaRPr lang="en-GB" dirty="0"/>
          </a:p>
        </p:txBody>
      </p:sp>
    </p:spTree>
    <p:extLst>
      <p:ext uri="{BB962C8B-B14F-4D97-AF65-F5344CB8AC3E}">
        <p14:creationId xmlns:p14="http://schemas.microsoft.com/office/powerpoint/2010/main" val="657486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28"/>
          </p:nvPr>
        </p:nvSpPr>
        <p:spPr/>
        <p:txBody>
          <a:bodyPr/>
          <a:lstStyle/>
          <a:p>
            <a:r>
              <a:rPr lang="en-GB" sz="1600" dirty="0">
                <a:solidFill>
                  <a:schemeClr val="accent1"/>
                </a:solidFill>
              </a:rPr>
              <a:t>Demanding requirements</a:t>
            </a:r>
          </a:p>
          <a:p>
            <a:endParaRPr lang="de-DE" sz="1600" dirty="0"/>
          </a:p>
        </p:txBody>
      </p:sp>
      <p:sp>
        <p:nvSpPr>
          <p:cNvPr id="3" name="Textplatzhalter 2"/>
          <p:cNvSpPr>
            <a:spLocks noGrp="1"/>
          </p:cNvSpPr>
          <p:nvPr>
            <p:ph type="body" sz="quarter" idx="30"/>
          </p:nvPr>
        </p:nvSpPr>
        <p:spPr/>
        <p:txBody>
          <a:bodyPr/>
          <a:lstStyle/>
          <a:p>
            <a:r>
              <a:rPr lang="en-GB" sz="1600" dirty="0">
                <a:solidFill>
                  <a:schemeClr val="accent1"/>
                </a:solidFill>
              </a:rPr>
              <a:t>Contractual Challenges</a:t>
            </a:r>
          </a:p>
          <a:p>
            <a:endParaRPr lang="de-DE" sz="1600" dirty="0"/>
          </a:p>
        </p:txBody>
      </p:sp>
      <p:sp>
        <p:nvSpPr>
          <p:cNvPr id="4" name="Titel 3"/>
          <p:cNvSpPr>
            <a:spLocks noGrp="1"/>
          </p:cNvSpPr>
          <p:nvPr>
            <p:ph type="title"/>
          </p:nvPr>
        </p:nvSpPr>
        <p:spPr/>
        <p:txBody>
          <a:bodyPr/>
          <a:lstStyle/>
          <a:p>
            <a:r>
              <a:rPr lang="en-GB" dirty="0"/>
              <a:t>XBID complexity</a:t>
            </a:r>
            <a:endParaRPr lang="de-DE" dirty="0"/>
          </a:p>
        </p:txBody>
      </p:sp>
      <p:sp>
        <p:nvSpPr>
          <p:cNvPr id="5" name="Foliennummernplatzhalter 4"/>
          <p:cNvSpPr>
            <a:spLocks noGrp="1"/>
          </p:cNvSpPr>
          <p:nvPr>
            <p:ph type="sldNum" sz="quarter" idx="11"/>
          </p:nvPr>
        </p:nvSpPr>
        <p:spPr/>
        <p:txBody>
          <a:bodyPr/>
          <a:lstStyle/>
          <a:p>
            <a:fld id="{AD89DE65-C7D9-40CE-B96E-B8C3E7B233C5}" type="slidenum">
              <a:rPr lang="de-DE" smtClean="0"/>
              <a:pPr/>
              <a:t>11</a:t>
            </a:fld>
            <a:endParaRPr lang="de-DE" dirty="0"/>
          </a:p>
        </p:txBody>
      </p:sp>
      <p:sp>
        <p:nvSpPr>
          <p:cNvPr id="6" name="Textplatzhalter 5"/>
          <p:cNvSpPr>
            <a:spLocks noGrp="1"/>
          </p:cNvSpPr>
          <p:nvPr>
            <p:ph type="body" sz="quarter" idx="27"/>
          </p:nvPr>
        </p:nvSpPr>
        <p:spPr/>
        <p:txBody>
          <a:bodyPr/>
          <a:lstStyle/>
          <a:p>
            <a:r>
              <a:rPr lang="en-GB" sz="1600" dirty="0">
                <a:solidFill>
                  <a:schemeClr val="accent1"/>
                </a:solidFill>
              </a:rPr>
              <a:t>Competitive Environment</a:t>
            </a:r>
          </a:p>
          <a:p>
            <a:endParaRPr lang="de-DE" sz="1600" dirty="0"/>
          </a:p>
        </p:txBody>
      </p:sp>
      <p:sp>
        <p:nvSpPr>
          <p:cNvPr id="7" name="Textplatzhalter 6"/>
          <p:cNvSpPr>
            <a:spLocks noGrp="1"/>
          </p:cNvSpPr>
          <p:nvPr>
            <p:ph type="body" sz="quarter" idx="31"/>
          </p:nvPr>
        </p:nvSpPr>
        <p:spPr/>
        <p:txBody>
          <a:bodyPr/>
          <a:lstStyle/>
          <a:p>
            <a:r>
              <a:rPr lang="en-GB" sz="1600" dirty="0">
                <a:solidFill>
                  <a:schemeClr val="accent1"/>
                </a:solidFill>
              </a:rPr>
              <a:t>Legislative /Regulatory</a:t>
            </a:r>
          </a:p>
          <a:p>
            <a:endParaRPr lang="de-DE" sz="1600" dirty="0"/>
          </a:p>
        </p:txBody>
      </p:sp>
      <p:sp>
        <p:nvSpPr>
          <p:cNvPr id="8" name="Textplatzhalter 7"/>
          <p:cNvSpPr>
            <a:spLocks noGrp="1"/>
          </p:cNvSpPr>
          <p:nvPr>
            <p:ph type="body" sz="quarter" idx="35"/>
          </p:nvPr>
        </p:nvSpPr>
        <p:spPr>
          <a:solidFill>
            <a:schemeClr val="accent2"/>
          </a:solidFill>
        </p:spPr>
        <p:txBody>
          <a:bodyPr>
            <a:normAutofit/>
          </a:bodyPr>
          <a:lstStyle/>
          <a:p>
            <a:r>
              <a:rPr lang="en-GB" sz="2000" dirty="0">
                <a:solidFill>
                  <a:srgbClr val="FFFFFF"/>
                </a:solidFill>
              </a:rPr>
              <a:t>Multi-party</a:t>
            </a:r>
          </a:p>
          <a:p>
            <a:r>
              <a:rPr lang="en-GB" sz="2000" dirty="0">
                <a:solidFill>
                  <a:srgbClr val="FFFFFF"/>
                </a:solidFill>
              </a:rPr>
              <a:t>Governance</a:t>
            </a:r>
          </a:p>
          <a:p>
            <a:r>
              <a:rPr lang="en-GB" sz="2000" dirty="0">
                <a:solidFill>
                  <a:srgbClr val="FFFFFF"/>
                </a:solidFill>
              </a:rPr>
              <a:t>- consensus</a:t>
            </a:r>
          </a:p>
          <a:p>
            <a:endParaRPr lang="de-DE" sz="2000" dirty="0"/>
          </a:p>
        </p:txBody>
      </p:sp>
      <p:sp>
        <p:nvSpPr>
          <p:cNvPr id="9" name="Textplatzhalter 8"/>
          <p:cNvSpPr>
            <a:spLocks noGrp="1"/>
          </p:cNvSpPr>
          <p:nvPr>
            <p:ph type="body" sz="quarter" idx="37"/>
          </p:nvPr>
        </p:nvSpPr>
        <p:spPr>
          <a:xfrm>
            <a:off x="552448" y="1992225"/>
            <a:ext cx="2781302" cy="1692000"/>
          </a:xfrm>
        </p:spPr>
        <p:txBody>
          <a:bodyPr/>
          <a:lstStyle/>
          <a:p>
            <a:r>
              <a:rPr lang="en-GB" sz="1600" dirty="0"/>
              <a:t>Multi-NEMOs</a:t>
            </a:r>
          </a:p>
          <a:p>
            <a:pPr algn="l"/>
            <a:r>
              <a:rPr lang="en-GB" sz="1600" dirty="0"/>
              <a:t>Range of providers of Trading Solutions</a:t>
            </a:r>
          </a:p>
          <a:p>
            <a:pPr algn="l"/>
            <a:r>
              <a:rPr lang="en-GB" sz="1600" dirty="0"/>
              <a:t>Equal treatment</a:t>
            </a:r>
          </a:p>
          <a:p>
            <a:endParaRPr lang="de-DE" sz="1600" dirty="0"/>
          </a:p>
        </p:txBody>
      </p:sp>
      <p:sp>
        <p:nvSpPr>
          <p:cNvPr id="10" name="Textplatzhalter 9"/>
          <p:cNvSpPr>
            <a:spLocks noGrp="1"/>
          </p:cNvSpPr>
          <p:nvPr>
            <p:ph type="body" sz="quarter" idx="38"/>
          </p:nvPr>
        </p:nvSpPr>
        <p:spPr>
          <a:xfrm>
            <a:off x="552448" y="4591050"/>
            <a:ext cx="2884184" cy="1692000"/>
          </a:xfrm>
        </p:spPr>
        <p:txBody>
          <a:bodyPr/>
          <a:lstStyle/>
          <a:p>
            <a:pPr algn="l"/>
            <a:r>
              <a:rPr lang="en-GB" sz="1600" dirty="0"/>
              <a:t>Supplier/multi-client</a:t>
            </a:r>
          </a:p>
          <a:p>
            <a:pPr algn="l"/>
            <a:r>
              <a:rPr lang="en-GB" sz="1600" dirty="0"/>
              <a:t>Operational organisation amongst NEMOs and TSOs</a:t>
            </a:r>
          </a:p>
          <a:p>
            <a:pPr algn="l"/>
            <a:r>
              <a:rPr lang="en-GB" sz="1600" dirty="0"/>
              <a:t>Liabilities</a:t>
            </a:r>
          </a:p>
          <a:p>
            <a:endParaRPr lang="de-DE" sz="1600" dirty="0"/>
          </a:p>
        </p:txBody>
      </p:sp>
      <p:sp>
        <p:nvSpPr>
          <p:cNvPr id="11" name="Textplatzhalter 10"/>
          <p:cNvSpPr>
            <a:spLocks noGrp="1"/>
          </p:cNvSpPr>
          <p:nvPr>
            <p:ph type="body" sz="quarter" idx="39"/>
          </p:nvPr>
        </p:nvSpPr>
        <p:spPr>
          <a:xfrm>
            <a:off x="5810250" y="1992225"/>
            <a:ext cx="2770212" cy="1692000"/>
          </a:xfrm>
        </p:spPr>
        <p:txBody>
          <a:bodyPr>
            <a:normAutofit fontScale="92500"/>
          </a:bodyPr>
          <a:lstStyle/>
          <a:p>
            <a:pPr algn="l"/>
            <a:r>
              <a:rPr lang="en-GB" sz="1600" dirty="0" smtClean="0"/>
              <a:t>200k-800k </a:t>
            </a:r>
            <a:r>
              <a:rPr lang="en-GB" sz="1600" dirty="0"/>
              <a:t>orders/day – increasing exponentially (+ robotics)</a:t>
            </a:r>
          </a:p>
          <a:p>
            <a:pPr algn="l"/>
            <a:r>
              <a:rPr lang="en-GB" sz="1600" dirty="0"/>
              <a:t>Calculations/routing/products</a:t>
            </a:r>
          </a:p>
          <a:p>
            <a:pPr algn="l"/>
            <a:r>
              <a:rPr lang="en-GB" sz="1600" dirty="0"/>
              <a:t>Performance and processing capability</a:t>
            </a:r>
          </a:p>
          <a:p>
            <a:endParaRPr lang="de-DE" sz="1600" dirty="0"/>
          </a:p>
        </p:txBody>
      </p:sp>
      <p:sp>
        <p:nvSpPr>
          <p:cNvPr id="12" name="Textplatzhalter 11"/>
          <p:cNvSpPr>
            <a:spLocks noGrp="1"/>
          </p:cNvSpPr>
          <p:nvPr>
            <p:ph type="body" sz="quarter" idx="40"/>
          </p:nvPr>
        </p:nvSpPr>
        <p:spPr>
          <a:xfrm>
            <a:off x="5810250" y="4591050"/>
            <a:ext cx="2770212" cy="1692000"/>
          </a:xfrm>
        </p:spPr>
        <p:txBody>
          <a:bodyPr>
            <a:normAutofit/>
          </a:bodyPr>
          <a:lstStyle/>
          <a:p>
            <a:pPr algn="l"/>
            <a:r>
              <a:rPr lang="en-GB" sz="1600" dirty="0"/>
              <a:t>Timescales</a:t>
            </a:r>
          </a:p>
          <a:p>
            <a:pPr algn="l"/>
            <a:r>
              <a:rPr lang="en-GB" sz="1600" dirty="0"/>
              <a:t>Cost sharing and recovery</a:t>
            </a:r>
          </a:p>
          <a:p>
            <a:pPr algn="l"/>
            <a:r>
              <a:rPr lang="en-GB" sz="1600" dirty="0"/>
              <a:t>Future strategic roadmap</a:t>
            </a:r>
          </a:p>
          <a:p>
            <a:pPr algn="l"/>
            <a:r>
              <a:rPr lang="en-GB" sz="1600" dirty="0"/>
              <a:t>Changing environment during project with CACM implementation </a:t>
            </a:r>
          </a:p>
          <a:p>
            <a:pPr algn="l"/>
            <a:endParaRPr lang="de-DE" sz="1600" dirty="0"/>
          </a:p>
        </p:txBody>
      </p:sp>
    </p:spTree>
    <p:extLst>
      <p:ext uri="{BB962C8B-B14F-4D97-AF65-F5344CB8AC3E}">
        <p14:creationId xmlns:p14="http://schemas.microsoft.com/office/powerpoint/2010/main" val="12494204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Project Approach</a:t>
            </a:r>
            <a:endParaRPr lang="de-DE" dirty="0"/>
          </a:p>
        </p:txBody>
      </p:sp>
      <p:sp>
        <p:nvSpPr>
          <p:cNvPr id="3" name="Foliennummernplatzhalter 2"/>
          <p:cNvSpPr>
            <a:spLocks noGrp="1"/>
          </p:cNvSpPr>
          <p:nvPr>
            <p:ph type="sldNum" sz="quarter" idx="11"/>
          </p:nvPr>
        </p:nvSpPr>
        <p:spPr/>
        <p:txBody>
          <a:bodyPr/>
          <a:lstStyle/>
          <a:p>
            <a:fld id="{AD89DE65-C7D9-40CE-B96E-B8C3E7B233C5}" type="slidenum">
              <a:rPr lang="de-DE" smtClean="0"/>
              <a:pPr/>
              <a:t>12</a:t>
            </a:fld>
            <a:endParaRPr lang="de-DE" dirty="0"/>
          </a:p>
        </p:txBody>
      </p:sp>
      <p:sp>
        <p:nvSpPr>
          <p:cNvPr id="5" name="TextBox 45"/>
          <p:cNvSpPr txBox="1"/>
          <p:nvPr/>
        </p:nvSpPr>
        <p:spPr>
          <a:xfrm>
            <a:off x="464186" y="1324627"/>
            <a:ext cx="8330659" cy="369332"/>
          </a:xfrm>
          <a:prstGeom prst="rect">
            <a:avLst/>
          </a:prstGeom>
          <a:noFill/>
        </p:spPr>
        <p:txBody>
          <a:bodyPr wrap="square" rtlCol="0">
            <a:spAutoFit/>
          </a:bodyPr>
          <a:lstStyle/>
          <a:p>
            <a:r>
              <a:rPr lang="en-GB" dirty="0"/>
              <a:t>Delivery of XBID involves 3 areas of distinct focus:</a:t>
            </a:r>
          </a:p>
        </p:txBody>
      </p:sp>
      <p:grpSp>
        <p:nvGrpSpPr>
          <p:cNvPr id="6" name="Groupe 102"/>
          <p:cNvGrpSpPr/>
          <p:nvPr/>
        </p:nvGrpSpPr>
        <p:grpSpPr>
          <a:xfrm>
            <a:off x="540387" y="1981200"/>
            <a:ext cx="8046000" cy="3787001"/>
            <a:chOff x="118750" y="1505694"/>
            <a:chExt cx="8589593" cy="4225039"/>
          </a:xfrm>
        </p:grpSpPr>
        <p:cxnSp>
          <p:nvCxnSpPr>
            <p:cNvPr id="7" name="Rechte verbindingslijn met pijl 30"/>
            <p:cNvCxnSpPr/>
            <p:nvPr/>
          </p:nvCxnSpPr>
          <p:spPr>
            <a:xfrm>
              <a:off x="6192726" y="2207534"/>
              <a:ext cx="0" cy="315087"/>
            </a:xfrm>
            <a:prstGeom prst="straightConnector1">
              <a:avLst/>
            </a:prstGeom>
            <a:noFill/>
            <a:ln w="25400" cap="flat" cmpd="sng" algn="ctr">
              <a:solidFill>
                <a:schemeClr val="accent1"/>
              </a:solidFill>
              <a:prstDash val="solid"/>
              <a:tailEnd type="arrow"/>
            </a:ln>
            <a:effectLst/>
          </p:spPr>
        </p:cxnSp>
        <p:sp>
          <p:nvSpPr>
            <p:cNvPr id="8" name="Punthaak 62"/>
            <p:cNvSpPr/>
            <p:nvPr/>
          </p:nvSpPr>
          <p:spPr>
            <a:xfrm>
              <a:off x="3240158" y="4812670"/>
              <a:ext cx="5468184" cy="918063"/>
            </a:xfrm>
            <a:prstGeom prst="chevron">
              <a:avLst/>
            </a:prstGeom>
            <a:solidFill>
              <a:schemeClr val="accent2"/>
            </a:solidFill>
            <a:ln w="25400" cap="flat" cmpd="sng" algn="ctr">
              <a:solidFill>
                <a:schemeClr val="accent2">
                  <a:lumMod val="75000"/>
                </a:schemeClr>
              </a:solidFill>
              <a:prstDash val="solid"/>
            </a:ln>
            <a:effectLst>
              <a:innerShdw blurRad="63500" dist="50800" dir="5400000">
                <a:prstClr val="black">
                  <a:alpha val="50000"/>
                </a:prstClr>
              </a:innerShdw>
            </a:effectLst>
          </p:spPr>
          <p:txBody>
            <a:bodyPr rtlCol="0" anchor="ctr"/>
            <a:lstStyle/>
            <a:p>
              <a:pPr algn="ctr" fontAlgn="base">
                <a:spcBef>
                  <a:spcPct val="0"/>
                </a:spcBef>
                <a:spcAft>
                  <a:spcPct val="0"/>
                </a:spcAft>
                <a:defRPr/>
              </a:pPr>
              <a:r>
                <a:rPr lang="en-GB" sz="1600" b="1" kern="0" dirty="0">
                  <a:solidFill>
                    <a:prstClr val="white"/>
                  </a:solidFill>
                  <a:cs typeface="Arial" panose="020B0604020202020204" pitchFamily="34" charset="0"/>
                </a:rPr>
                <a:t>Project under contract - XBID development and testing</a:t>
              </a:r>
            </a:p>
          </p:txBody>
        </p:sp>
        <p:sp>
          <p:nvSpPr>
            <p:cNvPr id="9" name="Punthaak 13"/>
            <p:cNvSpPr/>
            <p:nvPr/>
          </p:nvSpPr>
          <p:spPr>
            <a:xfrm>
              <a:off x="3240159" y="3274073"/>
              <a:ext cx="5468184" cy="902142"/>
            </a:xfrm>
            <a:prstGeom prst="chevron">
              <a:avLst/>
            </a:prstGeom>
            <a:solidFill>
              <a:schemeClr val="tx2">
                <a:lumMod val="75000"/>
              </a:schemeClr>
            </a:solidFill>
            <a:ln w="25400" cap="flat" cmpd="sng" algn="ctr">
              <a:solidFill>
                <a:schemeClr val="tx1">
                  <a:lumMod val="65000"/>
                  <a:lumOff val="35000"/>
                </a:schemeClr>
              </a:solidFill>
              <a:prstDash val="solid"/>
            </a:ln>
            <a:effectLst>
              <a:innerShdw blurRad="63500" dist="50800" dir="5400000">
                <a:prstClr val="black">
                  <a:alpha val="50000"/>
                </a:prstClr>
              </a:innerShdw>
            </a:effectLst>
          </p:spPr>
          <p:txBody>
            <a:bodyPr rtlCol="0" anchor="ctr"/>
            <a:lstStyle/>
            <a:p>
              <a:pPr algn="ctr" fontAlgn="base">
                <a:spcBef>
                  <a:spcPct val="0"/>
                </a:spcBef>
                <a:spcAft>
                  <a:spcPct val="0"/>
                </a:spcAft>
                <a:defRPr/>
              </a:pPr>
              <a:r>
                <a:rPr lang="en-GB" sz="1600" b="1" kern="0" dirty="0">
                  <a:solidFill>
                    <a:prstClr val="white"/>
                  </a:solidFill>
                  <a:cs typeface="Arial" panose="020B0604020202020204" pitchFamily="34" charset="0"/>
                </a:rPr>
                <a:t>Co-ordinate XBID design and development</a:t>
              </a:r>
            </a:p>
            <a:p>
              <a:pPr algn="ctr" fontAlgn="base">
                <a:spcBef>
                  <a:spcPct val="0"/>
                </a:spcBef>
                <a:spcAft>
                  <a:spcPct val="0"/>
                </a:spcAft>
                <a:defRPr/>
              </a:pPr>
              <a:r>
                <a:rPr lang="en-GB" sz="1600" b="1" kern="0" dirty="0">
                  <a:solidFill>
                    <a:prstClr val="white"/>
                  </a:solidFill>
                  <a:cs typeface="Arial" panose="020B0604020202020204" pitchFamily="34" charset="0"/>
                </a:rPr>
                <a:t>Co-ordinate implementation, Common framework for pre- &amp; post coupling</a:t>
              </a:r>
            </a:p>
          </p:txBody>
        </p:sp>
        <p:sp>
          <p:nvSpPr>
            <p:cNvPr id="10" name="Punthaak 43"/>
            <p:cNvSpPr/>
            <p:nvPr/>
          </p:nvSpPr>
          <p:spPr>
            <a:xfrm>
              <a:off x="3240158" y="1505694"/>
              <a:ext cx="5454536" cy="794331"/>
            </a:xfrm>
            <a:prstGeom prst="chevron">
              <a:avLst/>
            </a:prstGeom>
            <a:solidFill>
              <a:schemeClr val="accent1"/>
            </a:solidFill>
            <a:ln w="25400" cap="flat" cmpd="sng" algn="ctr">
              <a:solidFill>
                <a:schemeClr val="accent1">
                  <a:lumMod val="50000"/>
                </a:schemeClr>
              </a:solidFill>
              <a:prstDash val="solid"/>
            </a:ln>
            <a:effectLst>
              <a:innerShdw blurRad="63500" dist="50800" dir="5400000">
                <a:prstClr val="black">
                  <a:alpha val="50000"/>
                </a:prstClr>
              </a:innerShdw>
            </a:effectLst>
          </p:spPr>
          <p:txBody>
            <a:bodyPr lIns="36000" rIns="0" rtlCol="0" anchor="ctr"/>
            <a:lstStyle/>
            <a:p>
              <a:pPr algn="ctr" fontAlgn="base">
                <a:spcBef>
                  <a:spcPct val="0"/>
                </a:spcBef>
                <a:spcAft>
                  <a:spcPct val="0"/>
                </a:spcAft>
                <a:defRPr/>
              </a:pPr>
              <a:r>
                <a:rPr lang="en-GB" sz="1600" b="1" kern="0" dirty="0">
                  <a:solidFill>
                    <a:prstClr val="white"/>
                  </a:solidFill>
                  <a:cs typeface="Arial" panose="020B0604020202020204" pitchFamily="34" charset="0"/>
                </a:rPr>
                <a:t>Adjustment of local systems and interfaces Alignment with  XBID testing and Go-live phase</a:t>
              </a:r>
            </a:p>
          </p:txBody>
        </p:sp>
        <p:sp>
          <p:nvSpPr>
            <p:cNvPr id="11" name="Rechthoek 104"/>
            <p:cNvSpPr/>
            <p:nvPr/>
          </p:nvSpPr>
          <p:spPr>
            <a:xfrm>
              <a:off x="4551298" y="2530894"/>
              <a:ext cx="3541823" cy="503028"/>
            </a:xfrm>
            <a:prstGeom prst="rect">
              <a:avLst/>
            </a:prstGeom>
            <a:solidFill>
              <a:schemeClr val="accent4">
                <a:lumMod val="75000"/>
              </a:schemeClr>
            </a:solidFill>
            <a:ln w="25400" cap="flat" cmpd="sng" algn="ctr">
              <a:solidFill>
                <a:schemeClr val="accent1">
                  <a:lumMod val="50000"/>
                </a:schemeClr>
              </a:solidFill>
              <a:prstDash val="solid"/>
            </a:ln>
            <a:effectLst/>
          </p:spPr>
          <p:txBody>
            <a:bodyPr rtlCol="0" anchor="ctr"/>
            <a:lstStyle/>
            <a:p>
              <a:pPr algn="ctr" fontAlgn="base">
                <a:spcBef>
                  <a:spcPct val="0"/>
                </a:spcBef>
                <a:spcAft>
                  <a:spcPct val="0"/>
                </a:spcAft>
                <a:defRPr/>
              </a:pPr>
              <a:r>
                <a:rPr lang="en-GB" sz="1600" i="1" kern="0" dirty="0">
                  <a:solidFill>
                    <a:prstClr val="white"/>
                  </a:solidFill>
                  <a:cs typeface="Arial" panose="020B0604020202020204" pitchFamily="34" charset="0"/>
                </a:rPr>
                <a:t>Roadmap and Progress Reporting </a:t>
              </a:r>
            </a:p>
          </p:txBody>
        </p:sp>
        <p:cxnSp>
          <p:nvCxnSpPr>
            <p:cNvPr id="12" name="Rechte verbindingslijn met pijl 37"/>
            <p:cNvCxnSpPr/>
            <p:nvPr/>
          </p:nvCxnSpPr>
          <p:spPr>
            <a:xfrm flipV="1">
              <a:off x="5738713" y="3033922"/>
              <a:ext cx="0" cy="258157"/>
            </a:xfrm>
            <a:prstGeom prst="straightConnector1">
              <a:avLst/>
            </a:prstGeom>
            <a:noFill/>
            <a:ln w="25400" cap="flat" cmpd="sng" algn="ctr">
              <a:solidFill>
                <a:schemeClr val="tx1">
                  <a:lumMod val="65000"/>
                  <a:lumOff val="35000"/>
                </a:schemeClr>
              </a:solidFill>
              <a:prstDash val="solid"/>
              <a:headEnd type="none" w="med" len="med"/>
              <a:tailEnd type="arrow" w="med" len="med"/>
            </a:ln>
            <a:effectLst/>
          </p:spPr>
        </p:cxnSp>
        <p:sp>
          <p:nvSpPr>
            <p:cNvPr id="13" name="Rechthoek 58"/>
            <p:cNvSpPr/>
            <p:nvPr/>
          </p:nvSpPr>
          <p:spPr>
            <a:xfrm>
              <a:off x="151487" y="1505694"/>
              <a:ext cx="2681758" cy="797065"/>
            </a:xfrm>
            <a:prstGeom prst="rect">
              <a:avLst/>
            </a:prstGeom>
            <a:solidFill>
              <a:schemeClr val="accent1">
                <a:lumMod val="75000"/>
              </a:schemeClr>
            </a:solidFill>
            <a:ln w="25400" cap="flat" cmpd="sng" algn="ctr">
              <a:noFill/>
              <a:prstDash val="soli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tlCol="0" anchor="ctr"/>
            <a:lstStyle/>
            <a:p>
              <a:pPr algn="ctr" fontAlgn="base">
                <a:spcBef>
                  <a:spcPct val="0"/>
                </a:spcBef>
                <a:spcAft>
                  <a:spcPct val="0"/>
                </a:spcAft>
              </a:pPr>
              <a:r>
                <a:rPr lang="en-GB" sz="1600" b="1" kern="0" dirty="0">
                  <a:solidFill>
                    <a:schemeClr val="bg1"/>
                  </a:solidFill>
                </a:rPr>
                <a:t>Local Implementation Projects (LIPs)</a:t>
              </a:r>
            </a:p>
          </p:txBody>
        </p:sp>
        <p:sp>
          <p:nvSpPr>
            <p:cNvPr id="14" name="Rechthoek 58"/>
            <p:cNvSpPr/>
            <p:nvPr/>
          </p:nvSpPr>
          <p:spPr>
            <a:xfrm>
              <a:off x="166181" y="3266304"/>
              <a:ext cx="2667064" cy="944131"/>
            </a:xfrm>
            <a:prstGeom prst="rect">
              <a:avLst/>
            </a:prstGeom>
            <a:solidFill>
              <a:schemeClr val="bg1">
                <a:lumMod val="65000"/>
              </a:schemeClr>
            </a:solidFill>
            <a:ln w="25400" cap="flat" cmpd="sng" algn="ctr">
              <a:noFill/>
              <a:prstDash val="soli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lIns="0" tIns="0" rIns="0" bIns="0" rtlCol="0" anchor="ctr"/>
            <a:lstStyle/>
            <a:p>
              <a:pPr algn="ctr" fontAlgn="base">
                <a:spcBef>
                  <a:spcPct val="0"/>
                </a:spcBef>
                <a:spcAft>
                  <a:spcPct val="0"/>
                </a:spcAft>
              </a:pPr>
              <a:r>
                <a:rPr lang="en-GB" sz="1600" b="1" kern="0" dirty="0">
                  <a:solidFill>
                    <a:schemeClr val="bg1"/>
                  </a:solidFill>
                  <a:cs typeface="Arial" panose="020B0604020202020204" pitchFamily="34" charset="0"/>
                </a:rPr>
                <a:t>XBID Common Project</a:t>
              </a:r>
            </a:p>
          </p:txBody>
        </p:sp>
        <p:sp>
          <p:nvSpPr>
            <p:cNvPr id="15" name="Rechthoek 58"/>
            <p:cNvSpPr/>
            <p:nvPr/>
          </p:nvSpPr>
          <p:spPr>
            <a:xfrm>
              <a:off x="118750" y="4812665"/>
              <a:ext cx="2714495" cy="918064"/>
            </a:xfrm>
            <a:prstGeom prst="rect">
              <a:avLst/>
            </a:prstGeom>
            <a:solidFill>
              <a:schemeClr val="accent2"/>
            </a:solidFill>
            <a:ln w="25400" cap="flat" cmpd="sng" algn="ctr">
              <a:noFill/>
              <a:prstDash val="soli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tlCol="0" anchor="ctr"/>
            <a:lstStyle/>
            <a:p>
              <a:pPr algn="ctr" fontAlgn="base">
                <a:spcBef>
                  <a:spcPct val="0"/>
                </a:spcBef>
                <a:spcAft>
                  <a:spcPct val="0"/>
                </a:spcAft>
                <a:defRPr/>
              </a:pPr>
              <a:r>
                <a:rPr lang="en-GB" sz="1600" b="1" kern="0" dirty="0">
                  <a:solidFill>
                    <a:schemeClr val="bg1"/>
                  </a:solidFill>
                </a:rPr>
                <a:t>XBID Solution</a:t>
              </a:r>
            </a:p>
          </p:txBody>
        </p:sp>
      </p:grpSp>
      <p:cxnSp>
        <p:nvCxnSpPr>
          <p:cNvPr id="16" name="Straight Arrow Connector 8"/>
          <p:cNvCxnSpPr>
            <a:stCxn id="9" idx="2"/>
            <a:endCxn id="8" idx="0"/>
          </p:cNvCxnSpPr>
          <p:nvPr/>
        </p:nvCxnSpPr>
        <p:spPr>
          <a:xfrm flipH="1">
            <a:off x="5819601" y="4374850"/>
            <a:ext cx="3568" cy="570470"/>
          </a:xfrm>
          <a:prstGeom prst="straightConnector1">
            <a:avLst/>
          </a:prstGeom>
          <a:ln w="2857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45417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Key Project Historical Milestones</a:t>
            </a:r>
            <a:endParaRPr lang="de-DE" dirty="0"/>
          </a:p>
        </p:txBody>
      </p:sp>
      <p:sp>
        <p:nvSpPr>
          <p:cNvPr id="3" name="Foliennummernplatzhalter 2"/>
          <p:cNvSpPr>
            <a:spLocks noGrp="1"/>
          </p:cNvSpPr>
          <p:nvPr>
            <p:ph type="sldNum" sz="quarter" idx="11"/>
          </p:nvPr>
        </p:nvSpPr>
        <p:spPr/>
        <p:txBody>
          <a:bodyPr/>
          <a:lstStyle/>
          <a:p>
            <a:fld id="{AD89DE65-C7D9-40CE-B96E-B8C3E7B233C5}" type="slidenum">
              <a:rPr lang="de-DE" smtClean="0"/>
              <a:pPr/>
              <a:t>13</a:t>
            </a:fld>
            <a:endParaRPr lang="de-DE" dirty="0"/>
          </a:p>
        </p:txBody>
      </p:sp>
      <p:graphicFrame>
        <p:nvGraphicFramePr>
          <p:cNvPr id="5" name="Content Placeholder 4"/>
          <p:cNvGraphicFramePr>
            <a:graphicFrameLocks/>
          </p:cNvGraphicFramePr>
          <p:nvPr>
            <p:extLst>
              <p:ext uri="{D42A27DB-BD31-4B8C-83A1-F6EECF244321}">
                <p14:modId xmlns:p14="http://schemas.microsoft.com/office/powerpoint/2010/main" val="788657909"/>
              </p:ext>
            </p:extLst>
          </p:nvPr>
        </p:nvGraphicFramePr>
        <p:xfrm>
          <a:off x="327804" y="1516701"/>
          <a:ext cx="8428007" cy="4704080"/>
        </p:xfrm>
        <a:graphic>
          <a:graphicData uri="http://schemas.openxmlformats.org/drawingml/2006/table">
            <a:tbl>
              <a:tblPr firstRow="1" bandRow="1">
                <a:tableStyleId>{7DF18680-E054-41AD-8BC1-D1AEF772440D}</a:tableStyleId>
              </a:tblPr>
              <a:tblGrid>
                <a:gridCol w="2015791">
                  <a:extLst>
                    <a:ext uri="{9D8B030D-6E8A-4147-A177-3AD203B41FA5}">
                      <a16:colId xmlns="" xmlns:a16="http://schemas.microsoft.com/office/drawing/2014/main" val="20000"/>
                    </a:ext>
                  </a:extLst>
                </a:gridCol>
                <a:gridCol w="1060331">
                  <a:extLst>
                    <a:ext uri="{9D8B030D-6E8A-4147-A177-3AD203B41FA5}">
                      <a16:colId xmlns="" xmlns:a16="http://schemas.microsoft.com/office/drawing/2014/main" val="20001"/>
                    </a:ext>
                  </a:extLst>
                </a:gridCol>
                <a:gridCol w="2651814">
                  <a:extLst>
                    <a:ext uri="{9D8B030D-6E8A-4147-A177-3AD203B41FA5}">
                      <a16:colId xmlns="" xmlns:a16="http://schemas.microsoft.com/office/drawing/2014/main" val="20002"/>
                    </a:ext>
                  </a:extLst>
                </a:gridCol>
                <a:gridCol w="2700071">
                  <a:extLst>
                    <a:ext uri="{9D8B030D-6E8A-4147-A177-3AD203B41FA5}">
                      <a16:colId xmlns="" xmlns:a16="http://schemas.microsoft.com/office/drawing/2014/main" val="20003"/>
                    </a:ext>
                  </a:extLst>
                </a:gridCol>
              </a:tblGrid>
              <a:tr h="370840">
                <a:tc>
                  <a:txBody>
                    <a:bodyPr/>
                    <a:lstStyle/>
                    <a:p>
                      <a:endParaRPr lang="en-GB" dirty="0"/>
                    </a:p>
                  </a:txBody>
                  <a:tcPr/>
                </a:tc>
                <a:tc>
                  <a:txBody>
                    <a:bodyPr/>
                    <a:lstStyle/>
                    <a:p>
                      <a:pPr algn="ctr"/>
                      <a:r>
                        <a:rPr lang="en-GB" sz="1600" dirty="0"/>
                        <a:t>2012</a:t>
                      </a:r>
                      <a:endParaRPr lang="en-GB" sz="1600" dirty="0">
                        <a:latin typeface="Arial" panose="020B0604020202020204" pitchFamily="34" charset="0"/>
                        <a:cs typeface="Arial" panose="020B0604020202020204" pitchFamily="34" charset="0"/>
                      </a:endParaRPr>
                    </a:p>
                  </a:txBody>
                  <a:tcPr/>
                </a:tc>
                <a:tc>
                  <a:txBody>
                    <a:bodyPr/>
                    <a:lstStyle/>
                    <a:p>
                      <a:pPr algn="ctr"/>
                      <a:r>
                        <a:rPr lang="en-GB" sz="1600" dirty="0"/>
                        <a:t>2013</a:t>
                      </a:r>
                      <a:endParaRPr lang="en-GB" sz="1600" dirty="0">
                        <a:latin typeface="Arial" panose="020B0604020202020204" pitchFamily="34" charset="0"/>
                        <a:cs typeface="Arial" panose="020B0604020202020204" pitchFamily="34" charset="0"/>
                      </a:endParaRPr>
                    </a:p>
                  </a:txBody>
                  <a:tcPr/>
                </a:tc>
                <a:tc>
                  <a:txBody>
                    <a:bodyPr/>
                    <a:lstStyle/>
                    <a:p>
                      <a:pPr algn="ctr"/>
                      <a:r>
                        <a:rPr lang="en-GB" sz="1600" dirty="0"/>
                        <a:t>2014</a:t>
                      </a:r>
                      <a:endParaRPr lang="en-GB" sz="1600"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0000"/>
                  </a:ext>
                </a:extLst>
              </a:tr>
              <a:tr h="370840">
                <a:tc>
                  <a:txBody>
                    <a:bodyPr/>
                    <a:lstStyle/>
                    <a:p>
                      <a:r>
                        <a:rPr lang="en-GB" sz="1600" dirty="0"/>
                        <a:t>Trading Solution Tender Phase</a:t>
                      </a:r>
                      <a:endParaRPr lang="en-GB" sz="1600" dirty="0">
                        <a:solidFill>
                          <a:schemeClr val="tx1"/>
                        </a:solidFill>
                        <a:latin typeface="Arial" panose="020B0604020202020204" pitchFamily="34" charset="0"/>
                        <a:cs typeface="Arial" panose="020B0604020202020204" pitchFamily="34" charset="0"/>
                      </a:endParaRPr>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 xmlns:a16="http://schemas.microsoft.com/office/drawing/2014/main" val="10001"/>
                  </a:ext>
                </a:extLst>
              </a:tr>
              <a:tr h="370840">
                <a:tc>
                  <a:txBody>
                    <a:bodyPr/>
                    <a:lstStyle/>
                    <a:p>
                      <a:r>
                        <a:rPr lang="en-GB" sz="1600" dirty="0"/>
                        <a:t>ACER advise selection</a:t>
                      </a:r>
                      <a:r>
                        <a:rPr lang="en-GB" sz="1600" baseline="0" dirty="0"/>
                        <a:t> of DBAG</a:t>
                      </a:r>
                      <a:endParaRPr lang="en-GB" sz="1600" dirty="0">
                        <a:solidFill>
                          <a:schemeClr val="tx1"/>
                        </a:solidFill>
                        <a:latin typeface="Arial" panose="020B0604020202020204" pitchFamily="34" charset="0"/>
                        <a:cs typeface="Arial" panose="020B0604020202020204" pitchFamily="34" charset="0"/>
                      </a:endParaRPr>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 xmlns:a16="http://schemas.microsoft.com/office/drawing/2014/main" val="10002"/>
                  </a:ext>
                </a:extLst>
              </a:tr>
              <a:tr h="370840">
                <a:tc>
                  <a:txBody>
                    <a:bodyPr/>
                    <a:lstStyle/>
                    <a:p>
                      <a:r>
                        <a:rPr lang="en-GB" sz="1600" dirty="0"/>
                        <a:t>Set-up/Budget</a:t>
                      </a:r>
                      <a:endParaRPr lang="en-GB" sz="1600" dirty="0">
                        <a:solidFill>
                          <a:schemeClr val="tx1"/>
                        </a:solidFill>
                        <a:latin typeface="Arial" panose="020B0604020202020204" pitchFamily="34" charset="0"/>
                        <a:cs typeface="Arial" panose="020B0604020202020204" pitchFamily="34" charset="0"/>
                      </a:endParaRPr>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 xmlns:a16="http://schemas.microsoft.com/office/drawing/2014/main" val="10003"/>
                  </a:ext>
                </a:extLst>
              </a:tr>
              <a:tr h="370840">
                <a:tc>
                  <a:txBody>
                    <a:bodyPr/>
                    <a:lstStyle/>
                    <a:p>
                      <a:r>
                        <a:rPr lang="en-GB" sz="1600" dirty="0"/>
                        <a:t>NRA’s issue Letter</a:t>
                      </a:r>
                      <a:r>
                        <a:rPr lang="en-GB" sz="1600" baseline="0" dirty="0"/>
                        <a:t> of Cost Comfort</a:t>
                      </a:r>
                      <a:endParaRPr lang="en-GB" sz="1600" dirty="0">
                        <a:solidFill>
                          <a:schemeClr val="tx1"/>
                        </a:solidFill>
                        <a:latin typeface="Arial" panose="020B0604020202020204" pitchFamily="34" charset="0"/>
                        <a:cs typeface="Arial" panose="020B0604020202020204" pitchFamily="34" charset="0"/>
                      </a:endParaRPr>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 xmlns:a16="http://schemas.microsoft.com/office/drawing/2014/main" val="10004"/>
                  </a:ext>
                </a:extLst>
              </a:tr>
              <a:tr h="370840">
                <a:tc>
                  <a:txBody>
                    <a:bodyPr/>
                    <a:lstStyle/>
                    <a:p>
                      <a:r>
                        <a:rPr lang="en-GB" sz="1600" dirty="0"/>
                        <a:t>Early Start </a:t>
                      </a:r>
                    </a:p>
                    <a:p>
                      <a:r>
                        <a:rPr lang="en-GB" sz="1600" dirty="0"/>
                        <a:t>Agreement (ESA) Step 1</a:t>
                      </a:r>
                      <a:endParaRPr lang="en-GB" sz="1600" baseline="30000" dirty="0">
                        <a:solidFill>
                          <a:schemeClr val="tx1"/>
                        </a:solidFill>
                        <a:latin typeface="Arial" panose="020B0604020202020204" pitchFamily="34" charset="0"/>
                        <a:cs typeface="Arial" panose="020B0604020202020204" pitchFamily="34" charset="0"/>
                      </a:endParaRPr>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 xmlns:a16="http://schemas.microsoft.com/office/drawing/2014/main" val="10005"/>
                  </a:ext>
                </a:extLst>
              </a:tr>
              <a:tr h="370840">
                <a:tc>
                  <a:txBody>
                    <a:bodyPr/>
                    <a:lstStyle/>
                    <a:p>
                      <a:r>
                        <a:rPr lang="en-GB" sz="1600" dirty="0"/>
                        <a:t>ESA Step 2 </a:t>
                      </a:r>
                    </a:p>
                    <a:p>
                      <a:r>
                        <a:rPr lang="en-GB" sz="1600" dirty="0"/>
                        <a:t>Phase 1</a:t>
                      </a:r>
                      <a:endParaRPr lang="en-GB" sz="1600" baseline="30000" dirty="0">
                        <a:solidFill>
                          <a:schemeClr val="tx1"/>
                        </a:solidFill>
                        <a:latin typeface="Arial" panose="020B0604020202020204" pitchFamily="34" charset="0"/>
                        <a:cs typeface="Arial" panose="020B0604020202020204" pitchFamily="34" charset="0"/>
                      </a:endParaRPr>
                    </a:p>
                  </a:txBody>
                  <a:tcPr/>
                </a:tc>
                <a:tc>
                  <a:txBody>
                    <a:bodyPr/>
                    <a:lstStyle/>
                    <a:p>
                      <a:endParaRPr lang="en-GB"/>
                    </a:p>
                  </a:txBody>
                  <a:tcPr/>
                </a:tc>
                <a:tc>
                  <a:txBody>
                    <a:bodyPr/>
                    <a:lstStyle/>
                    <a:p>
                      <a:endParaRPr lang="en-GB" dirty="0"/>
                    </a:p>
                  </a:txBody>
                  <a:tcPr/>
                </a:tc>
                <a:tc>
                  <a:txBody>
                    <a:bodyPr/>
                    <a:lstStyle/>
                    <a:p>
                      <a:endParaRPr lang="en-GB"/>
                    </a:p>
                  </a:txBody>
                  <a:tcPr/>
                </a:tc>
                <a:extLst>
                  <a:ext uri="{0D108BD9-81ED-4DB2-BD59-A6C34878D82A}">
                    <a16:rowId xmlns="" xmlns:a16="http://schemas.microsoft.com/office/drawing/2014/main" val="10006"/>
                  </a:ext>
                </a:extLst>
              </a:tr>
              <a:tr h="588060">
                <a:tc>
                  <a:txBody>
                    <a:bodyPr/>
                    <a:lstStyle/>
                    <a:p>
                      <a:r>
                        <a:rPr lang="en-GB" sz="1600" baseline="0" dirty="0"/>
                        <a:t>ESA Step 2 Phase 2 (Business Blueprint)</a:t>
                      </a:r>
                      <a:endParaRPr lang="en-GB" sz="1600" baseline="30000" dirty="0">
                        <a:solidFill>
                          <a:schemeClr val="tx1"/>
                        </a:solidFill>
                        <a:latin typeface="Arial" panose="020B0604020202020204" pitchFamily="34" charset="0"/>
                        <a:cs typeface="Arial" panose="020B0604020202020204" pitchFamily="34" charset="0"/>
                      </a:endParaRPr>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 xmlns:a16="http://schemas.microsoft.com/office/drawing/2014/main" val="10007"/>
                  </a:ext>
                </a:extLst>
              </a:tr>
            </a:tbl>
          </a:graphicData>
        </a:graphic>
      </p:graphicFrame>
      <p:sp>
        <p:nvSpPr>
          <p:cNvPr id="6" name="Pentagon 6"/>
          <p:cNvSpPr/>
          <p:nvPr/>
        </p:nvSpPr>
        <p:spPr bwMode="auto">
          <a:xfrm>
            <a:off x="2485147" y="1986910"/>
            <a:ext cx="2060834" cy="354313"/>
          </a:xfrm>
          <a:prstGeom prst="homePlate">
            <a:avLst>
              <a:gd name="adj" fmla="val 24723"/>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GB" sz="800" b="0" dirty="0">
              <a:solidFill>
                <a:srgbClr val="FFFFFF"/>
              </a:solidFill>
              <a:ea typeface="ＭＳ Ｐゴシック" pitchFamily="48" charset="-128"/>
              <a:cs typeface="Arial" charset="0"/>
            </a:endParaRPr>
          </a:p>
        </p:txBody>
      </p:sp>
      <p:sp>
        <p:nvSpPr>
          <p:cNvPr id="7" name="TextBox 7"/>
          <p:cNvSpPr txBox="1"/>
          <p:nvPr/>
        </p:nvSpPr>
        <p:spPr>
          <a:xfrm>
            <a:off x="2650998" y="2033261"/>
            <a:ext cx="444352" cy="261610"/>
          </a:xfrm>
          <a:prstGeom prst="rect">
            <a:avLst/>
          </a:prstGeom>
          <a:solidFill>
            <a:schemeClr val="accent2"/>
          </a:solidFill>
        </p:spPr>
        <p:txBody>
          <a:bodyPr wrap="none" rtlCol="0">
            <a:spAutoFit/>
          </a:bodyPr>
          <a:lstStyle/>
          <a:p>
            <a:r>
              <a:rPr lang="en-GB" sz="1100" b="1" dirty="0">
                <a:solidFill>
                  <a:schemeClr val="bg1"/>
                </a:solidFill>
              </a:rPr>
              <a:t>Sep</a:t>
            </a:r>
          </a:p>
        </p:txBody>
      </p:sp>
      <p:sp>
        <p:nvSpPr>
          <p:cNvPr id="8" name="TextBox 8"/>
          <p:cNvSpPr txBox="1"/>
          <p:nvPr/>
        </p:nvSpPr>
        <p:spPr>
          <a:xfrm>
            <a:off x="4025902" y="2016965"/>
            <a:ext cx="436338" cy="261610"/>
          </a:xfrm>
          <a:prstGeom prst="rect">
            <a:avLst/>
          </a:prstGeom>
          <a:solidFill>
            <a:schemeClr val="accent2"/>
          </a:solidFill>
        </p:spPr>
        <p:txBody>
          <a:bodyPr wrap="none" rtlCol="0">
            <a:spAutoFit/>
          </a:bodyPr>
          <a:lstStyle/>
          <a:p>
            <a:r>
              <a:rPr lang="en-GB" sz="1100" b="1" dirty="0">
                <a:solidFill>
                  <a:schemeClr val="bg1"/>
                </a:solidFill>
              </a:rPr>
              <a:t>Jun</a:t>
            </a:r>
          </a:p>
        </p:txBody>
      </p:sp>
      <p:sp>
        <p:nvSpPr>
          <p:cNvPr id="9" name="Diamond 76"/>
          <p:cNvSpPr/>
          <p:nvPr/>
        </p:nvSpPr>
        <p:spPr bwMode="auto">
          <a:xfrm>
            <a:off x="4462240" y="2534722"/>
            <a:ext cx="429334" cy="458220"/>
          </a:xfrm>
          <a:prstGeom prst="diamond">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algn="ctr">
              <a:defRPr/>
            </a:pPr>
            <a:r>
              <a:rPr lang="de-DE" sz="1100" b="1" dirty="0">
                <a:solidFill>
                  <a:srgbClr val="FFFFFF"/>
                </a:solidFill>
                <a:latin typeface="Arial"/>
                <a:ea typeface="ＭＳ Ｐゴシック" pitchFamily="48" charset="-128"/>
                <a:cs typeface="Arial" charset="0"/>
              </a:rPr>
              <a:t>Jun</a:t>
            </a:r>
            <a:endParaRPr lang="en-GB" sz="800" b="1" dirty="0">
              <a:solidFill>
                <a:srgbClr val="FFFFFF"/>
              </a:solidFill>
              <a:latin typeface="Arial"/>
              <a:ea typeface="ＭＳ Ｐゴシック" pitchFamily="48" charset="-128"/>
              <a:cs typeface="Arial" charset="0"/>
            </a:endParaRPr>
          </a:p>
        </p:txBody>
      </p:sp>
      <p:sp>
        <p:nvSpPr>
          <p:cNvPr id="10" name="Diamond 76"/>
          <p:cNvSpPr/>
          <p:nvPr/>
        </p:nvSpPr>
        <p:spPr bwMode="auto">
          <a:xfrm>
            <a:off x="6058405" y="3468613"/>
            <a:ext cx="429334" cy="458220"/>
          </a:xfrm>
          <a:prstGeom prst="diamond">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algn="ctr">
              <a:defRPr/>
            </a:pPr>
            <a:r>
              <a:rPr lang="de-DE" sz="1100" b="1" dirty="0">
                <a:solidFill>
                  <a:srgbClr val="FFFFFF"/>
                </a:solidFill>
                <a:latin typeface="Arial"/>
                <a:ea typeface="ＭＳ Ｐゴシック" pitchFamily="48" charset="-128"/>
                <a:cs typeface="Arial" charset="0"/>
              </a:rPr>
              <a:t>Jan</a:t>
            </a:r>
            <a:endParaRPr lang="en-GB" sz="800" b="1" dirty="0">
              <a:solidFill>
                <a:srgbClr val="FFFFFF"/>
              </a:solidFill>
              <a:latin typeface="Arial"/>
              <a:ea typeface="ＭＳ Ｐゴシック" pitchFamily="48" charset="-128"/>
              <a:cs typeface="Arial" charset="0"/>
            </a:endParaRPr>
          </a:p>
        </p:txBody>
      </p:sp>
      <p:sp>
        <p:nvSpPr>
          <p:cNvPr id="11" name="Pentagon 11"/>
          <p:cNvSpPr/>
          <p:nvPr/>
        </p:nvSpPr>
        <p:spPr bwMode="auto">
          <a:xfrm>
            <a:off x="6115652" y="4168004"/>
            <a:ext cx="1114275" cy="432439"/>
          </a:xfrm>
          <a:prstGeom prst="homePlate">
            <a:avLst>
              <a:gd name="adj" fmla="val 24723"/>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GB" sz="800" b="0" dirty="0">
              <a:solidFill>
                <a:srgbClr val="FFFFFF"/>
              </a:solidFill>
              <a:ea typeface="ＭＳ Ｐゴシック" pitchFamily="48" charset="-128"/>
              <a:cs typeface="Arial" charset="0"/>
            </a:endParaRPr>
          </a:p>
        </p:txBody>
      </p:sp>
      <p:sp>
        <p:nvSpPr>
          <p:cNvPr id="12" name="TextBox 12"/>
          <p:cNvSpPr txBox="1"/>
          <p:nvPr/>
        </p:nvSpPr>
        <p:spPr>
          <a:xfrm>
            <a:off x="6207123" y="4240764"/>
            <a:ext cx="428322" cy="261610"/>
          </a:xfrm>
          <a:prstGeom prst="rect">
            <a:avLst/>
          </a:prstGeom>
          <a:solidFill>
            <a:schemeClr val="accent2"/>
          </a:solidFill>
        </p:spPr>
        <p:txBody>
          <a:bodyPr wrap="none" rtlCol="0">
            <a:spAutoFit/>
          </a:bodyPr>
          <a:lstStyle/>
          <a:p>
            <a:r>
              <a:rPr lang="en-GB" sz="1100" b="1" dirty="0">
                <a:solidFill>
                  <a:schemeClr val="bg1"/>
                </a:solidFill>
              </a:rPr>
              <a:t>Jan</a:t>
            </a:r>
          </a:p>
        </p:txBody>
      </p:sp>
      <p:sp>
        <p:nvSpPr>
          <p:cNvPr id="13" name="TextBox 13"/>
          <p:cNvSpPr txBox="1"/>
          <p:nvPr/>
        </p:nvSpPr>
        <p:spPr>
          <a:xfrm>
            <a:off x="6672789" y="4240764"/>
            <a:ext cx="458780" cy="261610"/>
          </a:xfrm>
          <a:prstGeom prst="rect">
            <a:avLst/>
          </a:prstGeom>
          <a:solidFill>
            <a:schemeClr val="accent2"/>
          </a:solidFill>
        </p:spPr>
        <p:txBody>
          <a:bodyPr wrap="none" rtlCol="0">
            <a:spAutoFit/>
          </a:bodyPr>
          <a:lstStyle/>
          <a:p>
            <a:r>
              <a:rPr lang="en-GB" sz="1100" b="1" dirty="0">
                <a:solidFill>
                  <a:schemeClr val="bg1"/>
                </a:solidFill>
              </a:rPr>
              <a:t>May</a:t>
            </a:r>
          </a:p>
        </p:txBody>
      </p:sp>
      <p:sp>
        <p:nvSpPr>
          <p:cNvPr id="14" name="Pentagon 14"/>
          <p:cNvSpPr/>
          <p:nvPr/>
        </p:nvSpPr>
        <p:spPr bwMode="auto">
          <a:xfrm>
            <a:off x="7255805" y="4850086"/>
            <a:ext cx="509317" cy="422213"/>
          </a:xfrm>
          <a:prstGeom prst="homePlate">
            <a:avLst>
              <a:gd name="adj" fmla="val 24723"/>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GB" sz="800" b="0" dirty="0">
              <a:solidFill>
                <a:srgbClr val="FFFFFF"/>
              </a:solidFill>
              <a:ea typeface="ＭＳ Ｐゴシック" pitchFamily="48" charset="-128"/>
              <a:cs typeface="Arial" charset="0"/>
            </a:endParaRPr>
          </a:p>
        </p:txBody>
      </p:sp>
      <p:sp>
        <p:nvSpPr>
          <p:cNvPr id="15" name="TextBox 15"/>
          <p:cNvSpPr txBox="1"/>
          <p:nvPr/>
        </p:nvSpPr>
        <p:spPr>
          <a:xfrm>
            <a:off x="7284546" y="4864105"/>
            <a:ext cx="412292" cy="400110"/>
          </a:xfrm>
          <a:prstGeom prst="rect">
            <a:avLst/>
          </a:prstGeom>
          <a:solidFill>
            <a:schemeClr val="accent2"/>
          </a:solidFill>
        </p:spPr>
        <p:txBody>
          <a:bodyPr wrap="none" rtlCol="0">
            <a:spAutoFit/>
          </a:bodyPr>
          <a:lstStyle/>
          <a:p>
            <a:r>
              <a:rPr lang="en-GB" sz="1000" b="1" dirty="0">
                <a:solidFill>
                  <a:schemeClr val="bg1"/>
                </a:solidFill>
              </a:rPr>
              <a:t>Jun</a:t>
            </a:r>
          </a:p>
          <a:p>
            <a:r>
              <a:rPr lang="en-GB" sz="1000" b="1" dirty="0">
                <a:solidFill>
                  <a:schemeClr val="bg1"/>
                </a:solidFill>
              </a:rPr>
              <a:t>-Jul</a:t>
            </a:r>
          </a:p>
        </p:txBody>
      </p:sp>
      <p:sp>
        <p:nvSpPr>
          <p:cNvPr id="16" name="Pentagon 16"/>
          <p:cNvSpPr/>
          <p:nvPr/>
        </p:nvSpPr>
        <p:spPr bwMode="auto">
          <a:xfrm>
            <a:off x="7796151" y="5600321"/>
            <a:ext cx="942407" cy="430384"/>
          </a:xfrm>
          <a:prstGeom prst="homePlate">
            <a:avLst>
              <a:gd name="adj" fmla="val 24723"/>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GB" sz="800" b="0" dirty="0">
              <a:solidFill>
                <a:srgbClr val="FFFFFF"/>
              </a:solidFill>
              <a:ea typeface="ＭＳ Ｐゴシック" pitchFamily="48" charset="-128"/>
              <a:cs typeface="Arial" charset="0"/>
            </a:endParaRPr>
          </a:p>
        </p:txBody>
      </p:sp>
      <p:sp>
        <p:nvSpPr>
          <p:cNvPr id="17" name="TextBox 17"/>
          <p:cNvSpPr txBox="1"/>
          <p:nvPr/>
        </p:nvSpPr>
        <p:spPr>
          <a:xfrm>
            <a:off x="7796271" y="5684708"/>
            <a:ext cx="460382" cy="261610"/>
          </a:xfrm>
          <a:prstGeom prst="rect">
            <a:avLst/>
          </a:prstGeom>
          <a:solidFill>
            <a:schemeClr val="accent2"/>
          </a:solidFill>
        </p:spPr>
        <p:txBody>
          <a:bodyPr wrap="none" rtlCol="0">
            <a:spAutoFit/>
          </a:bodyPr>
          <a:lstStyle/>
          <a:p>
            <a:r>
              <a:rPr lang="en-GB" sz="1100" b="1" dirty="0">
                <a:solidFill>
                  <a:schemeClr val="bg1"/>
                </a:solidFill>
              </a:rPr>
              <a:t>Aug</a:t>
            </a:r>
          </a:p>
        </p:txBody>
      </p:sp>
      <p:sp>
        <p:nvSpPr>
          <p:cNvPr id="18" name="TextBox 18"/>
          <p:cNvSpPr txBox="1"/>
          <p:nvPr/>
        </p:nvSpPr>
        <p:spPr>
          <a:xfrm>
            <a:off x="8218733" y="5684708"/>
            <a:ext cx="444352" cy="261610"/>
          </a:xfrm>
          <a:prstGeom prst="rect">
            <a:avLst/>
          </a:prstGeom>
          <a:solidFill>
            <a:schemeClr val="accent2"/>
          </a:solidFill>
        </p:spPr>
        <p:txBody>
          <a:bodyPr wrap="none" rtlCol="0">
            <a:spAutoFit/>
          </a:bodyPr>
          <a:lstStyle/>
          <a:p>
            <a:r>
              <a:rPr lang="en-GB" sz="1100" b="1" dirty="0">
                <a:solidFill>
                  <a:schemeClr val="bg1"/>
                </a:solidFill>
              </a:rPr>
              <a:t>Dec</a:t>
            </a:r>
          </a:p>
        </p:txBody>
      </p:sp>
      <p:sp>
        <p:nvSpPr>
          <p:cNvPr id="19" name="Pentagon 19"/>
          <p:cNvSpPr/>
          <p:nvPr/>
        </p:nvSpPr>
        <p:spPr bwMode="auto">
          <a:xfrm>
            <a:off x="4646959" y="3109808"/>
            <a:ext cx="1396112" cy="250456"/>
          </a:xfrm>
          <a:prstGeom prst="homePlate">
            <a:avLst>
              <a:gd name="adj" fmla="val 24723"/>
            </a:avLst>
          </a:prstGeom>
          <a:solidFill>
            <a:schemeClr val="accent2"/>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GB" sz="200" b="0" dirty="0">
              <a:solidFill>
                <a:srgbClr val="FFFFFF"/>
              </a:solidFill>
              <a:ea typeface="ＭＳ Ｐゴシック" pitchFamily="48" charset="-128"/>
              <a:cs typeface="Arial" charset="0"/>
            </a:endParaRPr>
          </a:p>
        </p:txBody>
      </p:sp>
      <p:sp>
        <p:nvSpPr>
          <p:cNvPr id="20" name="TextBox 6"/>
          <p:cNvSpPr txBox="1"/>
          <p:nvPr/>
        </p:nvSpPr>
        <p:spPr>
          <a:xfrm>
            <a:off x="4771088" y="3097932"/>
            <a:ext cx="388248" cy="261610"/>
          </a:xfrm>
          <a:prstGeom prst="rect">
            <a:avLst/>
          </a:prstGeom>
          <a:solidFill>
            <a:schemeClr val="accent2"/>
          </a:solidFill>
        </p:spPr>
        <p:txBody>
          <a:bodyPr wrap="none" rtlCol="0">
            <a:spAutoFit/>
          </a:bodyPr>
          <a:lstStyle/>
          <a:p>
            <a:r>
              <a:rPr lang="en-GB" sz="1100" b="1" dirty="0">
                <a:solidFill>
                  <a:schemeClr val="bg1"/>
                </a:solidFill>
              </a:rPr>
              <a:t>Jul</a:t>
            </a:r>
          </a:p>
        </p:txBody>
      </p:sp>
      <p:sp>
        <p:nvSpPr>
          <p:cNvPr id="21" name="TextBox 6"/>
          <p:cNvSpPr txBox="1"/>
          <p:nvPr/>
        </p:nvSpPr>
        <p:spPr>
          <a:xfrm>
            <a:off x="5518711" y="3102275"/>
            <a:ext cx="444352" cy="261610"/>
          </a:xfrm>
          <a:prstGeom prst="rect">
            <a:avLst/>
          </a:prstGeom>
          <a:solidFill>
            <a:schemeClr val="accent2"/>
          </a:solidFill>
        </p:spPr>
        <p:txBody>
          <a:bodyPr wrap="none" rtlCol="0">
            <a:spAutoFit/>
          </a:bodyPr>
          <a:lstStyle/>
          <a:p>
            <a:r>
              <a:rPr lang="en-GB" sz="1100" b="1" dirty="0">
                <a:solidFill>
                  <a:schemeClr val="bg1"/>
                </a:solidFill>
              </a:rPr>
              <a:t>Dec</a:t>
            </a:r>
          </a:p>
        </p:txBody>
      </p:sp>
      <p:sp>
        <p:nvSpPr>
          <p:cNvPr id="22" name="Rounded Rectangular Callout 3"/>
          <p:cNvSpPr/>
          <p:nvPr/>
        </p:nvSpPr>
        <p:spPr>
          <a:xfrm>
            <a:off x="2755076" y="4062639"/>
            <a:ext cx="2763636" cy="611466"/>
          </a:xfrm>
          <a:prstGeom prst="wedgeRoundRectCallout">
            <a:avLst>
              <a:gd name="adj1" fmla="val 72240"/>
              <a:gd name="adj2" fmla="val -1420"/>
              <a:gd name="adj3" fmla="val 1666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accent1"/>
                </a:solidFill>
              </a:rPr>
              <a:t>Delivered the detailed plan and approach</a:t>
            </a:r>
          </a:p>
        </p:txBody>
      </p:sp>
      <p:sp>
        <p:nvSpPr>
          <p:cNvPr id="23" name="Rounded Rectangular Callout 22"/>
          <p:cNvSpPr/>
          <p:nvPr/>
        </p:nvSpPr>
        <p:spPr>
          <a:xfrm>
            <a:off x="3095351" y="4927539"/>
            <a:ext cx="3418886" cy="398968"/>
          </a:xfrm>
          <a:prstGeom prst="wedgeRoundRectCallout">
            <a:avLst>
              <a:gd name="adj1" fmla="val 73099"/>
              <a:gd name="adj2" fmla="val -24726"/>
              <a:gd name="adj3" fmla="val 1666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accent1"/>
                </a:solidFill>
              </a:rPr>
              <a:t>Delivered “The Fact Book”</a:t>
            </a:r>
          </a:p>
        </p:txBody>
      </p:sp>
      <p:sp>
        <p:nvSpPr>
          <p:cNvPr id="24" name="Rounded Rectangular Callout 23"/>
          <p:cNvSpPr/>
          <p:nvPr/>
        </p:nvSpPr>
        <p:spPr>
          <a:xfrm>
            <a:off x="2802576" y="5495564"/>
            <a:ext cx="3994686" cy="653967"/>
          </a:xfrm>
          <a:prstGeom prst="wedgeRoundRectCallout">
            <a:avLst>
              <a:gd name="adj1" fmla="val 73099"/>
              <a:gd name="adj2" fmla="val -24726"/>
              <a:gd name="adj3" fmla="val 1666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accent1"/>
                </a:solidFill>
              </a:rPr>
              <a:t>Enabled the system to be delivered – Functional Specifications</a:t>
            </a:r>
          </a:p>
        </p:txBody>
      </p:sp>
      <p:grpSp>
        <p:nvGrpSpPr>
          <p:cNvPr id="25" name="Group 26"/>
          <p:cNvGrpSpPr/>
          <p:nvPr/>
        </p:nvGrpSpPr>
        <p:grpSpPr>
          <a:xfrm>
            <a:off x="4735222" y="1947558"/>
            <a:ext cx="2948416" cy="460273"/>
            <a:chOff x="7696838" y="1846199"/>
            <a:chExt cx="2948416" cy="460273"/>
          </a:xfrm>
        </p:grpSpPr>
        <p:sp>
          <p:nvSpPr>
            <p:cNvPr id="26" name="Bevel 25"/>
            <p:cNvSpPr/>
            <p:nvPr/>
          </p:nvSpPr>
          <p:spPr>
            <a:xfrm>
              <a:off x="7696838" y="1846199"/>
              <a:ext cx="2948416" cy="460273"/>
            </a:xfrm>
            <a:prstGeom prst="bevel">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lumMod val="50000"/>
                    <a:lumOff val="50000"/>
                  </a:schemeClr>
                </a:solidFill>
              </a:endParaRPr>
            </a:p>
          </p:txBody>
        </p:sp>
        <p:sp>
          <p:nvSpPr>
            <p:cNvPr id="27" name="TextBox 5"/>
            <p:cNvSpPr txBox="1"/>
            <p:nvPr/>
          </p:nvSpPr>
          <p:spPr>
            <a:xfrm>
              <a:off x="7798093" y="1924348"/>
              <a:ext cx="2718693" cy="276999"/>
            </a:xfrm>
            <a:prstGeom prst="rect">
              <a:avLst/>
            </a:prstGeom>
            <a:noFill/>
          </p:spPr>
          <p:txBody>
            <a:bodyPr wrap="none" lIns="0" tIns="0" rIns="0" bIns="0" rtlCol="0">
              <a:spAutoFit/>
            </a:bodyPr>
            <a:lstStyle/>
            <a:p>
              <a:r>
                <a:rPr lang="en-GB" dirty="0">
                  <a:solidFill>
                    <a:schemeClr val="accent5"/>
                  </a:solidFill>
                </a:rPr>
                <a:t>Initially NEMO led initiative</a:t>
              </a:r>
            </a:p>
          </p:txBody>
        </p:sp>
      </p:grpSp>
      <p:grpSp>
        <p:nvGrpSpPr>
          <p:cNvPr id="28" name="Group 27"/>
          <p:cNvGrpSpPr/>
          <p:nvPr/>
        </p:nvGrpSpPr>
        <p:grpSpPr>
          <a:xfrm>
            <a:off x="5692854" y="2523046"/>
            <a:ext cx="2948416" cy="460273"/>
            <a:chOff x="7696838" y="1846199"/>
            <a:chExt cx="2948416" cy="460273"/>
          </a:xfrm>
        </p:grpSpPr>
        <p:sp>
          <p:nvSpPr>
            <p:cNvPr id="29" name="Bevel 28"/>
            <p:cNvSpPr/>
            <p:nvPr/>
          </p:nvSpPr>
          <p:spPr>
            <a:xfrm>
              <a:off x="7696838" y="1846199"/>
              <a:ext cx="2948416" cy="460273"/>
            </a:xfrm>
            <a:prstGeom prst="bevel">
              <a:avLst/>
            </a:prstGeom>
            <a:solidFill>
              <a:schemeClr val="bg1"/>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lumMod val="50000"/>
                    <a:lumOff val="50000"/>
                  </a:schemeClr>
                </a:solidFill>
              </a:endParaRPr>
            </a:p>
          </p:txBody>
        </p:sp>
        <p:sp>
          <p:nvSpPr>
            <p:cNvPr id="30" name="TextBox 29"/>
            <p:cNvSpPr txBox="1"/>
            <p:nvPr/>
          </p:nvSpPr>
          <p:spPr>
            <a:xfrm>
              <a:off x="7798093" y="1924348"/>
              <a:ext cx="2718693" cy="276999"/>
            </a:xfrm>
            <a:prstGeom prst="rect">
              <a:avLst/>
            </a:prstGeom>
            <a:noFill/>
          </p:spPr>
          <p:txBody>
            <a:bodyPr wrap="none" lIns="0" tIns="0" rIns="0" bIns="0" rtlCol="0">
              <a:spAutoFit/>
            </a:bodyPr>
            <a:lstStyle/>
            <a:p>
              <a:r>
                <a:rPr lang="en-GB" dirty="0">
                  <a:solidFill>
                    <a:schemeClr val="accent5"/>
                  </a:solidFill>
                </a:rPr>
                <a:t>TSOs join November 2013</a:t>
              </a:r>
            </a:p>
          </p:txBody>
        </p:sp>
      </p:grpSp>
    </p:spTree>
    <p:extLst>
      <p:ext uri="{BB962C8B-B14F-4D97-AF65-F5344CB8AC3E}">
        <p14:creationId xmlns:p14="http://schemas.microsoft.com/office/powerpoint/2010/main" val="29024533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44"/>
          <p:cNvCxnSpPr/>
          <p:nvPr/>
        </p:nvCxnSpPr>
        <p:spPr>
          <a:xfrm>
            <a:off x="6559187" y="3129653"/>
            <a:ext cx="2111682" cy="2075524"/>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65" name="Straight Connector 78"/>
          <p:cNvCxnSpPr/>
          <p:nvPr/>
        </p:nvCxnSpPr>
        <p:spPr>
          <a:xfrm flipH="1">
            <a:off x="2259870" y="3139568"/>
            <a:ext cx="2033147" cy="982032"/>
          </a:xfrm>
          <a:prstGeom prst="line">
            <a:avLst/>
          </a:prstGeom>
          <a:ln w="12700">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61" name="Straight Connector 51"/>
          <p:cNvCxnSpPr>
            <a:stCxn id="105" idx="1"/>
          </p:cNvCxnSpPr>
          <p:nvPr/>
        </p:nvCxnSpPr>
        <p:spPr>
          <a:xfrm>
            <a:off x="4232121" y="1646270"/>
            <a:ext cx="0" cy="1013248"/>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8744632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540386" y="792334"/>
            <a:ext cx="8046000" cy="583015"/>
          </a:xfrm>
        </p:spPr>
        <p:txBody>
          <a:bodyPr/>
          <a:lstStyle/>
          <a:p>
            <a:r>
              <a:rPr lang="en-GB" dirty="0"/>
              <a:t>And the Delivery Plan until Go-Live … </a:t>
            </a:r>
          </a:p>
        </p:txBody>
      </p:sp>
      <p:sp>
        <p:nvSpPr>
          <p:cNvPr id="66" name="TextBox 8"/>
          <p:cNvSpPr txBox="1"/>
          <p:nvPr/>
        </p:nvSpPr>
        <p:spPr>
          <a:xfrm>
            <a:off x="7219537" y="1562795"/>
            <a:ext cx="425788" cy="195814"/>
          </a:xfrm>
          <a:prstGeom prst="rect">
            <a:avLst/>
          </a:prstGeom>
          <a:ln w="12700">
            <a:solidFill>
              <a:schemeClr val="tx1"/>
            </a:solid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spAutoFit/>
          </a:bodyPr>
          <a:lstStyle/>
          <a:p>
            <a:pPr algn="ctr"/>
            <a:r>
              <a:rPr lang="en-US" sz="800" b="1" dirty="0" smtClean="0">
                <a:solidFill>
                  <a:schemeClr val="tx1"/>
                </a:solidFill>
              </a:rPr>
              <a:t>May </a:t>
            </a:r>
            <a:r>
              <a:rPr lang="en-US" sz="800" b="1" dirty="0">
                <a:solidFill>
                  <a:schemeClr val="tx1"/>
                </a:solidFill>
              </a:rPr>
              <a:t>18</a:t>
            </a:r>
          </a:p>
        </p:txBody>
      </p:sp>
      <p:cxnSp>
        <p:nvCxnSpPr>
          <p:cNvPr id="69" name="Straight Connector 13"/>
          <p:cNvCxnSpPr>
            <a:stCxn id="66" idx="3"/>
          </p:cNvCxnSpPr>
          <p:nvPr/>
        </p:nvCxnSpPr>
        <p:spPr>
          <a:xfrm>
            <a:off x="7645325" y="1660702"/>
            <a:ext cx="0" cy="80883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0" name="Straight Connector 18"/>
          <p:cNvCxnSpPr>
            <a:stCxn id="71" idx="1"/>
          </p:cNvCxnSpPr>
          <p:nvPr/>
        </p:nvCxnSpPr>
        <p:spPr>
          <a:xfrm>
            <a:off x="1417961" y="1646270"/>
            <a:ext cx="8173" cy="1483383"/>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71" name="TextBox 20"/>
          <p:cNvSpPr txBox="1"/>
          <p:nvPr/>
        </p:nvSpPr>
        <p:spPr>
          <a:xfrm>
            <a:off x="1417961" y="1548363"/>
            <a:ext cx="428132" cy="195814"/>
          </a:xfrm>
          <a:prstGeom prst="rect">
            <a:avLst/>
          </a:prstGeom>
          <a:ln w="12700">
            <a:solidFill>
              <a:schemeClr val="tx1"/>
            </a:solid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spAutoFit/>
          </a:bodyPr>
          <a:lstStyle/>
          <a:p>
            <a:pPr algn="ctr"/>
            <a:r>
              <a:rPr lang="en-US" sz="800" b="1" dirty="0">
                <a:solidFill>
                  <a:prstClr val="black"/>
                </a:solidFill>
              </a:rPr>
              <a:t> Apr 15</a:t>
            </a:r>
          </a:p>
        </p:txBody>
      </p:sp>
      <p:cxnSp>
        <p:nvCxnSpPr>
          <p:cNvPr id="84" name="Straight Connector 52"/>
          <p:cNvCxnSpPr>
            <a:stCxn id="86" idx="3"/>
          </p:cNvCxnSpPr>
          <p:nvPr/>
        </p:nvCxnSpPr>
        <p:spPr>
          <a:xfrm>
            <a:off x="6637190" y="1660702"/>
            <a:ext cx="0" cy="891903"/>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86" name="TextBox 53"/>
          <p:cNvSpPr txBox="1"/>
          <p:nvPr/>
        </p:nvSpPr>
        <p:spPr>
          <a:xfrm>
            <a:off x="6186117" y="1562795"/>
            <a:ext cx="451073" cy="195814"/>
          </a:xfrm>
          <a:prstGeom prst="rect">
            <a:avLst/>
          </a:prstGeom>
          <a:ln w="12700">
            <a:solidFill>
              <a:schemeClr val="tx1"/>
            </a:solid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spAutoFit/>
          </a:bodyPr>
          <a:lstStyle/>
          <a:p>
            <a:pPr algn="ctr"/>
            <a:r>
              <a:rPr lang="en-US" sz="800" b="1" dirty="0">
                <a:solidFill>
                  <a:schemeClr val="tx1"/>
                </a:solidFill>
              </a:rPr>
              <a:t>Nov 17</a:t>
            </a:r>
          </a:p>
        </p:txBody>
      </p:sp>
      <p:sp>
        <p:nvSpPr>
          <p:cNvPr id="87" name="Punthaak 47"/>
          <p:cNvSpPr/>
          <p:nvPr/>
        </p:nvSpPr>
        <p:spPr>
          <a:xfrm>
            <a:off x="7616482" y="2461101"/>
            <a:ext cx="1092405" cy="670036"/>
          </a:xfrm>
          <a:prstGeom prst="chevron">
            <a:avLst>
              <a:gd name="adj" fmla="val 46191"/>
            </a:avLst>
          </a:prstGeom>
          <a:solidFill>
            <a:schemeClr val="accent3"/>
          </a:solidFill>
          <a:ln>
            <a:solidFill>
              <a:schemeClr val="accent3"/>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Go-Live Window</a:t>
            </a:r>
          </a:p>
        </p:txBody>
      </p:sp>
      <p:cxnSp>
        <p:nvCxnSpPr>
          <p:cNvPr id="89" name="Straight Connector 58"/>
          <p:cNvCxnSpPr>
            <a:stCxn id="90" idx="1"/>
          </p:cNvCxnSpPr>
          <p:nvPr/>
        </p:nvCxnSpPr>
        <p:spPr>
          <a:xfrm>
            <a:off x="424651" y="1660702"/>
            <a:ext cx="0" cy="80883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90" name="TextBox 59"/>
          <p:cNvSpPr txBox="1"/>
          <p:nvPr/>
        </p:nvSpPr>
        <p:spPr>
          <a:xfrm>
            <a:off x="424651" y="1562795"/>
            <a:ext cx="418322" cy="195814"/>
          </a:xfrm>
          <a:prstGeom prst="rect">
            <a:avLst/>
          </a:prstGeom>
          <a:ln w="12700">
            <a:solidFill>
              <a:schemeClr val="tx1"/>
            </a:solid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spAutoFit/>
          </a:bodyPr>
          <a:lstStyle/>
          <a:p>
            <a:pPr algn="ctr"/>
            <a:r>
              <a:rPr lang="en-US" sz="800" b="1" dirty="0">
                <a:solidFill>
                  <a:prstClr val="black"/>
                </a:solidFill>
              </a:rPr>
              <a:t>Dec 14</a:t>
            </a:r>
          </a:p>
        </p:txBody>
      </p:sp>
      <p:sp>
        <p:nvSpPr>
          <p:cNvPr id="91" name="Punthaak 47"/>
          <p:cNvSpPr/>
          <p:nvPr/>
        </p:nvSpPr>
        <p:spPr>
          <a:xfrm>
            <a:off x="410051" y="5358636"/>
            <a:ext cx="945697" cy="202137"/>
          </a:xfrm>
          <a:prstGeom prst="chevron">
            <a:avLst/>
          </a:prstGeom>
          <a:solidFill>
            <a:schemeClr val="accent2"/>
          </a:solidFill>
          <a:ln>
            <a:solidFill>
              <a:schemeClr val="accent2"/>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In progress</a:t>
            </a:r>
          </a:p>
        </p:txBody>
      </p:sp>
      <p:sp>
        <p:nvSpPr>
          <p:cNvPr id="92" name="Punthaak 47"/>
          <p:cNvSpPr/>
          <p:nvPr/>
        </p:nvSpPr>
        <p:spPr>
          <a:xfrm>
            <a:off x="415893" y="5636330"/>
            <a:ext cx="940654" cy="202137"/>
          </a:xfrm>
          <a:prstGeom prst="chevron">
            <a:avLst/>
          </a:prstGeom>
          <a:solidFill>
            <a:schemeClr val="bg1">
              <a:lumMod val="50000"/>
            </a:schemeClr>
          </a:solidFill>
          <a:ln>
            <a:solidFill>
              <a:schemeClr val="bg1">
                <a:lumMod val="50000"/>
              </a:schemeClr>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prstClr val="white"/>
                </a:solidFill>
              </a:rPr>
              <a:t>Planned</a:t>
            </a:r>
          </a:p>
        </p:txBody>
      </p:sp>
      <p:sp>
        <p:nvSpPr>
          <p:cNvPr id="93" name="Punthaak 47"/>
          <p:cNvSpPr/>
          <p:nvPr/>
        </p:nvSpPr>
        <p:spPr>
          <a:xfrm>
            <a:off x="410052" y="5071099"/>
            <a:ext cx="945696" cy="202137"/>
          </a:xfrm>
          <a:prstGeom prst="chevron">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Completed</a:t>
            </a:r>
          </a:p>
        </p:txBody>
      </p:sp>
      <p:sp>
        <p:nvSpPr>
          <p:cNvPr id="94" name="Punthaak 47"/>
          <p:cNvSpPr/>
          <p:nvPr/>
        </p:nvSpPr>
        <p:spPr>
          <a:xfrm>
            <a:off x="1404299" y="3169261"/>
            <a:ext cx="1109233" cy="421307"/>
          </a:xfrm>
          <a:prstGeom prst="chevron">
            <a:avLst>
              <a:gd name="adj" fmla="val 34452"/>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XBID DBAG Functional Specification</a:t>
            </a:r>
          </a:p>
        </p:txBody>
      </p:sp>
      <p:cxnSp>
        <p:nvCxnSpPr>
          <p:cNvPr id="95" name="Straight Connector 73"/>
          <p:cNvCxnSpPr>
            <a:stCxn id="96" idx="3"/>
          </p:cNvCxnSpPr>
          <p:nvPr/>
        </p:nvCxnSpPr>
        <p:spPr>
          <a:xfrm flipH="1">
            <a:off x="3122934" y="1641263"/>
            <a:ext cx="4250" cy="921257"/>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96" name="TextBox 74"/>
          <p:cNvSpPr txBox="1"/>
          <p:nvPr/>
        </p:nvSpPr>
        <p:spPr>
          <a:xfrm>
            <a:off x="2656208" y="1543356"/>
            <a:ext cx="470976" cy="195814"/>
          </a:xfrm>
          <a:prstGeom prst="rect">
            <a:avLst/>
          </a:prstGeom>
          <a:ln w="12700">
            <a:solidFill>
              <a:schemeClr val="tx1"/>
            </a:solid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spAutoFit/>
          </a:bodyPr>
          <a:lstStyle/>
          <a:p>
            <a:pPr algn="ctr"/>
            <a:r>
              <a:rPr lang="en-US" sz="800" b="1" dirty="0">
                <a:solidFill>
                  <a:prstClr val="black"/>
                </a:solidFill>
              </a:rPr>
              <a:t> Mar 16</a:t>
            </a:r>
          </a:p>
        </p:txBody>
      </p:sp>
      <p:sp>
        <p:nvSpPr>
          <p:cNvPr id="99" name="Punthaak 47"/>
          <p:cNvSpPr/>
          <p:nvPr/>
        </p:nvSpPr>
        <p:spPr>
          <a:xfrm>
            <a:off x="4246520" y="2466387"/>
            <a:ext cx="2698718" cy="670036"/>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XBID Test</a:t>
            </a:r>
          </a:p>
          <a:p>
            <a:pPr algn="ctr"/>
            <a:r>
              <a:rPr lang="en-US" sz="800" b="1" dirty="0">
                <a:solidFill>
                  <a:schemeClr val="tx1"/>
                </a:solidFill>
              </a:rPr>
              <a:t>(UAT) </a:t>
            </a:r>
          </a:p>
        </p:txBody>
      </p:sp>
      <p:sp>
        <p:nvSpPr>
          <p:cNvPr id="105" name="TextBox 57"/>
          <p:cNvSpPr txBox="1"/>
          <p:nvPr/>
        </p:nvSpPr>
        <p:spPr>
          <a:xfrm>
            <a:off x="4232121" y="1548363"/>
            <a:ext cx="432061" cy="195814"/>
          </a:xfrm>
          <a:prstGeom prst="rect">
            <a:avLst/>
          </a:prstGeom>
          <a:ln w="12700">
            <a:solidFill>
              <a:schemeClr val="tx1"/>
            </a:solid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spAutoFit/>
          </a:bodyPr>
          <a:lstStyle/>
          <a:p>
            <a:pPr algn="ctr"/>
            <a:r>
              <a:rPr lang="en-US" sz="800" b="1" dirty="0">
                <a:solidFill>
                  <a:prstClr val="black"/>
                </a:solidFill>
              </a:rPr>
              <a:t>Oct 16</a:t>
            </a:r>
          </a:p>
        </p:txBody>
      </p:sp>
      <p:sp>
        <p:nvSpPr>
          <p:cNvPr id="108" name="Punthaak 47"/>
          <p:cNvSpPr/>
          <p:nvPr/>
        </p:nvSpPr>
        <p:spPr>
          <a:xfrm>
            <a:off x="3794224" y="1977143"/>
            <a:ext cx="1410346" cy="367524"/>
          </a:xfrm>
          <a:prstGeom prst="chevron">
            <a:avLst>
              <a:gd name="adj" fmla="val 51302"/>
            </a:avLst>
          </a:prstGeom>
          <a:solidFill>
            <a:srgbClr val="92D050"/>
          </a:solidFill>
          <a:ln>
            <a:solidFill>
              <a:schemeClr val="accent1"/>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LIP Testing Preparations </a:t>
            </a:r>
          </a:p>
        </p:txBody>
      </p:sp>
      <p:sp>
        <p:nvSpPr>
          <p:cNvPr id="111" name="Punthaak 47"/>
          <p:cNvSpPr/>
          <p:nvPr/>
        </p:nvSpPr>
        <p:spPr>
          <a:xfrm>
            <a:off x="3620726" y="2799060"/>
            <a:ext cx="770591" cy="335018"/>
          </a:xfrm>
          <a:prstGeom prst="chevron">
            <a:avLst>
              <a:gd name="adj" fmla="val 51302"/>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cs-CZ" sz="800" b="1" dirty="0">
                <a:solidFill>
                  <a:schemeClr val="tx1"/>
                </a:solidFill>
              </a:rPr>
              <a:t>SM </a:t>
            </a:r>
            <a:r>
              <a:rPr lang="en-US" sz="800" b="1" dirty="0">
                <a:solidFill>
                  <a:schemeClr val="tx1"/>
                </a:solidFill>
              </a:rPr>
              <a:t>Test</a:t>
            </a:r>
          </a:p>
        </p:txBody>
      </p:sp>
      <p:sp>
        <p:nvSpPr>
          <p:cNvPr id="115" name="Punthaak 47"/>
          <p:cNvSpPr/>
          <p:nvPr/>
        </p:nvSpPr>
        <p:spPr>
          <a:xfrm>
            <a:off x="2484989" y="2802998"/>
            <a:ext cx="1284390" cy="335018"/>
          </a:xfrm>
          <a:prstGeom prst="chevron">
            <a:avLst>
              <a:gd name="adj" fmla="val 51302"/>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cs-CZ" sz="800" b="1" dirty="0">
                <a:solidFill>
                  <a:schemeClr val="tx1"/>
                </a:solidFill>
              </a:rPr>
              <a:t>SM</a:t>
            </a:r>
            <a:r>
              <a:rPr lang="en-GB" sz="800" b="1" dirty="0">
                <a:solidFill>
                  <a:schemeClr val="tx1"/>
                </a:solidFill>
              </a:rPr>
              <a:t>* </a:t>
            </a:r>
          </a:p>
          <a:p>
            <a:pPr algn="ctr"/>
            <a:r>
              <a:rPr lang="en-US" sz="800" b="1" dirty="0">
                <a:solidFill>
                  <a:schemeClr val="tx1"/>
                </a:solidFill>
              </a:rPr>
              <a:t>Development</a:t>
            </a:r>
          </a:p>
        </p:txBody>
      </p:sp>
      <p:sp>
        <p:nvSpPr>
          <p:cNvPr id="116" name="Punthaak 47"/>
          <p:cNvSpPr/>
          <p:nvPr/>
        </p:nvSpPr>
        <p:spPr>
          <a:xfrm>
            <a:off x="1379983" y="2804550"/>
            <a:ext cx="1262932" cy="335018"/>
          </a:xfrm>
          <a:prstGeom prst="chevron">
            <a:avLst>
              <a:gd name="adj" fmla="val 51302"/>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DBAG SM* Specification</a:t>
            </a:r>
          </a:p>
        </p:txBody>
      </p:sp>
      <p:sp>
        <p:nvSpPr>
          <p:cNvPr id="118" name="Punthaak 47"/>
          <p:cNvSpPr/>
          <p:nvPr/>
        </p:nvSpPr>
        <p:spPr>
          <a:xfrm>
            <a:off x="1375581" y="2459617"/>
            <a:ext cx="2172271" cy="335018"/>
          </a:xfrm>
          <a:prstGeom prst="chevron">
            <a:avLst>
              <a:gd name="adj" fmla="val 51302"/>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cs-CZ" sz="800" b="1" dirty="0">
                <a:solidFill>
                  <a:schemeClr val="tx1"/>
                </a:solidFill>
              </a:rPr>
              <a:t>XBID </a:t>
            </a:r>
            <a:r>
              <a:rPr lang="en-US" sz="800" b="1" dirty="0">
                <a:solidFill>
                  <a:schemeClr val="tx1"/>
                </a:solidFill>
              </a:rPr>
              <a:t>Core Development</a:t>
            </a:r>
          </a:p>
        </p:txBody>
      </p:sp>
      <p:sp>
        <p:nvSpPr>
          <p:cNvPr id="119" name="TextBox 13"/>
          <p:cNvSpPr txBox="1"/>
          <p:nvPr/>
        </p:nvSpPr>
        <p:spPr>
          <a:xfrm>
            <a:off x="347313" y="6309986"/>
            <a:ext cx="1078821" cy="123111"/>
          </a:xfrm>
          <a:prstGeom prst="rect">
            <a:avLst/>
          </a:prstGeom>
          <a:noFill/>
        </p:spPr>
        <p:txBody>
          <a:bodyPr wrap="none" lIns="0" tIns="0" rIns="0" bIns="0" rtlCol="0">
            <a:spAutoFit/>
          </a:bodyPr>
          <a:lstStyle/>
          <a:p>
            <a:r>
              <a:rPr lang="en-GB" sz="800" dirty="0"/>
              <a:t>*SM – Shipping Module</a:t>
            </a:r>
          </a:p>
        </p:txBody>
      </p:sp>
      <p:sp>
        <p:nvSpPr>
          <p:cNvPr id="120" name="Punthaak 47"/>
          <p:cNvSpPr/>
          <p:nvPr/>
        </p:nvSpPr>
        <p:spPr>
          <a:xfrm>
            <a:off x="3122934" y="2459617"/>
            <a:ext cx="1246883" cy="335018"/>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XBID Test </a:t>
            </a:r>
          </a:p>
          <a:p>
            <a:pPr algn="ctr"/>
            <a:r>
              <a:rPr lang="en-US" sz="800" b="1" dirty="0">
                <a:solidFill>
                  <a:schemeClr val="tx1"/>
                </a:solidFill>
              </a:rPr>
              <a:t>(FAT-IAT)</a:t>
            </a:r>
          </a:p>
        </p:txBody>
      </p:sp>
      <p:sp>
        <p:nvSpPr>
          <p:cNvPr id="117" name="Punthaak 47"/>
          <p:cNvSpPr/>
          <p:nvPr/>
        </p:nvSpPr>
        <p:spPr>
          <a:xfrm>
            <a:off x="435223" y="2459617"/>
            <a:ext cx="1324098" cy="670036"/>
          </a:xfrm>
          <a:prstGeom prst="chevron">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Transitional Period</a:t>
            </a:r>
          </a:p>
        </p:txBody>
      </p:sp>
      <p:sp>
        <p:nvSpPr>
          <p:cNvPr id="75" name="Foliennummernplatzhalter 3"/>
          <p:cNvSpPr txBox="1">
            <a:spLocks/>
          </p:cNvSpPr>
          <p:nvPr/>
        </p:nvSpPr>
        <p:spPr>
          <a:xfrm>
            <a:off x="5657850" y="6524625"/>
            <a:ext cx="571500" cy="246221"/>
          </a:xfrm>
          <a:prstGeom prst="rect">
            <a:avLst/>
          </a:prstGeom>
          <a:noFill/>
        </p:spPr>
        <p:txBody>
          <a:bodyPr wrap="square" lIns="0" tIns="0" rIns="0" bIns="0">
            <a:spAutoFit/>
          </a:bodyPr>
          <a:lstStyle>
            <a:defPPr>
              <a:defRPr lang="de-DE"/>
            </a:defPPr>
            <a:lvl1pPr>
              <a:defRPr sz="1600" b="1"/>
            </a:lvl1pPr>
          </a:lstStyle>
          <a:p>
            <a:fld id="{AD89DE65-C7D9-40CE-B96E-B8C3E7B233C5}" type="slidenum">
              <a:rPr lang="en-US"/>
              <a:pPr/>
              <a:t>14</a:t>
            </a:fld>
            <a:endParaRPr lang="en-US" dirty="0"/>
          </a:p>
        </p:txBody>
      </p:sp>
      <p:sp>
        <p:nvSpPr>
          <p:cNvPr id="3" name="Slide Number Placeholder 2"/>
          <p:cNvSpPr>
            <a:spLocks noGrp="1"/>
          </p:cNvSpPr>
          <p:nvPr>
            <p:ph type="sldNum" sz="quarter" idx="11"/>
          </p:nvPr>
        </p:nvSpPr>
        <p:spPr/>
        <p:txBody>
          <a:bodyPr/>
          <a:lstStyle/>
          <a:p>
            <a:fld id="{AD89DE65-C7D9-40CE-B96E-B8C3E7B233C5}" type="slidenum">
              <a:rPr lang="de-DE" smtClean="0"/>
              <a:pPr/>
              <a:t>14</a:t>
            </a:fld>
            <a:endParaRPr lang="de-DE" dirty="0"/>
          </a:p>
        </p:txBody>
      </p:sp>
      <p:sp>
        <p:nvSpPr>
          <p:cNvPr id="124" name="Punthaak 47"/>
          <p:cNvSpPr/>
          <p:nvPr/>
        </p:nvSpPr>
        <p:spPr>
          <a:xfrm>
            <a:off x="2276573" y="4127490"/>
            <a:ext cx="1110896" cy="323955"/>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1</a:t>
            </a:r>
          </a:p>
          <a:p>
            <a:pPr algn="ctr"/>
            <a:r>
              <a:rPr lang="en-US" sz="800" b="1" dirty="0">
                <a:solidFill>
                  <a:schemeClr val="tx1"/>
                </a:solidFill>
              </a:rPr>
              <a:t>(Functional)</a:t>
            </a:r>
          </a:p>
        </p:txBody>
      </p:sp>
      <p:sp>
        <p:nvSpPr>
          <p:cNvPr id="125" name="Punthaak 47"/>
          <p:cNvSpPr/>
          <p:nvPr/>
        </p:nvSpPr>
        <p:spPr>
          <a:xfrm>
            <a:off x="3135621" y="4127490"/>
            <a:ext cx="1110896" cy="323955"/>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3  </a:t>
            </a:r>
          </a:p>
          <a:p>
            <a:pPr algn="ctr"/>
            <a:r>
              <a:rPr lang="en-US" sz="800" b="1" dirty="0">
                <a:solidFill>
                  <a:schemeClr val="tx1"/>
                </a:solidFill>
              </a:rPr>
              <a:t>(Integration)</a:t>
            </a:r>
          </a:p>
        </p:txBody>
      </p:sp>
      <p:sp>
        <p:nvSpPr>
          <p:cNvPr id="126" name="Punthaak 47"/>
          <p:cNvSpPr/>
          <p:nvPr/>
        </p:nvSpPr>
        <p:spPr>
          <a:xfrm>
            <a:off x="4008587" y="4127490"/>
            <a:ext cx="1110896" cy="323955"/>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5 </a:t>
            </a:r>
          </a:p>
          <a:p>
            <a:pPr algn="ctr"/>
            <a:r>
              <a:rPr lang="en-US" sz="800" b="1" dirty="0">
                <a:solidFill>
                  <a:schemeClr val="tx1"/>
                </a:solidFill>
              </a:rPr>
              <a:t>(Fallback)</a:t>
            </a:r>
          </a:p>
        </p:txBody>
      </p:sp>
      <p:sp>
        <p:nvSpPr>
          <p:cNvPr id="127" name="Punthaak 47"/>
          <p:cNvSpPr/>
          <p:nvPr/>
        </p:nvSpPr>
        <p:spPr>
          <a:xfrm>
            <a:off x="4930097" y="4127490"/>
            <a:ext cx="1089557" cy="323955"/>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2 </a:t>
            </a:r>
          </a:p>
          <a:p>
            <a:pPr algn="ctr"/>
            <a:r>
              <a:rPr lang="en-US" sz="800" b="1" dirty="0">
                <a:solidFill>
                  <a:schemeClr val="tx1"/>
                </a:solidFill>
              </a:rPr>
              <a:t>(Performance)</a:t>
            </a:r>
          </a:p>
        </p:txBody>
      </p:sp>
      <p:sp>
        <p:nvSpPr>
          <p:cNvPr id="128" name="Punthaak 47"/>
          <p:cNvSpPr/>
          <p:nvPr/>
        </p:nvSpPr>
        <p:spPr>
          <a:xfrm>
            <a:off x="5854772" y="4126949"/>
            <a:ext cx="1000591" cy="323955"/>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4 </a:t>
            </a:r>
          </a:p>
          <a:p>
            <a:pPr algn="ctr"/>
            <a:r>
              <a:rPr lang="en-US" sz="800" b="1" dirty="0">
                <a:solidFill>
                  <a:schemeClr val="tx1"/>
                </a:solidFill>
              </a:rPr>
              <a:t>(Simulation)</a:t>
            </a:r>
          </a:p>
        </p:txBody>
      </p:sp>
      <p:sp>
        <p:nvSpPr>
          <p:cNvPr id="168" name="Punthaak 47"/>
          <p:cNvSpPr/>
          <p:nvPr/>
        </p:nvSpPr>
        <p:spPr>
          <a:xfrm>
            <a:off x="5103196" y="1977143"/>
            <a:ext cx="2329235" cy="367524"/>
          </a:xfrm>
          <a:prstGeom prst="chevron">
            <a:avLst>
              <a:gd name="adj" fmla="val 51302"/>
            </a:avLst>
          </a:prstGeom>
          <a:gradFill flip="none" rotWithShape="1">
            <a:gsLst>
              <a:gs pos="0">
                <a:schemeClr val="accent2"/>
              </a:gs>
              <a:gs pos="100000">
                <a:srgbClr val="92D050"/>
              </a:gs>
            </a:gsLst>
            <a:lin ang="8100000" scaled="1"/>
            <a:tileRect/>
          </a:gradFill>
          <a:ln>
            <a:solidFill>
              <a:schemeClr val="accent5"/>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prstClr val="white"/>
                </a:solidFill>
              </a:rPr>
              <a:t>LIP Testing Execution </a:t>
            </a:r>
          </a:p>
        </p:txBody>
      </p:sp>
      <p:sp>
        <p:nvSpPr>
          <p:cNvPr id="192" name="Punthaak 47"/>
          <p:cNvSpPr/>
          <p:nvPr/>
        </p:nvSpPr>
        <p:spPr>
          <a:xfrm>
            <a:off x="6877588" y="4407737"/>
            <a:ext cx="835030" cy="323955"/>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Security tests</a:t>
            </a:r>
          </a:p>
        </p:txBody>
      </p:sp>
      <p:sp>
        <p:nvSpPr>
          <p:cNvPr id="8" name="Textfeld 7"/>
          <p:cNvSpPr txBox="1"/>
          <p:nvPr/>
        </p:nvSpPr>
        <p:spPr>
          <a:xfrm>
            <a:off x="1363279" y="4219282"/>
            <a:ext cx="896591" cy="184666"/>
          </a:xfrm>
          <a:prstGeom prst="rect">
            <a:avLst/>
          </a:prstGeom>
          <a:noFill/>
        </p:spPr>
        <p:txBody>
          <a:bodyPr wrap="square" lIns="0" tIns="0" rIns="0" bIns="0" rtlCol="0">
            <a:spAutoFit/>
          </a:bodyPr>
          <a:lstStyle/>
          <a:p>
            <a:r>
              <a:rPr lang="de-DE" sz="1200" dirty="0"/>
              <a:t>Release 1.0</a:t>
            </a:r>
          </a:p>
        </p:txBody>
      </p:sp>
      <p:sp>
        <p:nvSpPr>
          <p:cNvPr id="57" name="Punthaak 47"/>
          <p:cNvSpPr/>
          <p:nvPr/>
        </p:nvSpPr>
        <p:spPr>
          <a:xfrm>
            <a:off x="412573" y="5910869"/>
            <a:ext cx="940654" cy="202137"/>
          </a:xfrm>
          <a:prstGeom prst="chevron">
            <a:avLst/>
          </a:prstGeom>
          <a:solidFill>
            <a:schemeClr val="bg1"/>
          </a:solidFill>
          <a:ln>
            <a:solidFill>
              <a:schemeClr val="accent1"/>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LIP scope</a:t>
            </a:r>
          </a:p>
        </p:txBody>
      </p:sp>
      <p:sp>
        <p:nvSpPr>
          <p:cNvPr id="63" name="Punthaak 47"/>
          <p:cNvSpPr/>
          <p:nvPr/>
        </p:nvSpPr>
        <p:spPr>
          <a:xfrm>
            <a:off x="3620726" y="4718667"/>
            <a:ext cx="1330169" cy="322174"/>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a:t>
            </a:r>
          </a:p>
          <a:p>
            <a:pPr algn="ctr"/>
            <a:r>
              <a:rPr lang="en-US" sz="800" b="1" dirty="0">
                <a:solidFill>
                  <a:schemeClr val="tx1"/>
                </a:solidFill>
              </a:rPr>
              <a:t>Preparations</a:t>
            </a:r>
          </a:p>
        </p:txBody>
      </p:sp>
      <p:sp>
        <p:nvSpPr>
          <p:cNvPr id="72" name="Punthaak 47"/>
          <p:cNvSpPr/>
          <p:nvPr/>
        </p:nvSpPr>
        <p:spPr>
          <a:xfrm>
            <a:off x="4841370" y="4717440"/>
            <a:ext cx="2102097" cy="323955"/>
          </a:xfrm>
          <a:prstGeom prst="chevron">
            <a:avLst>
              <a:gd name="adj" fmla="val 48299"/>
            </a:avLst>
          </a:prstGeom>
          <a:solidFill>
            <a:srgbClr val="92D050"/>
          </a:solidFill>
          <a:ln>
            <a:solidFill>
              <a:srgbClr val="92D050"/>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1 (new functionalities.), </a:t>
            </a:r>
          </a:p>
          <a:p>
            <a:pPr algn="ctr"/>
            <a:r>
              <a:rPr lang="en-US" sz="800" b="1" dirty="0">
                <a:solidFill>
                  <a:schemeClr val="tx1"/>
                </a:solidFill>
              </a:rPr>
              <a:t>UAT 3 (reduced) &amp; regression tests</a:t>
            </a:r>
          </a:p>
        </p:txBody>
      </p:sp>
      <p:sp>
        <p:nvSpPr>
          <p:cNvPr id="73" name="Punthaak 47"/>
          <p:cNvSpPr/>
          <p:nvPr/>
        </p:nvSpPr>
        <p:spPr>
          <a:xfrm>
            <a:off x="7048346" y="5204072"/>
            <a:ext cx="757653" cy="323955"/>
          </a:xfrm>
          <a:prstGeom prst="chevron">
            <a:avLst>
              <a:gd name="adj" fmla="val 48299"/>
            </a:avLst>
          </a:prstGeom>
          <a:gradFill flip="none" rotWithShape="1">
            <a:gsLst>
              <a:gs pos="0">
                <a:schemeClr val="accent2"/>
              </a:gs>
              <a:gs pos="100000">
                <a:srgbClr val="92D050"/>
              </a:gs>
            </a:gsLst>
            <a:lin ang="8100000" scaled="1"/>
            <a:tileRect/>
          </a:gradFill>
          <a:ln>
            <a:solidFill>
              <a:schemeClr val="accent5"/>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1, 2 &amp; 3</a:t>
            </a:r>
          </a:p>
        </p:txBody>
      </p:sp>
      <p:sp>
        <p:nvSpPr>
          <p:cNvPr id="74" name="Punthaak 47"/>
          <p:cNvSpPr/>
          <p:nvPr/>
        </p:nvSpPr>
        <p:spPr>
          <a:xfrm>
            <a:off x="7629647" y="5205177"/>
            <a:ext cx="681011" cy="323955"/>
          </a:xfrm>
          <a:prstGeom prst="chevron">
            <a:avLst>
              <a:gd name="adj" fmla="val 48299"/>
            </a:avLst>
          </a:prstGeom>
          <a:gradFill flip="none" rotWithShape="1">
            <a:gsLst>
              <a:gs pos="0">
                <a:schemeClr val="accent2"/>
              </a:gs>
              <a:gs pos="100000">
                <a:srgbClr val="92D050"/>
              </a:gs>
            </a:gsLst>
            <a:lin ang="8100000" scaled="1"/>
            <a:tileRect/>
          </a:gradFill>
          <a:ln>
            <a:solidFill>
              <a:schemeClr val="accent5"/>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5</a:t>
            </a:r>
          </a:p>
        </p:txBody>
      </p:sp>
      <p:sp>
        <p:nvSpPr>
          <p:cNvPr id="76" name="Punthaak 47"/>
          <p:cNvSpPr/>
          <p:nvPr/>
        </p:nvSpPr>
        <p:spPr>
          <a:xfrm>
            <a:off x="8110693" y="5205177"/>
            <a:ext cx="681011" cy="323955"/>
          </a:xfrm>
          <a:prstGeom prst="chevron">
            <a:avLst>
              <a:gd name="adj" fmla="val 48299"/>
            </a:avLst>
          </a:prstGeom>
          <a:gradFill flip="none" rotWithShape="1">
            <a:gsLst>
              <a:gs pos="0">
                <a:schemeClr val="accent2"/>
              </a:gs>
              <a:gs pos="100000">
                <a:srgbClr val="92D050"/>
              </a:gs>
            </a:gsLst>
            <a:lin ang="8100000" scaled="1"/>
            <a:tileRect/>
          </a:gradFill>
          <a:ln>
            <a:solidFill>
              <a:schemeClr val="accent5"/>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schemeClr val="tx1"/>
                </a:solidFill>
              </a:rPr>
              <a:t>UAT 4</a:t>
            </a:r>
          </a:p>
        </p:txBody>
      </p:sp>
      <p:sp>
        <p:nvSpPr>
          <p:cNvPr id="67" name="Textfeld 66"/>
          <p:cNvSpPr txBox="1"/>
          <p:nvPr/>
        </p:nvSpPr>
        <p:spPr>
          <a:xfrm>
            <a:off x="2323354" y="4690665"/>
            <a:ext cx="1534894" cy="369332"/>
          </a:xfrm>
          <a:prstGeom prst="rect">
            <a:avLst/>
          </a:prstGeom>
          <a:noFill/>
        </p:spPr>
        <p:txBody>
          <a:bodyPr wrap="square" lIns="0" tIns="0" rIns="0" bIns="0" rtlCol="0">
            <a:spAutoFit/>
          </a:bodyPr>
          <a:lstStyle>
            <a:defPPr>
              <a:defRPr lang="de-DE"/>
            </a:defPPr>
            <a:lvl1pPr>
              <a:defRPr sz="1200"/>
            </a:lvl1pPr>
          </a:lstStyle>
          <a:p>
            <a:r>
              <a:rPr lang="en-GB" dirty="0"/>
              <a:t>Release 1.2</a:t>
            </a:r>
          </a:p>
          <a:p>
            <a:r>
              <a:rPr lang="en-GB" dirty="0"/>
              <a:t>Testing May-Aug</a:t>
            </a:r>
          </a:p>
        </p:txBody>
      </p:sp>
      <p:sp>
        <p:nvSpPr>
          <p:cNvPr id="59" name="Textfeld 58"/>
          <p:cNvSpPr txBox="1"/>
          <p:nvPr/>
        </p:nvSpPr>
        <p:spPr>
          <a:xfrm>
            <a:off x="5970544" y="5197884"/>
            <a:ext cx="1285721" cy="369332"/>
          </a:xfrm>
          <a:prstGeom prst="rect">
            <a:avLst/>
          </a:prstGeom>
          <a:noFill/>
        </p:spPr>
        <p:txBody>
          <a:bodyPr wrap="square" lIns="0" tIns="0" rIns="0" bIns="0" rtlCol="0">
            <a:spAutoFit/>
          </a:bodyPr>
          <a:lstStyle>
            <a:defPPr>
              <a:defRPr lang="de-DE"/>
            </a:defPPr>
            <a:lvl1pPr>
              <a:defRPr sz="1200"/>
            </a:lvl1pPr>
          </a:lstStyle>
          <a:p>
            <a:r>
              <a:rPr lang="en-GB" dirty="0"/>
              <a:t>Release </a:t>
            </a:r>
            <a:r>
              <a:rPr lang="en-GB" dirty="0" smtClean="0"/>
              <a:t>1.X</a:t>
            </a:r>
            <a:endParaRPr lang="en-GB" dirty="0"/>
          </a:p>
          <a:p>
            <a:r>
              <a:rPr lang="en-GB" dirty="0"/>
              <a:t>Testing </a:t>
            </a:r>
            <a:r>
              <a:rPr lang="en-GB" dirty="0" smtClean="0"/>
              <a:t>Sept - </a:t>
            </a:r>
            <a:endParaRPr lang="en-GB" dirty="0"/>
          </a:p>
        </p:txBody>
      </p:sp>
      <p:sp>
        <p:nvSpPr>
          <p:cNvPr id="58" name="TextBox 17"/>
          <p:cNvSpPr txBox="1"/>
          <p:nvPr/>
        </p:nvSpPr>
        <p:spPr>
          <a:xfrm>
            <a:off x="7253030" y="3440582"/>
            <a:ext cx="1528971" cy="646331"/>
          </a:xfrm>
          <a:prstGeom prst="rect">
            <a:avLst/>
          </a:prstGeom>
          <a:noFill/>
        </p:spPr>
        <p:txBody>
          <a:bodyPr wrap="square" lIns="0" tIns="0" rIns="0" bIns="0" rtlCol="0">
            <a:spAutoFit/>
          </a:bodyPr>
          <a:lstStyle/>
          <a:p>
            <a:pPr algn="ctr"/>
            <a:r>
              <a:rPr lang="en-GB" sz="1400" b="1" dirty="0">
                <a:solidFill>
                  <a:srgbClr val="FF0000"/>
                </a:solidFill>
              </a:rPr>
              <a:t>First LIPs Target</a:t>
            </a:r>
          </a:p>
          <a:p>
            <a:pPr algn="ctr"/>
            <a:r>
              <a:rPr lang="en-GB" sz="1400" b="1" dirty="0">
                <a:solidFill>
                  <a:srgbClr val="FF0000"/>
                </a:solidFill>
              </a:rPr>
              <a:t>Go-Live </a:t>
            </a:r>
            <a:r>
              <a:rPr lang="en-GB" sz="1400" b="1" dirty="0" smtClean="0">
                <a:solidFill>
                  <a:srgbClr val="FF0000"/>
                </a:solidFill>
              </a:rPr>
              <a:t>12</a:t>
            </a:r>
            <a:r>
              <a:rPr lang="en-GB" sz="1400" b="1" baseline="30000" dirty="0" smtClean="0">
                <a:solidFill>
                  <a:srgbClr val="FF0000"/>
                </a:solidFill>
              </a:rPr>
              <a:t>th</a:t>
            </a:r>
            <a:r>
              <a:rPr lang="en-GB" sz="1400" b="1" dirty="0" smtClean="0">
                <a:solidFill>
                  <a:srgbClr val="FF0000"/>
                </a:solidFill>
              </a:rPr>
              <a:t>/13</a:t>
            </a:r>
            <a:r>
              <a:rPr lang="en-GB" sz="1400" b="1" baseline="30000" dirty="0" smtClean="0">
                <a:solidFill>
                  <a:srgbClr val="FF0000"/>
                </a:solidFill>
              </a:rPr>
              <a:t>th</a:t>
            </a:r>
            <a:r>
              <a:rPr lang="en-GB" sz="1400" b="1" dirty="0" smtClean="0">
                <a:solidFill>
                  <a:srgbClr val="FF0000"/>
                </a:solidFill>
              </a:rPr>
              <a:t> June 2018</a:t>
            </a:r>
            <a:endParaRPr lang="en-GB" sz="1400" b="1" dirty="0">
              <a:solidFill>
                <a:srgbClr val="FF0000"/>
              </a:solidFill>
            </a:endParaRPr>
          </a:p>
        </p:txBody>
      </p:sp>
      <p:cxnSp>
        <p:nvCxnSpPr>
          <p:cNvPr id="68" name="Straight Arrow Connector 19"/>
          <p:cNvCxnSpPr/>
          <p:nvPr/>
        </p:nvCxnSpPr>
        <p:spPr>
          <a:xfrm flipH="1" flipV="1">
            <a:off x="8156358" y="2972059"/>
            <a:ext cx="6326" cy="470599"/>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88" name="Punthaak 47"/>
          <p:cNvSpPr/>
          <p:nvPr/>
        </p:nvSpPr>
        <p:spPr>
          <a:xfrm>
            <a:off x="6608033" y="2469532"/>
            <a:ext cx="1287475" cy="670036"/>
          </a:xfrm>
          <a:prstGeom prst="chevron">
            <a:avLst>
              <a:gd name="adj" fmla="val 46962"/>
            </a:avLst>
          </a:prstGeom>
          <a:gradFill flip="none" rotWithShape="1">
            <a:gsLst>
              <a:gs pos="0">
                <a:schemeClr val="accent2"/>
              </a:gs>
              <a:gs pos="100000">
                <a:srgbClr val="92D050"/>
              </a:gs>
            </a:gsLst>
            <a:lin ang="8100000" scaled="1"/>
            <a:tileRect/>
          </a:gradFill>
          <a:ln>
            <a:solidFill>
              <a:schemeClr val="accent5"/>
            </a:solidFill>
          </a:ln>
        </p:spPr>
        <p:style>
          <a:lnRef idx="3">
            <a:schemeClr val="lt1"/>
          </a:lnRef>
          <a:fillRef idx="1">
            <a:schemeClr val="accent5"/>
          </a:fillRef>
          <a:effectRef idx="1">
            <a:schemeClr val="accent5"/>
          </a:effectRef>
          <a:fontRef idx="minor">
            <a:schemeClr val="lt1"/>
          </a:fontRef>
        </p:style>
        <p:txBody>
          <a:bodyPr vert="horz" lIns="36000" tIns="36000" rIns="36000" bIns="36000" rtlCol="0" anchor="ctr"/>
          <a:lstStyle/>
          <a:p>
            <a:pPr algn="ctr"/>
            <a:r>
              <a:rPr lang="en-US" sz="800" b="1" dirty="0">
                <a:solidFill>
                  <a:prstClr val="white"/>
                </a:solidFill>
              </a:rPr>
              <a:t>Go-Live </a:t>
            </a:r>
          </a:p>
          <a:p>
            <a:pPr algn="ctr"/>
            <a:r>
              <a:rPr lang="en-US" sz="800" b="1" dirty="0">
                <a:solidFill>
                  <a:prstClr val="white"/>
                </a:solidFill>
              </a:rPr>
              <a:t>Preparation </a:t>
            </a:r>
          </a:p>
        </p:txBody>
      </p:sp>
    </p:spTree>
    <p:extLst>
      <p:ext uri="{BB962C8B-B14F-4D97-AF65-F5344CB8AC3E}">
        <p14:creationId xmlns:p14="http://schemas.microsoft.com/office/powerpoint/2010/main" val="32434057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Countries coupled Intraday with XBID Go-Live</a:t>
            </a:r>
            <a:endParaRPr lang="de-DE" dirty="0"/>
          </a:p>
        </p:txBody>
      </p:sp>
      <p:sp>
        <p:nvSpPr>
          <p:cNvPr id="3" name="Foliennummernplatzhalter 2"/>
          <p:cNvSpPr>
            <a:spLocks noGrp="1"/>
          </p:cNvSpPr>
          <p:nvPr>
            <p:ph type="sldNum" sz="quarter" idx="11"/>
          </p:nvPr>
        </p:nvSpPr>
        <p:spPr/>
        <p:txBody>
          <a:bodyPr/>
          <a:lstStyle/>
          <a:p>
            <a:fld id="{AD89DE65-C7D9-40CE-B96E-B8C3E7B233C5}" type="slidenum">
              <a:rPr lang="de-DE" smtClean="0"/>
              <a:pPr/>
              <a:t>15</a:t>
            </a:fld>
            <a:endParaRPr lang="de-DE" dirty="0"/>
          </a:p>
        </p:txBody>
      </p:sp>
      <p:grpSp>
        <p:nvGrpSpPr>
          <p:cNvPr id="5" name="Group 403"/>
          <p:cNvGrpSpPr>
            <a:grpSpLocks noChangeAspect="1"/>
          </p:cNvGrpSpPr>
          <p:nvPr/>
        </p:nvGrpSpPr>
        <p:grpSpPr bwMode="auto">
          <a:xfrm>
            <a:off x="2757986" y="1235461"/>
            <a:ext cx="5709739" cy="5308064"/>
            <a:chOff x="1502" y="1001"/>
            <a:chExt cx="2970" cy="2550"/>
          </a:xfrm>
          <a:solidFill>
            <a:schemeClr val="bg1">
              <a:lumMod val="85000"/>
            </a:schemeClr>
          </a:solidFill>
        </p:grpSpPr>
        <p:sp>
          <p:nvSpPr>
            <p:cNvPr id="6" name="Freeform 480"/>
            <p:cNvSpPr>
              <a:spLocks/>
            </p:cNvSpPr>
            <p:nvPr/>
          </p:nvSpPr>
          <p:spPr bwMode="auto">
            <a:xfrm>
              <a:off x="3636" y="1923"/>
              <a:ext cx="419" cy="401"/>
            </a:xfrm>
            <a:custGeom>
              <a:avLst/>
              <a:gdLst>
                <a:gd name="T0" fmla="*/ 104 w 419"/>
                <a:gd name="T1" fmla="*/ 22 h 401"/>
                <a:gd name="T2" fmla="*/ 77 w 419"/>
                <a:gd name="T3" fmla="*/ 76 h 401"/>
                <a:gd name="T4" fmla="*/ 47 w 419"/>
                <a:gd name="T5" fmla="*/ 70 h 401"/>
                <a:gd name="T6" fmla="*/ 47 w 419"/>
                <a:gd name="T7" fmla="*/ 0 h 401"/>
                <a:gd name="T8" fmla="*/ 25 w 419"/>
                <a:gd name="T9" fmla="*/ 40 h 401"/>
                <a:gd name="T10" fmla="*/ 33 w 419"/>
                <a:gd name="T11" fmla="*/ 51 h 401"/>
                <a:gd name="T12" fmla="*/ 33 w 419"/>
                <a:gd name="T13" fmla="*/ 55 h 401"/>
                <a:gd name="T14" fmla="*/ 33 w 419"/>
                <a:gd name="T15" fmla="*/ 79 h 401"/>
                <a:gd name="T16" fmla="*/ 17 w 419"/>
                <a:gd name="T17" fmla="*/ 81 h 401"/>
                <a:gd name="T18" fmla="*/ 0 w 419"/>
                <a:gd name="T19" fmla="*/ 95 h 401"/>
                <a:gd name="T20" fmla="*/ 241 w 419"/>
                <a:gd name="T21" fmla="*/ 393 h 401"/>
                <a:gd name="T22" fmla="*/ 287 w 419"/>
                <a:gd name="T23" fmla="*/ 384 h 401"/>
                <a:gd name="T24" fmla="*/ 296 w 419"/>
                <a:gd name="T25" fmla="*/ 401 h 401"/>
                <a:gd name="T26" fmla="*/ 309 w 419"/>
                <a:gd name="T27" fmla="*/ 382 h 401"/>
                <a:gd name="T28" fmla="*/ 310 w 419"/>
                <a:gd name="T29" fmla="*/ 350 h 401"/>
                <a:gd name="T30" fmla="*/ 342 w 419"/>
                <a:gd name="T31" fmla="*/ 335 h 401"/>
                <a:gd name="T32" fmla="*/ 369 w 419"/>
                <a:gd name="T33" fmla="*/ 332 h 401"/>
                <a:gd name="T34" fmla="*/ 369 w 419"/>
                <a:gd name="T35" fmla="*/ 325 h 401"/>
                <a:gd name="T36" fmla="*/ 350 w 419"/>
                <a:gd name="T37" fmla="*/ 287 h 401"/>
                <a:gd name="T38" fmla="*/ 342 w 419"/>
                <a:gd name="T39" fmla="*/ 265 h 401"/>
                <a:gd name="T40" fmla="*/ 359 w 419"/>
                <a:gd name="T41" fmla="*/ 257 h 401"/>
                <a:gd name="T42" fmla="*/ 384 w 419"/>
                <a:gd name="T43" fmla="*/ 262 h 401"/>
                <a:gd name="T44" fmla="*/ 419 w 419"/>
                <a:gd name="T45" fmla="*/ 248 h 401"/>
                <a:gd name="T46" fmla="*/ 419 w 419"/>
                <a:gd name="T47" fmla="*/ 213 h 401"/>
                <a:gd name="T48" fmla="*/ 381 w 419"/>
                <a:gd name="T49" fmla="*/ 201 h 401"/>
                <a:gd name="T50" fmla="*/ 348 w 419"/>
                <a:gd name="T51" fmla="*/ 196 h 401"/>
                <a:gd name="T52" fmla="*/ 329 w 419"/>
                <a:gd name="T53" fmla="*/ 166 h 401"/>
                <a:gd name="T54" fmla="*/ 332 w 419"/>
                <a:gd name="T55" fmla="*/ 136 h 401"/>
                <a:gd name="T56" fmla="*/ 104 w 419"/>
                <a:gd name="T57" fmla="*/ 22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9" h="401">
                  <a:moveTo>
                    <a:pt x="104" y="22"/>
                  </a:moveTo>
                  <a:lnTo>
                    <a:pt x="77" y="76"/>
                  </a:lnTo>
                  <a:lnTo>
                    <a:pt x="47" y="70"/>
                  </a:lnTo>
                  <a:lnTo>
                    <a:pt x="47" y="0"/>
                  </a:lnTo>
                  <a:lnTo>
                    <a:pt x="25" y="40"/>
                  </a:lnTo>
                  <a:lnTo>
                    <a:pt x="33" y="51"/>
                  </a:lnTo>
                  <a:lnTo>
                    <a:pt x="33" y="55"/>
                  </a:lnTo>
                  <a:lnTo>
                    <a:pt x="33" y="79"/>
                  </a:lnTo>
                  <a:lnTo>
                    <a:pt x="17" y="81"/>
                  </a:lnTo>
                  <a:lnTo>
                    <a:pt x="0" y="95"/>
                  </a:lnTo>
                  <a:lnTo>
                    <a:pt x="241" y="393"/>
                  </a:lnTo>
                  <a:lnTo>
                    <a:pt x="287" y="384"/>
                  </a:lnTo>
                  <a:lnTo>
                    <a:pt x="296" y="401"/>
                  </a:lnTo>
                  <a:lnTo>
                    <a:pt x="309" y="382"/>
                  </a:lnTo>
                  <a:lnTo>
                    <a:pt x="310" y="350"/>
                  </a:lnTo>
                  <a:lnTo>
                    <a:pt x="342" y="335"/>
                  </a:lnTo>
                  <a:lnTo>
                    <a:pt x="369" y="332"/>
                  </a:lnTo>
                  <a:lnTo>
                    <a:pt x="369" y="325"/>
                  </a:lnTo>
                  <a:lnTo>
                    <a:pt x="350" y="287"/>
                  </a:lnTo>
                  <a:lnTo>
                    <a:pt x="342" y="265"/>
                  </a:lnTo>
                  <a:lnTo>
                    <a:pt x="359" y="257"/>
                  </a:lnTo>
                  <a:lnTo>
                    <a:pt x="384" y="262"/>
                  </a:lnTo>
                  <a:lnTo>
                    <a:pt x="419" y="248"/>
                  </a:lnTo>
                  <a:lnTo>
                    <a:pt x="419" y="213"/>
                  </a:lnTo>
                  <a:lnTo>
                    <a:pt x="381" y="201"/>
                  </a:lnTo>
                  <a:lnTo>
                    <a:pt x="348" y="196"/>
                  </a:lnTo>
                  <a:lnTo>
                    <a:pt x="329" y="166"/>
                  </a:lnTo>
                  <a:lnTo>
                    <a:pt x="332" y="136"/>
                  </a:lnTo>
                  <a:lnTo>
                    <a:pt x="104" y="2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 name="Freeform 407"/>
            <p:cNvSpPr>
              <a:spLocks/>
            </p:cNvSpPr>
            <p:nvPr/>
          </p:nvSpPr>
          <p:spPr bwMode="auto">
            <a:xfrm>
              <a:off x="3895" y="1863"/>
              <a:ext cx="523" cy="406"/>
            </a:xfrm>
            <a:custGeom>
              <a:avLst/>
              <a:gdLst>
                <a:gd name="T0" fmla="*/ 99 w 436"/>
                <a:gd name="T1" fmla="*/ 9 h 413"/>
                <a:gd name="T2" fmla="*/ 84 w 436"/>
                <a:gd name="T3" fmla="*/ 26 h 413"/>
                <a:gd name="T4" fmla="*/ 74 w 436"/>
                <a:gd name="T5" fmla="*/ 43 h 413"/>
                <a:gd name="T6" fmla="*/ 55 w 436"/>
                <a:gd name="T7" fmla="*/ 44 h 413"/>
                <a:gd name="T8" fmla="*/ 36 w 436"/>
                <a:gd name="T9" fmla="*/ 50 h 413"/>
                <a:gd name="T10" fmla="*/ 45 w 436"/>
                <a:gd name="T11" fmla="*/ 61 h 413"/>
                <a:gd name="T12" fmla="*/ 45 w 436"/>
                <a:gd name="T13" fmla="*/ 67 h 413"/>
                <a:gd name="T14" fmla="*/ 45 w 436"/>
                <a:gd name="T15" fmla="*/ 90 h 413"/>
                <a:gd name="T16" fmla="*/ 28 w 436"/>
                <a:gd name="T17" fmla="*/ 92 h 413"/>
                <a:gd name="T18" fmla="*/ 11 w 436"/>
                <a:gd name="T19" fmla="*/ 107 h 413"/>
                <a:gd name="T20" fmla="*/ 11 w 436"/>
                <a:gd name="T21" fmla="*/ 124 h 413"/>
                <a:gd name="T22" fmla="*/ 9 w 436"/>
                <a:gd name="T23" fmla="*/ 131 h 413"/>
                <a:gd name="T24" fmla="*/ 3 w 436"/>
                <a:gd name="T25" fmla="*/ 141 h 413"/>
                <a:gd name="T26" fmla="*/ 0 w 436"/>
                <a:gd name="T27" fmla="*/ 168 h 413"/>
                <a:gd name="T28" fmla="*/ 3 w 436"/>
                <a:gd name="T29" fmla="*/ 186 h 413"/>
                <a:gd name="T30" fmla="*/ 18 w 436"/>
                <a:gd name="T31" fmla="*/ 204 h 413"/>
                <a:gd name="T32" fmla="*/ 14 w 436"/>
                <a:gd name="T33" fmla="*/ 228 h 413"/>
                <a:gd name="T34" fmla="*/ 36 w 436"/>
                <a:gd name="T35" fmla="*/ 260 h 413"/>
                <a:gd name="T36" fmla="*/ 72 w 436"/>
                <a:gd name="T37" fmla="*/ 260 h 413"/>
                <a:gd name="T38" fmla="*/ 108 w 436"/>
                <a:gd name="T39" fmla="*/ 280 h 413"/>
                <a:gd name="T40" fmla="*/ 108 w 436"/>
                <a:gd name="T41" fmla="*/ 312 h 413"/>
                <a:gd name="T42" fmla="*/ 68 w 436"/>
                <a:gd name="T43" fmla="*/ 326 h 413"/>
                <a:gd name="T44" fmla="*/ 52 w 436"/>
                <a:gd name="T45" fmla="*/ 320 h 413"/>
                <a:gd name="T46" fmla="*/ 28 w 436"/>
                <a:gd name="T47" fmla="*/ 330 h 413"/>
                <a:gd name="T48" fmla="*/ 44 w 436"/>
                <a:gd name="T49" fmla="*/ 354 h 413"/>
                <a:gd name="T50" fmla="*/ 58 w 436"/>
                <a:gd name="T51" fmla="*/ 390 h 413"/>
                <a:gd name="T52" fmla="*/ 95 w 436"/>
                <a:gd name="T53" fmla="*/ 396 h 413"/>
                <a:gd name="T54" fmla="*/ 141 w 436"/>
                <a:gd name="T55" fmla="*/ 404 h 413"/>
                <a:gd name="T56" fmla="*/ 187 w 436"/>
                <a:gd name="T57" fmla="*/ 402 h 413"/>
                <a:gd name="T58" fmla="*/ 208 w 436"/>
                <a:gd name="T59" fmla="*/ 396 h 413"/>
                <a:gd name="T60" fmla="*/ 229 w 436"/>
                <a:gd name="T61" fmla="*/ 394 h 413"/>
                <a:gd name="T62" fmla="*/ 254 w 436"/>
                <a:gd name="T63" fmla="*/ 405 h 413"/>
                <a:gd name="T64" fmla="*/ 299 w 436"/>
                <a:gd name="T65" fmla="*/ 396 h 413"/>
                <a:gd name="T66" fmla="*/ 309 w 436"/>
                <a:gd name="T67" fmla="*/ 413 h 413"/>
                <a:gd name="T68" fmla="*/ 322 w 436"/>
                <a:gd name="T69" fmla="*/ 394 h 413"/>
                <a:gd name="T70" fmla="*/ 324 w 436"/>
                <a:gd name="T71" fmla="*/ 362 h 413"/>
                <a:gd name="T72" fmla="*/ 356 w 436"/>
                <a:gd name="T73" fmla="*/ 347 h 413"/>
                <a:gd name="T74" fmla="*/ 383 w 436"/>
                <a:gd name="T75" fmla="*/ 343 h 413"/>
                <a:gd name="T76" fmla="*/ 383 w 436"/>
                <a:gd name="T77" fmla="*/ 337 h 413"/>
                <a:gd name="T78" fmla="*/ 364 w 436"/>
                <a:gd name="T79" fmla="*/ 300 h 413"/>
                <a:gd name="T80" fmla="*/ 366 w 436"/>
                <a:gd name="T81" fmla="*/ 280 h 413"/>
                <a:gd name="T82" fmla="*/ 372 w 436"/>
                <a:gd name="T83" fmla="*/ 269 h 413"/>
                <a:gd name="T84" fmla="*/ 397 w 436"/>
                <a:gd name="T85" fmla="*/ 273 h 413"/>
                <a:gd name="T86" fmla="*/ 436 w 436"/>
                <a:gd name="T87" fmla="*/ 274 h 413"/>
                <a:gd name="T88" fmla="*/ 433 w 436"/>
                <a:gd name="T89" fmla="*/ 224 h 413"/>
                <a:gd name="T90" fmla="*/ 398 w 436"/>
                <a:gd name="T91" fmla="*/ 210 h 413"/>
                <a:gd name="T92" fmla="*/ 362 w 436"/>
                <a:gd name="T93" fmla="*/ 207 h 413"/>
                <a:gd name="T94" fmla="*/ 348 w 436"/>
                <a:gd name="T95" fmla="*/ 180 h 413"/>
                <a:gd name="T96" fmla="*/ 345 w 436"/>
                <a:gd name="T97" fmla="*/ 146 h 413"/>
                <a:gd name="T98" fmla="*/ 312 w 436"/>
                <a:gd name="T99" fmla="*/ 116 h 413"/>
                <a:gd name="T100" fmla="*/ 293 w 436"/>
                <a:gd name="T101" fmla="*/ 94 h 413"/>
                <a:gd name="T102" fmla="*/ 298 w 436"/>
                <a:gd name="T103" fmla="*/ 72 h 413"/>
                <a:gd name="T104" fmla="*/ 295 w 436"/>
                <a:gd name="T105" fmla="*/ 32 h 413"/>
                <a:gd name="T106" fmla="*/ 260 w 436"/>
                <a:gd name="T107" fmla="*/ 11 h 413"/>
                <a:gd name="T108" fmla="*/ 223 w 436"/>
                <a:gd name="T109" fmla="*/ 11 h 413"/>
                <a:gd name="T110" fmla="*/ 189 w 436"/>
                <a:gd name="T111" fmla="*/ 17 h 413"/>
                <a:gd name="T112" fmla="*/ 174 w 436"/>
                <a:gd name="T113" fmla="*/ 6 h 413"/>
                <a:gd name="T114" fmla="*/ 135 w 436"/>
                <a:gd name="T115" fmla="*/ 0 h 413"/>
                <a:gd name="T116" fmla="*/ 99 w 436"/>
                <a:gd name="T117" fmla="*/ 9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6" h="413">
                  <a:moveTo>
                    <a:pt x="99" y="9"/>
                  </a:moveTo>
                  <a:lnTo>
                    <a:pt x="84" y="26"/>
                  </a:lnTo>
                  <a:lnTo>
                    <a:pt x="74" y="43"/>
                  </a:lnTo>
                  <a:lnTo>
                    <a:pt x="55" y="44"/>
                  </a:lnTo>
                  <a:lnTo>
                    <a:pt x="36" y="50"/>
                  </a:lnTo>
                  <a:lnTo>
                    <a:pt x="45" y="61"/>
                  </a:lnTo>
                  <a:lnTo>
                    <a:pt x="45" y="67"/>
                  </a:lnTo>
                  <a:lnTo>
                    <a:pt x="45" y="90"/>
                  </a:lnTo>
                  <a:lnTo>
                    <a:pt x="28" y="92"/>
                  </a:lnTo>
                  <a:lnTo>
                    <a:pt x="11" y="107"/>
                  </a:lnTo>
                  <a:lnTo>
                    <a:pt x="11" y="124"/>
                  </a:lnTo>
                  <a:lnTo>
                    <a:pt x="9" y="131"/>
                  </a:lnTo>
                  <a:lnTo>
                    <a:pt x="3" y="141"/>
                  </a:lnTo>
                  <a:lnTo>
                    <a:pt x="0" y="168"/>
                  </a:lnTo>
                  <a:lnTo>
                    <a:pt x="3" y="186"/>
                  </a:lnTo>
                  <a:lnTo>
                    <a:pt x="18" y="204"/>
                  </a:lnTo>
                  <a:lnTo>
                    <a:pt x="14" y="228"/>
                  </a:lnTo>
                  <a:lnTo>
                    <a:pt x="36" y="260"/>
                  </a:lnTo>
                  <a:lnTo>
                    <a:pt x="72" y="260"/>
                  </a:lnTo>
                  <a:lnTo>
                    <a:pt x="108" y="280"/>
                  </a:lnTo>
                  <a:lnTo>
                    <a:pt x="108" y="312"/>
                  </a:lnTo>
                  <a:lnTo>
                    <a:pt x="68" y="326"/>
                  </a:lnTo>
                  <a:lnTo>
                    <a:pt x="52" y="320"/>
                  </a:lnTo>
                  <a:lnTo>
                    <a:pt x="28" y="330"/>
                  </a:lnTo>
                  <a:lnTo>
                    <a:pt x="44" y="354"/>
                  </a:lnTo>
                  <a:lnTo>
                    <a:pt x="58" y="390"/>
                  </a:lnTo>
                  <a:lnTo>
                    <a:pt x="95" y="396"/>
                  </a:lnTo>
                  <a:lnTo>
                    <a:pt x="141" y="404"/>
                  </a:lnTo>
                  <a:lnTo>
                    <a:pt x="187" y="402"/>
                  </a:lnTo>
                  <a:lnTo>
                    <a:pt x="208" y="396"/>
                  </a:lnTo>
                  <a:lnTo>
                    <a:pt x="229" y="394"/>
                  </a:lnTo>
                  <a:lnTo>
                    <a:pt x="254" y="405"/>
                  </a:lnTo>
                  <a:lnTo>
                    <a:pt x="299" y="396"/>
                  </a:lnTo>
                  <a:lnTo>
                    <a:pt x="309" y="413"/>
                  </a:lnTo>
                  <a:lnTo>
                    <a:pt x="322" y="394"/>
                  </a:lnTo>
                  <a:lnTo>
                    <a:pt x="324" y="362"/>
                  </a:lnTo>
                  <a:lnTo>
                    <a:pt x="356" y="347"/>
                  </a:lnTo>
                  <a:lnTo>
                    <a:pt x="383" y="343"/>
                  </a:lnTo>
                  <a:lnTo>
                    <a:pt x="383" y="337"/>
                  </a:lnTo>
                  <a:lnTo>
                    <a:pt x="364" y="300"/>
                  </a:lnTo>
                  <a:lnTo>
                    <a:pt x="366" y="280"/>
                  </a:lnTo>
                  <a:lnTo>
                    <a:pt x="372" y="269"/>
                  </a:lnTo>
                  <a:lnTo>
                    <a:pt x="397" y="273"/>
                  </a:lnTo>
                  <a:lnTo>
                    <a:pt x="436" y="274"/>
                  </a:lnTo>
                  <a:lnTo>
                    <a:pt x="433" y="224"/>
                  </a:lnTo>
                  <a:lnTo>
                    <a:pt x="398" y="210"/>
                  </a:lnTo>
                  <a:lnTo>
                    <a:pt x="362" y="207"/>
                  </a:lnTo>
                  <a:lnTo>
                    <a:pt x="348" y="180"/>
                  </a:lnTo>
                  <a:lnTo>
                    <a:pt x="345" y="146"/>
                  </a:lnTo>
                  <a:lnTo>
                    <a:pt x="312" y="116"/>
                  </a:lnTo>
                  <a:lnTo>
                    <a:pt x="293" y="94"/>
                  </a:lnTo>
                  <a:lnTo>
                    <a:pt x="298" y="72"/>
                  </a:lnTo>
                  <a:lnTo>
                    <a:pt x="295" y="32"/>
                  </a:lnTo>
                  <a:lnTo>
                    <a:pt x="260" y="11"/>
                  </a:lnTo>
                  <a:lnTo>
                    <a:pt x="223" y="11"/>
                  </a:lnTo>
                  <a:lnTo>
                    <a:pt x="189" y="17"/>
                  </a:lnTo>
                  <a:lnTo>
                    <a:pt x="174" y="6"/>
                  </a:lnTo>
                  <a:lnTo>
                    <a:pt x="135" y="0"/>
                  </a:lnTo>
                  <a:lnTo>
                    <a:pt x="99" y="9"/>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 name="Freeform 404"/>
            <p:cNvSpPr>
              <a:spLocks/>
            </p:cNvSpPr>
            <p:nvPr/>
          </p:nvSpPr>
          <p:spPr bwMode="auto">
            <a:xfrm>
              <a:off x="2618" y="2176"/>
              <a:ext cx="223" cy="172"/>
            </a:xfrm>
            <a:custGeom>
              <a:avLst/>
              <a:gdLst>
                <a:gd name="T0" fmla="*/ 0 w 223"/>
                <a:gd name="T1" fmla="*/ 31 h 172"/>
                <a:gd name="T2" fmla="*/ 5 w 223"/>
                <a:gd name="T3" fmla="*/ 24 h 172"/>
                <a:gd name="T4" fmla="*/ 3 w 223"/>
                <a:gd name="T5" fmla="*/ 16 h 172"/>
                <a:gd name="T6" fmla="*/ 37 w 223"/>
                <a:gd name="T7" fmla="*/ 0 h 172"/>
                <a:gd name="T8" fmla="*/ 40 w 223"/>
                <a:gd name="T9" fmla="*/ 6 h 172"/>
                <a:gd name="T10" fmla="*/ 65 w 223"/>
                <a:gd name="T11" fmla="*/ 2 h 172"/>
                <a:gd name="T12" fmla="*/ 84 w 223"/>
                <a:gd name="T13" fmla="*/ 3 h 172"/>
                <a:gd name="T14" fmla="*/ 76 w 223"/>
                <a:gd name="T15" fmla="*/ 11 h 172"/>
                <a:gd name="T16" fmla="*/ 81 w 223"/>
                <a:gd name="T17" fmla="*/ 22 h 172"/>
                <a:gd name="T18" fmla="*/ 96 w 223"/>
                <a:gd name="T19" fmla="*/ 25 h 172"/>
                <a:gd name="T20" fmla="*/ 111 w 223"/>
                <a:gd name="T21" fmla="*/ 25 h 172"/>
                <a:gd name="T22" fmla="*/ 125 w 223"/>
                <a:gd name="T23" fmla="*/ 18 h 172"/>
                <a:gd name="T24" fmla="*/ 140 w 223"/>
                <a:gd name="T25" fmla="*/ 13 h 172"/>
                <a:gd name="T26" fmla="*/ 153 w 223"/>
                <a:gd name="T27" fmla="*/ 23 h 172"/>
                <a:gd name="T28" fmla="*/ 165 w 223"/>
                <a:gd name="T29" fmla="*/ 25 h 172"/>
                <a:gd name="T30" fmla="*/ 184 w 223"/>
                <a:gd name="T31" fmla="*/ 31 h 172"/>
                <a:gd name="T32" fmla="*/ 181 w 223"/>
                <a:gd name="T33" fmla="*/ 44 h 172"/>
                <a:gd name="T34" fmla="*/ 182 w 223"/>
                <a:gd name="T35" fmla="*/ 70 h 172"/>
                <a:gd name="T36" fmla="*/ 185 w 223"/>
                <a:gd name="T37" fmla="*/ 86 h 172"/>
                <a:gd name="T38" fmla="*/ 205 w 223"/>
                <a:gd name="T39" fmla="*/ 84 h 172"/>
                <a:gd name="T40" fmla="*/ 211 w 223"/>
                <a:gd name="T41" fmla="*/ 95 h 172"/>
                <a:gd name="T42" fmla="*/ 212 w 223"/>
                <a:gd name="T43" fmla="*/ 104 h 172"/>
                <a:gd name="T44" fmla="*/ 223 w 223"/>
                <a:gd name="T45" fmla="*/ 117 h 172"/>
                <a:gd name="T46" fmla="*/ 210 w 223"/>
                <a:gd name="T47" fmla="*/ 126 h 172"/>
                <a:gd name="T48" fmla="*/ 199 w 223"/>
                <a:gd name="T49" fmla="*/ 134 h 172"/>
                <a:gd name="T50" fmla="*/ 186 w 223"/>
                <a:gd name="T51" fmla="*/ 134 h 172"/>
                <a:gd name="T52" fmla="*/ 171 w 223"/>
                <a:gd name="T53" fmla="*/ 138 h 172"/>
                <a:gd name="T54" fmla="*/ 171 w 223"/>
                <a:gd name="T55" fmla="*/ 152 h 172"/>
                <a:gd name="T56" fmla="*/ 165 w 223"/>
                <a:gd name="T57" fmla="*/ 161 h 172"/>
                <a:gd name="T58" fmla="*/ 149 w 223"/>
                <a:gd name="T59" fmla="*/ 172 h 172"/>
                <a:gd name="T60" fmla="*/ 122 w 223"/>
                <a:gd name="T61" fmla="*/ 154 h 172"/>
                <a:gd name="T62" fmla="*/ 104 w 223"/>
                <a:gd name="T63" fmla="*/ 142 h 172"/>
                <a:gd name="T64" fmla="*/ 90 w 223"/>
                <a:gd name="T65" fmla="*/ 134 h 172"/>
                <a:gd name="T66" fmla="*/ 77 w 223"/>
                <a:gd name="T67" fmla="*/ 113 h 172"/>
                <a:gd name="T68" fmla="*/ 65 w 223"/>
                <a:gd name="T69" fmla="*/ 101 h 172"/>
                <a:gd name="T70" fmla="*/ 58 w 223"/>
                <a:gd name="T71" fmla="*/ 86 h 172"/>
                <a:gd name="T72" fmla="*/ 45 w 223"/>
                <a:gd name="T73" fmla="*/ 72 h 172"/>
                <a:gd name="T74" fmla="*/ 35 w 223"/>
                <a:gd name="T75" fmla="*/ 57 h 172"/>
                <a:gd name="T76" fmla="*/ 17 w 223"/>
                <a:gd name="T77" fmla="*/ 46 h 172"/>
                <a:gd name="T78" fmla="*/ 0 w 223"/>
                <a:gd name="T79" fmla="*/ 3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172">
                  <a:moveTo>
                    <a:pt x="0" y="31"/>
                  </a:moveTo>
                  <a:lnTo>
                    <a:pt x="5" y="24"/>
                  </a:lnTo>
                  <a:lnTo>
                    <a:pt x="3" y="16"/>
                  </a:lnTo>
                  <a:lnTo>
                    <a:pt x="37" y="0"/>
                  </a:lnTo>
                  <a:lnTo>
                    <a:pt x="40" y="6"/>
                  </a:lnTo>
                  <a:lnTo>
                    <a:pt x="65" y="2"/>
                  </a:lnTo>
                  <a:lnTo>
                    <a:pt x="84" y="3"/>
                  </a:lnTo>
                  <a:lnTo>
                    <a:pt x="76" y="11"/>
                  </a:lnTo>
                  <a:lnTo>
                    <a:pt x="81" y="22"/>
                  </a:lnTo>
                  <a:lnTo>
                    <a:pt x="96" y="25"/>
                  </a:lnTo>
                  <a:lnTo>
                    <a:pt x="111" y="25"/>
                  </a:lnTo>
                  <a:lnTo>
                    <a:pt x="125" y="18"/>
                  </a:lnTo>
                  <a:lnTo>
                    <a:pt x="140" y="13"/>
                  </a:lnTo>
                  <a:lnTo>
                    <a:pt x="153" y="23"/>
                  </a:lnTo>
                  <a:lnTo>
                    <a:pt x="165" y="25"/>
                  </a:lnTo>
                  <a:lnTo>
                    <a:pt x="184" y="31"/>
                  </a:lnTo>
                  <a:lnTo>
                    <a:pt x="181" y="44"/>
                  </a:lnTo>
                  <a:lnTo>
                    <a:pt x="182" y="70"/>
                  </a:lnTo>
                  <a:lnTo>
                    <a:pt x="185" y="86"/>
                  </a:lnTo>
                  <a:lnTo>
                    <a:pt x="205" y="84"/>
                  </a:lnTo>
                  <a:lnTo>
                    <a:pt x="211" y="95"/>
                  </a:lnTo>
                  <a:lnTo>
                    <a:pt x="212" y="104"/>
                  </a:lnTo>
                  <a:lnTo>
                    <a:pt x="223" y="117"/>
                  </a:lnTo>
                  <a:lnTo>
                    <a:pt x="210" y="126"/>
                  </a:lnTo>
                  <a:lnTo>
                    <a:pt x="199" y="134"/>
                  </a:lnTo>
                  <a:lnTo>
                    <a:pt x="186" y="134"/>
                  </a:lnTo>
                  <a:lnTo>
                    <a:pt x="171" y="138"/>
                  </a:lnTo>
                  <a:lnTo>
                    <a:pt x="171" y="152"/>
                  </a:lnTo>
                  <a:lnTo>
                    <a:pt x="165" y="161"/>
                  </a:lnTo>
                  <a:lnTo>
                    <a:pt x="149" y="172"/>
                  </a:lnTo>
                  <a:lnTo>
                    <a:pt x="122" y="154"/>
                  </a:lnTo>
                  <a:lnTo>
                    <a:pt x="104" y="142"/>
                  </a:lnTo>
                  <a:lnTo>
                    <a:pt x="90" y="134"/>
                  </a:lnTo>
                  <a:lnTo>
                    <a:pt x="77" y="113"/>
                  </a:lnTo>
                  <a:lnTo>
                    <a:pt x="65" y="101"/>
                  </a:lnTo>
                  <a:lnTo>
                    <a:pt x="58" y="86"/>
                  </a:lnTo>
                  <a:lnTo>
                    <a:pt x="45" y="72"/>
                  </a:lnTo>
                  <a:lnTo>
                    <a:pt x="35" y="57"/>
                  </a:lnTo>
                  <a:lnTo>
                    <a:pt x="17" y="46"/>
                  </a:lnTo>
                  <a:lnTo>
                    <a:pt x="0" y="31"/>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9" name="Freeform 405"/>
            <p:cNvSpPr>
              <a:spLocks/>
            </p:cNvSpPr>
            <p:nvPr/>
          </p:nvSpPr>
          <p:spPr bwMode="auto">
            <a:xfrm>
              <a:off x="3963" y="1004"/>
              <a:ext cx="506" cy="1200"/>
            </a:xfrm>
            <a:custGeom>
              <a:avLst/>
              <a:gdLst>
                <a:gd name="T0" fmla="*/ 450 w 506"/>
                <a:gd name="T1" fmla="*/ 224 h 1200"/>
                <a:gd name="T2" fmla="*/ 354 w 506"/>
                <a:gd name="T3" fmla="*/ 164 h 1200"/>
                <a:gd name="T4" fmla="*/ 286 w 506"/>
                <a:gd name="T5" fmla="*/ 0 h 1200"/>
                <a:gd name="T6" fmla="*/ 47 w 506"/>
                <a:gd name="T7" fmla="*/ 49 h 1200"/>
                <a:gd name="T8" fmla="*/ 65 w 506"/>
                <a:gd name="T9" fmla="*/ 159 h 1200"/>
                <a:gd name="T10" fmla="*/ 80 w 506"/>
                <a:gd name="T11" fmla="*/ 228 h 1200"/>
                <a:gd name="T12" fmla="*/ 136 w 506"/>
                <a:gd name="T13" fmla="*/ 286 h 1200"/>
                <a:gd name="T14" fmla="*/ 123 w 506"/>
                <a:gd name="T15" fmla="*/ 356 h 1200"/>
                <a:gd name="T16" fmla="*/ 123 w 506"/>
                <a:gd name="T17" fmla="*/ 377 h 1200"/>
                <a:gd name="T18" fmla="*/ 84 w 506"/>
                <a:gd name="T19" fmla="*/ 412 h 1200"/>
                <a:gd name="T20" fmla="*/ 49 w 506"/>
                <a:gd name="T21" fmla="*/ 463 h 1200"/>
                <a:gd name="T22" fmla="*/ 19 w 506"/>
                <a:gd name="T23" fmla="*/ 500 h 1200"/>
                <a:gd name="T24" fmla="*/ 49 w 506"/>
                <a:gd name="T25" fmla="*/ 485 h 1200"/>
                <a:gd name="T26" fmla="*/ 67 w 506"/>
                <a:gd name="T27" fmla="*/ 501 h 1200"/>
                <a:gd name="T28" fmla="*/ 76 w 506"/>
                <a:gd name="T29" fmla="*/ 537 h 1200"/>
                <a:gd name="T30" fmla="*/ 110 w 506"/>
                <a:gd name="T31" fmla="*/ 546 h 1200"/>
                <a:gd name="T32" fmla="*/ 145 w 506"/>
                <a:gd name="T33" fmla="*/ 592 h 1200"/>
                <a:gd name="T34" fmla="*/ 111 w 506"/>
                <a:gd name="T35" fmla="*/ 569 h 1200"/>
                <a:gd name="T36" fmla="*/ 75 w 506"/>
                <a:gd name="T37" fmla="*/ 556 h 1200"/>
                <a:gd name="T38" fmla="*/ 60 w 506"/>
                <a:gd name="T39" fmla="*/ 562 h 1200"/>
                <a:gd name="T40" fmla="*/ 45 w 506"/>
                <a:gd name="T41" fmla="*/ 585 h 1200"/>
                <a:gd name="T42" fmla="*/ 41 w 506"/>
                <a:gd name="T43" fmla="*/ 627 h 1200"/>
                <a:gd name="T44" fmla="*/ 3 w 506"/>
                <a:gd name="T45" fmla="*/ 635 h 1200"/>
                <a:gd name="T46" fmla="*/ 16 w 506"/>
                <a:gd name="T47" fmla="*/ 669 h 1200"/>
                <a:gd name="T48" fmla="*/ 47 w 506"/>
                <a:gd name="T49" fmla="*/ 712 h 1200"/>
                <a:gd name="T50" fmla="*/ 38 w 506"/>
                <a:gd name="T51" fmla="*/ 735 h 1200"/>
                <a:gd name="T52" fmla="*/ 48 w 506"/>
                <a:gd name="T53" fmla="*/ 755 h 1200"/>
                <a:gd name="T54" fmla="*/ 80 w 506"/>
                <a:gd name="T55" fmla="*/ 805 h 1200"/>
                <a:gd name="T56" fmla="*/ 100 w 506"/>
                <a:gd name="T57" fmla="*/ 844 h 1200"/>
                <a:gd name="T58" fmla="*/ 168 w 506"/>
                <a:gd name="T59" fmla="*/ 873 h 1200"/>
                <a:gd name="T60" fmla="*/ 243 w 506"/>
                <a:gd name="T61" fmla="*/ 867 h 1200"/>
                <a:gd name="T62" fmla="*/ 276 w 506"/>
                <a:gd name="T63" fmla="*/ 930 h 1200"/>
                <a:gd name="T64" fmla="*/ 324 w 506"/>
                <a:gd name="T65" fmla="*/ 1002 h 1200"/>
                <a:gd name="T66" fmla="*/ 345 w 506"/>
                <a:gd name="T67" fmla="*/ 1065 h 1200"/>
                <a:gd name="T68" fmla="*/ 411 w 506"/>
                <a:gd name="T69" fmla="*/ 1083 h 1200"/>
                <a:gd name="T70" fmla="*/ 387 w 506"/>
                <a:gd name="T71" fmla="*/ 1131 h 1200"/>
                <a:gd name="T72" fmla="*/ 336 w 506"/>
                <a:gd name="T73" fmla="*/ 1146 h 1200"/>
                <a:gd name="T74" fmla="*/ 447 w 506"/>
                <a:gd name="T75" fmla="*/ 1179 h 1200"/>
                <a:gd name="T76" fmla="*/ 506 w 506"/>
                <a:gd name="T77" fmla="*/ 227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6" h="1200">
                  <a:moveTo>
                    <a:pt x="506" y="227"/>
                  </a:moveTo>
                  <a:lnTo>
                    <a:pt x="450" y="224"/>
                  </a:lnTo>
                  <a:lnTo>
                    <a:pt x="379" y="193"/>
                  </a:lnTo>
                  <a:lnTo>
                    <a:pt x="354" y="164"/>
                  </a:lnTo>
                  <a:lnTo>
                    <a:pt x="316" y="43"/>
                  </a:lnTo>
                  <a:lnTo>
                    <a:pt x="286" y="0"/>
                  </a:lnTo>
                  <a:lnTo>
                    <a:pt x="26" y="0"/>
                  </a:lnTo>
                  <a:lnTo>
                    <a:pt x="47" y="49"/>
                  </a:lnTo>
                  <a:lnTo>
                    <a:pt x="41" y="107"/>
                  </a:lnTo>
                  <a:lnTo>
                    <a:pt x="65" y="159"/>
                  </a:lnTo>
                  <a:lnTo>
                    <a:pt x="70" y="207"/>
                  </a:lnTo>
                  <a:lnTo>
                    <a:pt x="80" y="228"/>
                  </a:lnTo>
                  <a:lnTo>
                    <a:pt x="121" y="258"/>
                  </a:lnTo>
                  <a:lnTo>
                    <a:pt x="136" y="286"/>
                  </a:lnTo>
                  <a:lnTo>
                    <a:pt x="136" y="312"/>
                  </a:lnTo>
                  <a:lnTo>
                    <a:pt x="123" y="356"/>
                  </a:lnTo>
                  <a:lnTo>
                    <a:pt x="118" y="366"/>
                  </a:lnTo>
                  <a:lnTo>
                    <a:pt x="123" y="377"/>
                  </a:lnTo>
                  <a:lnTo>
                    <a:pt x="108" y="401"/>
                  </a:lnTo>
                  <a:lnTo>
                    <a:pt x="84" y="412"/>
                  </a:lnTo>
                  <a:lnTo>
                    <a:pt x="79" y="425"/>
                  </a:lnTo>
                  <a:lnTo>
                    <a:pt x="49" y="463"/>
                  </a:lnTo>
                  <a:lnTo>
                    <a:pt x="23" y="476"/>
                  </a:lnTo>
                  <a:lnTo>
                    <a:pt x="19" y="500"/>
                  </a:lnTo>
                  <a:lnTo>
                    <a:pt x="37" y="498"/>
                  </a:lnTo>
                  <a:lnTo>
                    <a:pt x="49" y="485"/>
                  </a:lnTo>
                  <a:lnTo>
                    <a:pt x="60" y="488"/>
                  </a:lnTo>
                  <a:lnTo>
                    <a:pt x="67" y="501"/>
                  </a:lnTo>
                  <a:lnTo>
                    <a:pt x="48" y="513"/>
                  </a:lnTo>
                  <a:lnTo>
                    <a:pt x="76" y="537"/>
                  </a:lnTo>
                  <a:lnTo>
                    <a:pt x="92" y="536"/>
                  </a:lnTo>
                  <a:lnTo>
                    <a:pt x="110" y="546"/>
                  </a:lnTo>
                  <a:lnTo>
                    <a:pt x="136" y="568"/>
                  </a:lnTo>
                  <a:lnTo>
                    <a:pt x="145" y="592"/>
                  </a:lnTo>
                  <a:lnTo>
                    <a:pt x="145" y="592"/>
                  </a:lnTo>
                  <a:lnTo>
                    <a:pt x="111" y="569"/>
                  </a:lnTo>
                  <a:lnTo>
                    <a:pt x="94" y="558"/>
                  </a:lnTo>
                  <a:lnTo>
                    <a:pt x="75" y="556"/>
                  </a:lnTo>
                  <a:lnTo>
                    <a:pt x="77" y="568"/>
                  </a:lnTo>
                  <a:lnTo>
                    <a:pt x="60" y="562"/>
                  </a:lnTo>
                  <a:lnTo>
                    <a:pt x="41" y="562"/>
                  </a:lnTo>
                  <a:lnTo>
                    <a:pt x="45" y="585"/>
                  </a:lnTo>
                  <a:lnTo>
                    <a:pt x="48" y="598"/>
                  </a:lnTo>
                  <a:lnTo>
                    <a:pt x="41" y="627"/>
                  </a:lnTo>
                  <a:lnTo>
                    <a:pt x="32" y="635"/>
                  </a:lnTo>
                  <a:lnTo>
                    <a:pt x="3" y="635"/>
                  </a:lnTo>
                  <a:lnTo>
                    <a:pt x="0" y="652"/>
                  </a:lnTo>
                  <a:lnTo>
                    <a:pt x="16" y="669"/>
                  </a:lnTo>
                  <a:lnTo>
                    <a:pt x="25" y="699"/>
                  </a:lnTo>
                  <a:lnTo>
                    <a:pt x="47" y="712"/>
                  </a:lnTo>
                  <a:lnTo>
                    <a:pt x="47" y="727"/>
                  </a:lnTo>
                  <a:lnTo>
                    <a:pt x="38" y="735"/>
                  </a:lnTo>
                  <a:lnTo>
                    <a:pt x="40" y="745"/>
                  </a:lnTo>
                  <a:lnTo>
                    <a:pt x="48" y="755"/>
                  </a:lnTo>
                  <a:lnTo>
                    <a:pt x="65" y="791"/>
                  </a:lnTo>
                  <a:lnTo>
                    <a:pt x="80" y="805"/>
                  </a:lnTo>
                  <a:lnTo>
                    <a:pt x="94" y="811"/>
                  </a:lnTo>
                  <a:lnTo>
                    <a:pt x="100" y="844"/>
                  </a:lnTo>
                  <a:lnTo>
                    <a:pt x="120" y="861"/>
                  </a:lnTo>
                  <a:lnTo>
                    <a:pt x="168" y="873"/>
                  </a:lnTo>
                  <a:lnTo>
                    <a:pt x="201" y="867"/>
                  </a:lnTo>
                  <a:lnTo>
                    <a:pt x="243" y="867"/>
                  </a:lnTo>
                  <a:lnTo>
                    <a:pt x="273" y="891"/>
                  </a:lnTo>
                  <a:lnTo>
                    <a:pt x="276" y="930"/>
                  </a:lnTo>
                  <a:lnTo>
                    <a:pt x="267" y="954"/>
                  </a:lnTo>
                  <a:lnTo>
                    <a:pt x="324" y="1002"/>
                  </a:lnTo>
                  <a:lnTo>
                    <a:pt x="327" y="1038"/>
                  </a:lnTo>
                  <a:lnTo>
                    <a:pt x="345" y="1065"/>
                  </a:lnTo>
                  <a:lnTo>
                    <a:pt x="366" y="1062"/>
                  </a:lnTo>
                  <a:lnTo>
                    <a:pt x="411" y="1083"/>
                  </a:lnTo>
                  <a:lnTo>
                    <a:pt x="411" y="1122"/>
                  </a:lnTo>
                  <a:lnTo>
                    <a:pt x="387" y="1131"/>
                  </a:lnTo>
                  <a:lnTo>
                    <a:pt x="348" y="1125"/>
                  </a:lnTo>
                  <a:lnTo>
                    <a:pt x="336" y="1146"/>
                  </a:lnTo>
                  <a:lnTo>
                    <a:pt x="369" y="1200"/>
                  </a:lnTo>
                  <a:lnTo>
                    <a:pt x="447" y="1179"/>
                  </a:lnTo>
                  <a:lnTo>
                    <a:pt x="501" y="1185"/>
                  </a:lnTo>
                  <a:lnTo>
                    <a:pt x="506" y="227"/>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10" name="Freeform 406"/>
            <p:cNvSpPr>
              <a:spLocks/>
            </p:cNvSpPr>
            <p:nvPr/>
          </p:nvSpPr>
          <p:spPr bwMode="auto">
            <a:xfrm>
              <a:off x="3760" y="2180"/>
              <a:ext cx="712" cy="586"/>
            </a:xfrm>
            <a:custGeom>
              <a:avLst/>
              <a:gdLst>
                <a:gd name="T0" fmla="*/ 591 w 712"/>
                <a:gd name="T1" fmla="*/ 20 h 586"/>
                <a:gd name="T2" fmla="*/ 654 w 712"/>
                <a:gd name="T3" fmla="*/ 0 h 586"/>
                <a:gd name="T4" fmla="*/ 712 w 712"/>
                <a:gd name="T5" fmla="*/ 574 h 586"/>
                <a:gd name="T6" fmla="*/ 677 w 712"/>
                <a:gd name="T7" fmla="*/ 573 h 586"/>
                <a:gd name="T8" fmla="*/ 654 w 712"/>
                <a:gd name="T9" fmla="*/ 547 h 586"/>
                <a:gd name="T10" fmla="*/ 674 w 712"/>
                <a:gd name="T11" fmla="*/ 509 h 586"/>
                <a:gd name="T12" fmla="*/ 695 w 712"/>
                <a:gd name="T13" fmla="*/ 474 h 586"/>
                <a:gd name="T14" fmla="*/ 644 w 712"/>
                <a:gd name="T15" fmla="*/ 489 h 586"/>
                <a:gd name="T16" fmla="*/ 623 w 712"/>
                <a:gd name="T17" fmla="*/ 493 h 586"/>
                <a:gd name="T18" fmla="*/ 598 w 712"/>
                <a:gd name="T19" fmla="*/ 472 h 586"/>
                <a:gd name="T20" fmla="*/ 608 w 712"/>
                <a:gd name="T21" fmla="*/ 450 h 586"/>
                <a:gd name="T22" fmla="*/ 573 w 712"/>
                <a:gd name="T23" fmla="*/ 466 h 586"/>
                <a:gd name="T24" fmla="*/ 558 w 712"/>
                <a:gd name="T25" fmla="*/ 489 h 586"/>
                <a:gd name="T26" fmla="*/ 558 w 712"/>
                <a:gd name="T27" fmla="*/ 504 h 586"/>
                <a:gd name="T28" fmla="*/ 542 w 712"/>
                <a:gd name="T29" fmla="*/ 535 h 586"/>
                <a:gd name="T30" fmla="*/ 535 w 712"/>
                <a:gd name="T31" fmla="*/ 547 h 586"/>
                <a:gd name="T32" fmla="*/ 499 w 712"/>
                <a:gd name="T33" fmla="*/ 527 h 586"/>
                <a:gd name="T34" fmla="*/ 527 w 712"/>
                <a:gd name="T35" fmla="*/ 569 h 586"/>
                <a:gd name="T36" fmla="*/ 499 w 712"/>
                <a:gd name="T37" fmla="*/ 577 h 586"/>
                <a:gd name="T38" fmla="*/ 465 w 712"/>
                <a:gd name="T39" fmla="*/ 580 h 586"/>
                <a:gd name="T40" fmla="*/ 422 w 712"/>
                <a:gd name="T41" fmla="*/ 565 h 586"/>
                <a:gd name="T42" fmla="*/ 454 w 712"/>
                <a:gd name="T43" fmla="*/ 515 h 586"/>
                <a:gd name="T44" fmla="*/ 482 w 712"/>
                <a:gd name="T45" fmla="*/ 492 h 586"/>
                <a:gd name="T46" fmla="*/ 529 w 712"/>
                <a:gd name="T47" fmla="*/ 486 h 586"/>
                <a:gd name="T48" fmla="*/ 495 w 712"/>
                <a:gd name="T49" fmla="*/ 465 h 586"/>
                <a:gd name="T50" fmla="*/ 454 w 712"/>
                <a:gd name="T51" fmla="*/ 423 h 586"/>
                <a:gd name="T52" fmla="*/ 444 w 712"/>
                <a:gd name="T53" fmla="*/ 384 h 586"/>
                <a:gd name="T54" fmla="*/ 361 w 712"/>
                <a:gd name="T55" fmla="*/ 348 h 586"/>
                <a:gd name="T56" fmla="*/ 297 w 712"/>
                <a:gd name="T57" fmla="*/ 352 h 586"/>
                <a:gd name="T58" fmla="*/ 274 w 712"/>
                <a:gd name="T59" fmla="*/ 374 h 586"/>
                <a:gd name="T60" fmla="*/ 225 w 712"/>
                <a:gd name="T61" fmla="*/ 389 h 586"/>
                <a:gd name="T62" fmla="*/ 185 w 712"/>
                <a:gd name="T63" fmla="*/ 378 h 586"/>
                <a:gd name="T64" fmla="*/ 143 w 712"/>
                <a:gd name="T65" fmla="*/ 384 h 586"/>
                <a:gd name="T66" fmla="*/ 107 w 712"/>
                <a:gd name="T67" fmla="*/ 374 h 586"/>
                <a:gd name="T68" fmla="*/ 74 w 712"/>
                <a:gd name="T69" fmla="*/ 392 h 586"/>
                <a:gd name="T70" fmla="*/ 25 w 712"/>
                <a:gd name="T71" fmla="*/ 386 h 586"/>
                <a:gd name="T72" fmla="*/ 5 w 712"/>
                <a:gd name="T73" fmla="*/ 331 h 586"/>
                <a:gd name="T74" fmla="*/ 38 w 712"/>
                <a:gd name="T75" fmla="*/ 244 h 586"/>
                <a:gd name="T76" fmla="*/ 112 w 712"/>
                <a:gd name="T77" fmla="*/ 178 h 586"/>
                <a:gd name="T78" fmla="*/ 97 w 712"/>
                <a:gd name="T79" fmla="*/ 122 h 586"/>
                <a:gd name="T80" fmla="*/ 63 w 712"/>
                <a:gd name="T81" fmla="*/ 83 h 586"/>
                <a:gd name="T82" fmla="*/ 107 w 712"/>
                <a:gd name="T83" fmla="*/ 72 h 586"/>
                <a:gd name="T84" fmla="*/ 223 w 712"/>
                <a:gd name="T85" fmla="*/ 69 h 586"/>
                <a:gd name="T86" fmla="*/ 313 w 712"/>
                <a:gd name="T87" fmla="*/ 84 h 586"/>
                <a:gd name="T88" fmla="*/ 391 w 712"/>
                <a:gd name="T89" fmla="*/ 77 h 586"/>
                <a:gd name="T90" fmla="*/ 435 w 712"/>
                <a:gd name="T91" fmla="*/ 84 h 586"/>
                <a:gd name="T92" fmla="*/ 491 w 712"/>
                <a:gd name="T93" fmla="*/ 92 h 586"/>
                <a:gd name="T94" fmla="*/ 506 w 712"/>
                <a:gd name="T95" fmla="*/ 45 h 586"/>
                <a:gd name="T96" fmla="*/ 565 w 712"/>
                <a:gd name="T97" fmla="*/ 2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2" h="586">
                  <a:moveTo>
                    <a:pt x="565" y="23"/>
                  </a:moveTo>
                  <a:lnTo>
                    <a:pt x="591" y="20"/>
                  </a:lnTo>
                  <a:lnTo>
                    <a:pt x="628" y="11"/>
                  </a:lnTo>
                  <a:lnTo>
                    <a:pt x="654" y="0"/>
                  </a:lnTo>
                  <a:lnTo>
                    <a:pt x="707" y="12"/>
                  </a:lnTo>
                  <a:lnTo>
                    <a:pt x="712" y="574"/>
                  </a:lnTo>
                  <a:lnTo>
                    <a:pt x="695" y="573"/>
                  </a:lnTo>
                  <a:lnTo>
                    <a:pt x="677" y="573"/>
                  </a:lnTo>
                  <a:lnTo>
                    <a:pt x="649" y="565"/>
                  </a:lnTo>
                  <a:lnTo>
                    <a:pt x="654" y="547"/>
                  </a:lnTo>
                  <a:lnTo>
                    <a:pt x="669" y="527"/>
                  </a:lnTo>
                  <a:lnTo>
                    <a:pt x="674" y="509"/>
                  </a:lnTo>
                  <a:lnTo>
                    <a:pt x="700" y="492"/>
                  </a:lnTo>
                  <a:lnTo>
                    <a:pt x="695" y="474"/>
                  </a:lnTo>
                  <a:lnTo>
                    <a:pt x="664" y="482"/>
                  </a:lnTo>
                  <a:lnTo>
                    <a:pt x="644" y="489"/>
                  </a:lnTo>
                  <a:lnTo>
                    <a:pt x="623" y="486"/>
                  </a:lnTo>
                  <a:lnTo>
                    <a:pt x="623" y="493"/>
                  </a:lnTo>
                  <a:lnTo>
                    <a:pt x="596" y="480"/>
                  </a:lnTo>
                  <a:lnTo>
                    <a:pt x="598" y="472"/>
                  </a:lnTo>
                  <a:lnTo>
                    <a:pt x="621" y="465"/>
                  </a:lnTo>
                  <a:lnTo>
                    <a:pt x="608" y="450"/>
                  </a:lnTo>
                  <a:lnTo>
                    <a:pt x="588" y="454"/>
                  </a:lnTo>
                  <a:lnTo>
                    <a:pt x="573" y="466"/>
                  </a:lnTo>
                  <a:lnTo>
                    <a:pt x="560" y="472"/>
                  </a:lnTo>
                  <a:lnTo>
                    <a:pt x="558" y="489"/>
                  </a:lnTo>
                  <a:lnTo>
                    <a:pt x="543" y="492"/>
                  </a:lnTo>
                  <a:lnTo>
                    <a:pt x="558" y="504"/>
                  </a:lnTo>
                  <a:lnTo>
                    <a:pt x="558" y="518"/>
                  </a:lnTo>
                  <a:lnTo>
                    <a:pt x="542" y="535"/>
                  </a:lnTo>
                  <a:lnTo>
                    <a:pt x="520" y="527"/>
                  </a:lnTo>
                  <a:lnTo>
                    <a:pt x="535" y="547"/>
                  </a:lnTo>
                  <a:lnTo>
                    <a:pt x="527" y="550"/>
                  </a:lnTo>
                  <a:lnTo>
                    <a:pt x="499" y="527"/>
                  </a:lnTo>
                  <a:lnTo>
                    <a:pt x="507" y="558"/>
                  </a:lnTo>
                  <a:lnTo>
                    <a:pt x="527" y="569"/>
                  </a:lnTo>
                  <a:lnTo>
                    <a:pt x="507" y="586"/>
                  </a:lnTo>
                  <a:lnTo>
                    <a:pt x="499" y="577"/>
                  </a:lnTo>
                  <a:lnTo>
                    <a:pt x="479" y="574"/>
                  </a:lnTo>
                  <a:lnTo>
                    <a:pt x="465" y="580"/>
                  </a:lnTo>
                  <a:lnTo>
                    <a:pt x="421" y="583"/>
                  </a:lnTo>
                  <a:lnTo>
                    <a:pt x="422" y="565"/>
                  </a:lnTo>
                  <a:lnTo>
                    <a:pt x="452" y="539"/>
                  </a:lnTo>
                  <a:lnTo>
                    <a:pt x="454" y="515"/>
                  </a:lnTo>
                  <a:lnTo>
                    <a:pt x="457" y="495"/>
                  </a:lnTo>
                  <a:lnTo>
                    <a:pt x="482" y="492"/>
                  </a:lnTo>
                  <a:lnTo>
                    <a:pt x="520" y="493"/>
                  </a:lnTo>
                  <a:lnTo>
                    <a:pt x="529" y="486"/>
                  </a:lnTo>
                  <a:lnTo>
                    <a:pt x="504" y="478"/>
                  </a:lnTo>
                  <a:lnTo>
                    <a:pt x="495" y="465"/>
                  </a:lnTo>
                  <a:lnTo>
                    <a:pt x="465" y="450"/>
                  </a:lnTo>
                  <a:lnTo>
                    <a:pt x="454" y="423"/>
                  </a:lnTo>
                  <a:lnTo>
                    <a:pt x="460" y="410"/>
                  </a:lnTo>
                  <a:lnTo>
                    <a:pt x="444" y="384"/>
                  </a:lnTo>
                  <a:lnTo>
                    <a:pt x="404" y="378"/>
                  </a:lnTo>
                  <a:lnTo>
                    <a:pt x="361" y="348"/>
                  </a:lnTo>
                  <a:lnTo>
                    <a:pt x="323" y="346"/>
                  </a:lnTo>
                  <a:lnTo>
                    <a:pt x="297" y="352"/>
                  </a:lnTo>
                  <a:lnTo>
                    <a:pt x="286" y="366"/>
                  </a:lnTo>
                  <a:lnTo>
                    <a:pt x="274" y="374"/>
                  </a:lnTo>
                  <a:lnTo>
                    <a:pt x="242" y="375"/>
                  </a:lnTo>
                  <a:lnTo>
                    <a:pt x="225" y="389"/>
                  </a:lnTo>
                  <a:lnTo>
                    <a:pt x="196" y="389"/>
                  </a:lnTo>
                  <a:lnTo>
                    <a:pt x="185" y="378"/>
                  </a:lnTo>
                  <a:lnTo>
                    <a:pt x="173" y="374"/>
                  </a:lnTo>
                  <a:lnTo>
                    <a:pt x="143" y="384"/>
                  </a:lnTo>
                  <a:lnTo>
                    <a:pt x="122" y="386"/>
                  </a:lnTo>
                  <a:lnTo>
                    <a:pt x="107" y="374"/>
                  </a:lnTo>
                  <a:lnTo>
                    <a:pt x="84" y="378"/>
                  </a:lnTo>
                  <a:lnTo>
                    <a:pt x="74" y="392"/>
                  </a:lnTo>
                  <a:lnTo>
                    <a:pt x="53" y="386"/>
                  </a:lnTo>
                  <a:lnTo>
                    <a:pt x="25" y="386"/>
                  </a:lnTo>
                  <a:lnTo>
                    <a:pt x="0" y="348"/>
                  </a:lnTo>
                  <a:lnTo>
                    <a:pt x="5" y="331"/>
                  </a:lnTo>
                  <a:lnTo>
                    <a:pt x="53" y="290"/>
                  </a:lnTo>
                  <a:lnTo>
                    <a:pt x="38" y="244"/>
                  </a:lnTo>
                  <a:lnTo>
                    <a:pt x="94" y="202"/>
                  </a:lnTo>
                  <a:lnTo>
                    <a:pt x="112" y="178"/>
                  </a:lnTo>
                  <a:lnTo>
                    <a:pt x="109" y="153"/>
                  </a:lnTo>
                  <a:lnTo>
                    <a:pt x="97" y="122"/>
                  </a:lnTo>
                  <a:lnTo>
                    <a:pt x="82" y="96"/>
                  </a:lnTo>
                  <a:lnTo>
                    <a:pt x="63" y="83"/>
                  </a:lnTo>
                  <a:lnTo>
                    <a:pt x="94" y="84"/>
                  </a:lnTo>
                  <a:lnTo>
                    <a:pt x="107" y="72"/>
                  </a:lnTo>
                  <a:lnTo>
                    <a:pt x="166" y="69"/>
                  </a:lnTo>
                  <a:lnTo>
                    <a:pt x="223" y="69"/>
                  </a:lnTo>
                  <a:lnTo>
                    <a:pt x="238" y="69"/>
                  </a:lnTo>
                  <a:lnTo>
                    <a:pt x="313" y="84"/>
                  </a:lnTo>
                  <a:lnTo>
                    <a:pt x="368" y="84"/>
                  </a:lnTo>
                  <a:lnTo>
                    <a:pt x="391" y="77"/>
                  </a:lnTo>
                  <a:lnTo>
                    <a:pt x="412" y="77"/>
                  </a:lnTo>
                  <a:lnTo>
                    <a:pt x="435" y="84"/>
                  </a:lnTo>
                  <a:lnTo>
                    <a:pt x="482" y="79"/>
                  </a:lnTo>
                  <a:lnTo>
                    <a:pt x="491" y="92"/>
                  </a:lnTo>
                  <a:lnTo>
                    <a:pt x="507" y="75"/>
                  </a:lnTo>
                  <a:lnTo>
                    <a:pt x="506" y="45"/>
                  </a:lnTo>
                  <a:lnTo>
                    <a:pt x="543" y="26"/>
                  </a:lnTo>
                  <a:lnTo>
                    <a:pt x="565" y="23"/>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11" name="Freeform 411"/>
            <p:cNvSpPr>
              <a:spLocks/>
            </p:cNvSpPr>
            <p:nvPr/>
          </p:nvSpPr>
          <p:spPr bwMode="auto">
            <a:xfrm>
              <a:off x="4094" y="3059"/>
              <a:ext cx="371" cy="469"/>
            </a:xfrm>
            <a:custGeom>
              <a:avLst/>
              <a:gdLst>
                <a:gd name="T0" fmla="*/ 163 w 323"/>
                <a:gd name="T1" fmla="*/ 91 h 408"/>
                <a:gd name="T2" fmla="*/ 166 w 323"/>
                <a:gd name="T3" fmla="*/ 71 h 408"/>
                <a:gd name="T4" fmla="*/ 200 w 323"/>
                <a:gd name="T5" fmla="*/ 67 h 408"/>
                <a:gd name="T6" fmla="*/ 209 w 323"/>
                <a:gd name="T7" fmla="*/ 67 h 408"/>
                <a:gd name="T8" fmla="*/ 193 w 323"/>
                <a:gd name="T9" fmla="*/ 55 h 408"/>
                <a:gd name="T10" fmla="*/ 169 w 323"/>
                <a:gd name="T11" fmla="*/ 49 h 408"/>
                <a:gd name="T12" fmla="*/ 169 w 323"/>
                <a:gd name="T13" fmla="*/ 37 h 408"/>
                <a:gd name="T14" fmla="*/ 218 w 323"/>
                <a:gd name="T15" fmla="*/ 25 h 408"/>
                <a:gd name="T16" fmla="*/ 258 w 323"/>
                <a:gd name="T17" fmla="*/ 21 h 408"/>
                <a:gd name="T18" fmla="*/ 285 w 323"/>
                <a:gd name="T19" fmla="*/ 9 h 408"/>
                <a:gd name="T20" fmla="*/ 303 w 323"/>
                <a:gd name="T21" fmla="*/ 16 h 408"/>
                <a:gd name="T22" fmla="*/ 323 w 323"/>
                <a:gd name="T23" fmla="*/ 0 h 408"/>
                <a:gd name="T24" fmla="*/ 319 w 323"/>
                <a:gd name="T25" fmla="*/ 360 h 408"/>
                <a:gd name="T26" fmla="*/ 292 w 323"/>
                <a:gd name="T27" fmla="*/ 374 h 408"/>
                <a:gd name="T28" fmla="*/ 289 w 323"/>
                <a:gd name="T29" fmla="*/ 381 h 408"/>
                <a:gd name="T30" fmla="*/ 268 w 323"/>
                <a:gd name="T31" fmla="*/ 387 h 408"/>
                <a:gd name="T32" fmla="*/ 265 w 323"/>
                <a:gd name="T33" fmla="*/ 387 h 408"/>
                <a:gd name="T34" fmla="*/ 242 w 323"/>
                <a:gd name="T35" fmla="*/ 408 h 408"/>
                <a:gd name="T36" fmla="*/ 228 w 323"/>
                <a:gd name="T37" fmla="*/ 408 h 408"/>
                <a:gd name="T38" fmla="*/ 222 w 323"/>
                <a:gd name="T39" fmla="*/ 392 h 408"/>
                <a:gd name="T40" fmla="*/ 212 w 323"/>
                <a:gd name="T41" fmla="*/ 390 h 408"/>
                <a:gd name="T42" fmla="*/ 200 w 323"/>
                <a:gd name="T43" fmla="*/ 381 h 408"/>
                <a:gd name="T44" fmla="*/ 196 w 323"/>
                <a:gd name="T45" fmla="*/ 369 h 408"/>
                <a:gd name="T46" fmla="*/ 169 w 323"/>
                <a:gd name="T47" fmla="*/ 365 h 408"/>
                <a:gd name="T48" fmla="*/ 155 w 323"/>
                <a:gd name="T49" fmla="*/ 360 h 408"/>
                <a:gd name="T50" fmla="*/ 153 w 323"/>
                <a:gd name="T51" fmla="*/ 353 h 408"/>
                <a:gd name="T52" fmla="*/ 135 w 323"/>
                <a:gd name="T53" fmla="*/ 353 h 408"/>
                <a:gd name="T54" fmla="*/ 122 w 323"/>
                <a:gd name="T55" fmla="*/ 341 h 408"/>
                <a:gd name="T56" fmla="*/ 118 w 323"/>
                <a:gd name="T57" fmla="*/ 335 h 408"/>
                <a:gd name="T58" fmla="*/ 104 w 323"/>
                <a:gd name="T59" fmla="*/ 341 h 408"/>
                <a:gd name="T60" fmla="*/ 91 w 323"/>
                <a:gd name="T61" fmla="*/ 338 h 408"/>
                <a:gd name="T62" fmla="*/ 85 w 323"/>
                <a:gd name="T63" fmla="*/ 335 h 408"/>
                <a:gd name="T64" fmla="*/ 87 w 323"/>
                <a:gd name="T65" fmla="*/ 323 h 408"/>
                <a:gd name="T66" fmla="*/ 67 w 323"/>
                <a:gd name="T67" fmla="*/ 310 h 408"/>
                <a:gd name="T68" fmla="*/ 71 w 323"/>
                <a:gd name="T69" fmla="*/ 301 h 408"/>
                <a:gd name="T70" fmla="*/ 77 w 323"/>
                <a:gd name="T71" fmla="*/ 296 h 408"/>
                <a:gd name="T72" fmla="*/ 57 w 323"/>
                <a:gd name="T73" fmla="*/ 283 h 408"/>
                <a:gd name="T74" fmla="*/ 6 w 323"/>
                <a:gd name="T75" fmla="*/ 265 h 408"/>
                <a:gd name="T76" fmla="*/ 14 w 323"/>
                <a:gd name="T77" fmla="*/ 247 h 408"/>
                <a:gd name="T78" fmla="*/ 30 w 323"/>
                <a:gd name="T79" fmla="*/ 247 h 408"/>
                <a:gd name="T80" fmla="*/ 37 w 323"/>
                <a:gd name="T81" fmla="*/ 259 h 408"/>
                <a:gd name="T82" fmla="*/ 34 w 323"/>
                <a:gd name="T83" fmla="*/ 241 h 408"/>
                <a:gd name="T84" fmla="*/ 44 w 323"/>
                <a:gd name="T85" fmla="*/ 226 h 408"/>
                <a:gd name="T86" fmla="*/ 51 w 323"/>
                <a:gd name="T87" fmla="*/ 210 h 408"/>
                <a:gd name="T88" fmla="*/ 34 w 323"/>
                <a:gd name="T89" fmla="*/ 198 h 408"/>
                <a:gd name="T90" fmla="*/ 20 w 323"/>
                <a:gd name="T91" fmla="*/ 186 h 408"/>
                <a:gd name="T92" fmla="*/ 20 w 323"/>
                <a:gd name="T93" fmla="*/ 174 h 408"/>
                <a:gd name="T94" fmla="*/ 6 w 323"/>
                <a:gd name="T95" fmla="*/ 174 h 408"/>
                <a:gd name="T96" fmla="*/ 0 w 323"/>
                <a:gd name="T97" fmla="*/ 171 h 408"/>
                <a:gd name="T98" fmla="*/ 4 w 323"/>
                <a:gd name="T99" fmla="*/ 143 h 408"/>
                <a:gd name="T100" fmla="*/ 27 w 323"/>
                <a:gd name="T101" fmla="*/ 103 h 408"/>
                <a:gd name="T102" fmla="*/ 30 w 323"/>
                <a:gd name="T103" fmla="*/ 103 h 408"/>
                <a:gd name="T104" fmla="*/ 51 w 323"/>
                <a:gd name="T105" fmla="*/ 103 h 408"/>
                <a:gd name="T106" fmla="*/ 67 w 323"/>
                <a:gd name="T107" fmla="*/ 110 h 408"/>
                <a:gd name="T108" fmla="*/ 77 w 323"/>
                <a:gd name="T109" fmla="*/ 110 h 408"/>
                <a:gd name="T110" fmla="*/ 77 w 323"/>
                <a:gd name="T111" fmla="*/ 98 h 408"/>
                <a:gd name="T112" fmla="*/ 97 w 323"/>
                <a:gd name="T113" fmla="*/ 94 h 408"/>
                <a:gd name="T114" fmla="*/ 135 w 323"/>
                <a:gd name="T115" fmla="*/ 94 h 408"/>
                <a:gd name="T116" fmla="*/ 163 w 323"/>
                <a:gd name="T117" fmla="*/ 9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3" h="408">
                  <a:moveTo>
                    <a:pt x="163" y="91"/>
                  </a:moveTo>
                  <a:lnTo>
                    <a:pt x="166" y="71"/>
                  </a:lnTo>
                  <a:lnTo>
                    <a:pt x="200" y="67"/>
                  </a:lnTo>
                  <a:lnTo>
                    <a:pt x="209" y="67"/>
                  </a:lnTo>
                  <a:lnTo>
                    <a:pt x="193" y="55"/>
                  </a:lnTo>
                  <a:lnTo>
                    <a:pt x="169" y="49"/>
                  </a:lnTo>
                  <a:lnTo>
                    <a:pt x="169" y="37"/>
                  </a:lnTo>
                  <a:lnTo>
                    <a:pt x="218" y="25"/>
                  </a:lnTo>
                  <a:lnTo>
                    <a:pt x="258" y="21"/>
                  </a:lnTo>
                  <a:lnTo>
                    <a:pt x="285" y="9"/>
                  </a:lnTo>
                  <a:lnTo>
                    <a:pt x="303" y="16"/>
                  </a:lnTo>
                  <a:lnTo>
                    <a:pt x="323" y="0"/>
                  </a:lnTo>
                  <a:lnTo>
                    <a:pt x="319" y="360"/>
                  </a:lnTo>
                  <a:lnTo>
                    <a:pt x="292" y="374"/>
                  </a:lnTo>
                  <a:lnTo>
                    <a:pt x="289" y="381"/>
                  </a:lnTo>
                  <a:lnTo>
                    <a:pt x="268" y="387"/>
                  </a:lnTo>
                  <a:lnTo>
                    <a:pt x="265" y="387"/>
                  </a:lnTo>
                  <a:lnTo>
                    <a:pt x="242" y="408"/>
                  </a:lnTo>
                  <a:lnTo>
                    <a:pt x="228" y="408"/>
                  </a:lnTo>
                  <a:lnTo>
                    <a:pt x="222" y="392"/>
                  </a:lnTo>
                  <a:lnTo>
                    <a:pt x="212" y="390"/>
                  </a:lnTo>
                  <a:lnTo>
                    <a:pt x="200" y="381"/>
                  </a:lnTo>
                  <a:lnTo>
                    <a:pt x="196" y="369"/>
                  </a:lnTo>
                  <a:lnTo>
                    <a:pt x="169" y="365"/>
                  </a:lnTo>
                  <a:lnTo>
                    <a:pt x="155" y="360"/>
                  </a:lnTo>
                  <a:lnTo>
                    <a:pt x="153" y="353"/>
                  </a:lnTo>
                  <a:lnTo>
                    <a:pt x="135" y="353"/>
                  </a:lnTo>
                  <a:lnTo>
                    <a:pt x="122" y="341"/>
                  </a:lnTo>
                  <a:lnTo>
                    <a:pt x="118" y="335"/>
                  </a:lnTo>
                  <a:lnTo>
                    <a:pt x="104" y="341"/>
                  </a:lnTo>
                  <a:lnTo>
                    <a:pt x="91" y="338"/>
                  </a:lnTo>
                  <a:lnTo>
                    <a:pt x="85" y="335"/>
                  </a:lnTo>
                  <a:lnTo>
                    <a:pt x="87" y="323"/>
                  </a:lnTo>
                  <a:lnTo>
                    <a:pt x="67" y="310"/>
                  </a:lnTo>
                  <a:lnTo>
                    <a:pt x="71" y="301"/>
                  </a:lnTo>
                  <a:lnTo>
                    <a:pt x="77" y="296"/>
                  </a:lnTo>
                  <a:lnTo>
                    <a:pt x="57" y="283"/>
                  </a:lnTo>
                  <a:lnTo>
                    <a:pt x="6" y="265"/>
                  </a:lnTo>
                  <a:lnTo>
                    <a:pt x="14" y="247"/>
                  </a:lnTo>
                  <a:lnTo>
                    <a:pt x="30" y="247"/>
                  </a:lnTo>
                  <a:lnTo>
                    <a:pt x="37" y="259"/>
                  </a:lnTo>
                  <a:lnTo>
                    <a:pt x="34" y="241"/>
                  </a:lnTo>
                  <a:lnTo>
                    <a:pt x="44" y="226"/>
                  </a:lnTo>
                  <a:lnTo>
                    <a:pt x="51" y="210"/>
                  </a:lnTo>
                  <a:lnTo>
                    <a:pt x="34" y="198"/>
                  </a:lnTo>
                  <a:lnTo>
                    <a:pt x="20" y="186"/>
                  </a:lnTo>
                  <a:lnTo>
                    <a:pt x="20" y="174"/>
                  </a:lnTo>
                  <a:lnTo>
                    <a:pt x="6" y="174"/>
                  </a:lnTo>
                  <a:lnTo>
                    <a:pt x="0" y="171"/>
                  </a:lnTo>
                  <a:lnTo>
                    <a:pt x="4" y="143"/>
                  </a:lnTo>
                  <a:lnTo>
                    <a:pt x="27" y="103"/>
                  </a:lnTo>
                  <a:lnTo>
                    <a:pt x="30" y="103"/>
                  </a:lnTo>
                  <a:lnTo>
                    <a:pt x="51" y="103"/>
                  </a:lnTo>
                  <a:lnTo>
                    <a:pt x="67" y="110"/>
                  </a:lnTo>
                  <a:lnTo>
                    <a:pt x="77" y="110"/>
                  </a:lnTo>
                  <a:lnTo>
                    <a:pt x="77" y="98"/>
                  </a:lnTo>
                  <a:lnTo>
                    <a:pt x="97" y="94"/>
                  </a:lnTo>
                  <a:lnTo>
                    <a:pt x="135" y="94"/>
                  </a:lnTo>
                  <a:lnTo>
                    <a:pt x="163" y="91"/>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12" name="Text Box 412"/>
            <p:cNvSpPr txBox="1">
              <a:spLocks noChangeArrowheads="1"/>
            </p:cNvSpPr>
            <p:nvPr/>
          </p:nvSpPr>
          <p:spPr bwMode="auto">
            <a:xfrm>
              <a:off x="3111" y="2583"/>
              <a:ext cx="260" cy="63"/>
            </a:xfrm>
            <a:prstGeom prst="rect">
              <a:avLst/>
            </a:prstGeom>
            <a:grpFill/>
            <a:ln w="9525">
              <a:solidFill>
                <a:schemeClr val="tx1">
                  <a:lumMod val="50000"/>
                  <a:lumOff val="50000"/>
                </a:schemeClr>
              </a:solidFill>
              <a:miter lim="800000"/>
              <a:headEnd/>
              <a:tailEn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de-DE" altLang="de-DE" sz="500" b="1" i="1" u="none" strike="noStrike" kern="0" cap="none" spc="0" normalizeH="0" baseline="0" noProof="0">
                <a:ln>
                  <a:noFill/>
                </a:ln>
                <a:solidFill>
                  <a:srgbClr val="004240"/>
                </a:solidFill>
                <a:effectLst/>
                <a:uLnTx/>
                <a:uFillTx/>
                <a:latin typeface="Times New Roman" pitchFamily="18" charset="0"/>
              </a:endParaRPr>
            </a:p>
          </p:txBody>
        </p:sp>
        <p:sp>
          <p:nvSpPr>
            <p:cNvPr id="13" name="Freeform 413"/>
            <p:cNvSpPr>
              <a:spLocks/>
            </p:cNvSpPr>
            <p:nvPr/>
          </p:nvSpPr>
          <p:spPr bwMode="auto">
            <a:xfrm>
              <a:off x="2724" y="2513"/>
              <a:ext cx="308" cy="182"/>
            </a:xfrm>
            <a:custGeom>
              <a:avLst/>
              <a:gdLst>
                <a:gd name="T0" fmla="*/ 161 w 308"/>
                <a:gd name="T1" fmla="*/ 35 h 182"/>
                <a:gd name="T2" fmla="*/ 146 w 308"/>
                <a:gd name="T3" fmla="*/ 23 h 182"/>
                <a:gd name="T4" fmla="*/ 148 w 308"/>
                <a:gd name="T5" fmla="*/ 18 h 182"/>
                <a:gd name="T6" fmla="*/ 138 w 308"/>
                <a:gd name="T7" fmla="*/ 10 h 182"/>
                <a:gd name="T8" fmla="*/ 130 w 308"/>
                <a:gd name="T9" fmla="*/ 0 h 182"/>
                <a:gd name="T10" fmla="*/ 121 w 308"/>
                <a:gd name="T11" fmla="*/ 10 h 182"/>
                <a:gd name="T12" fmla="*/ 115 w 308"/>
                <a:gd name="T13" fmla="*/ 7 h 182"/>
                <a:gd name="T14" fmla="*/ 103 w 308"/>
                <a:gd name="T15" fmla="*/ 16 h 182"/>
                <a:gd name="T16" fmla="*/ 103 w 308"/>
                <a:gd name="T17" fmla="*/ 21 h 182"/>
                <a:gd name="T18" fmla="*/ 90 w 308"/>
                <a:gd name="T19" fmla="*/ 26 h 182"/>
                <a:gd name="T20" fmla="*/ 56 w 308"/>
                <a:gd name="T21" fmla="*/ 51 h 182"/>
                <a:gd name="T22" fmla="*/ 47 w 308"/>
                <a:gd name="T23" fmla="*/ 61 h 182"/>
                <a:gd name="T24" fmla="*/ 47 w 308"/>
                <a:gd name="T25" fmla="*/ 73 h 182"/>
                <a:gd name="T26" fmla="*/ 34 w 308"/>
                <a:gd name="T27" fmla="*/ 77 h 182"/>
                <a:gd name="T28" fmla="*/ 9 w 308"/>
                <a:gd name="T29" fmla="*/ 101 h 182"/>
                <a:gd name="T30" fmla="*/ 9 w 308"/>
                <a:gd name="T31" fmla="*/ 110 h 182"/>
                <a:gd name="T32" fmla="*/ 0 w 308"/>
                <a:gd name="T33" fmla="*/ 120 h 182"/>
                <a:gd name="T34" fmla="*/ 4 w 308"/>
                <a:gd name="T35" fmla="*/ 132 h 182"/>
                <a:gd name="T36" fmla="*/ 16 w 308"/>
                <a:gd name="T37" fmla="*/ 126 h 182"/>
                <a:gd name="T38" fmla="*/ 27 w 308"/>
                <a:gd name="T39" fmla="*/ 114 h 182"/>
                <a:gd name="T40" fmla="*/ 44 w 308"/>
                <a:gd name="T41" fmla="*/ 112 h 182"/>
                <a:gd name="T42" fmla="*/ 56 w 308"/>
                <a:gd name="T43" fmla="*/ 114 h 182"/>
                <a:gd name="T44" fmla="*/ 60 w 308"/>
                <a:gd name="T45" fmla="*/ 132 h 182"/>
                <a:gd name="T46" fmla="*/ 58 w 308"/>
                <a:gd name="T47" fmla="*/ 144 h 182"/>
                <a:gd name="T48" fmla="*/ 65 w 308"/>
                <a:gd name="T49" fmla="*/ 153 h 182"/>
                <a:gd name="T50" fmla="*/ 74 w 308"/>
                <a:gd name="T51" fmla="*/ 159 h 182"/>
                <a:gd name="T52" fmla="*/ 94 w 308"/>
                <a:gd name="T53" fmla="*/ 160 h 182"/>
                <a:gd name="T54" fmla="*/ 136 w 308"/>
                <a:gd name="T55" fmla="*/ 165 h 182"/>
                <a:gd name="T56" fmla="*/ 146 w 308"/>
                <a:gd name="T57" fmla="*/ 160 h 182"/>
                <a:gd name="T58" fmla="*/ 152 w 308"/>
                <a:gd name="T59" fmla="*/ 153 h 182"/>
                <a:gd name="T60" fmla="*/ 156 w 308"/>
                <a:gd name="T61" fmla="*/ 137 h 182"/>
                <a:gd name="T62" fmla="*/ 172 w 308"/>
                <a:gd name="T63" fmla="*/ 136 h 182"/>
                <a:gd name="T64" fmla="*/ 177 w 308"/>
                <a:gd name="T65" fmla="*/ 146 h 182"/>
                <a:gd name="T66" fmla="*/ 177 w 308"/>
                <a:gd name="T67" fmla="*/ 170 h 182"/>
                <a:gd name="T68" fmla="*/ 196 w 308"/>
                <a:gd name="T69" fmla="*/ 182 h 182"/>
                <a:gd name="T70" fmla="*/ 211 w 308"/>
                <a:gd name="T71" fmla="*/ 161 h 182"/>
                <a:gd name="T72" fmla="*/ 226 w 308"/>
                <a:gd name="T73" fmla="*/ 155 h 182"/>
                <a:gd name="T74" fmla="*/ 244 w 308"/>
                <a:gd name="T75" fmla="*/ 157 h 182"/>
                <a:gd name="T76" fmla="*/ 257 w 308"/>
                <a:gd name="T77" fmla="*/ 163 h 182"/>
                <a:gd name="T78" fmla="*/ 263 w 308"/>
                <a:gd name="T79" fmla="*/ 169 h 182"/>
                <a:gd name="T80" fmla="*/ 267 w 308"/>
                <a:gd name="T81" fmla="*/ 151 h 182"/>
                <a:gd name="T82" fmla="*/ 277 w 308"/>
                <a:gd name="T83" fmla="*/ 130 h 182"/>
                <a:gd name="T84" fmla="*/ 301 w 308"/>
                <a:gd name="T85" fmla="*/ 127 h 182"/>
                <a:gd name="T86" fmla="*/ 308 w 308"/>
                <a:gd name="T87" fmla="*/ 114 h 182"/>
                <a:gd name="T88" fmla="*/ 301 w 308"/>
                <a:gd name="T89" fmla="*/ 102 h 182"/>
                <a:gd name="T90" fmla="*/ 283 w 308"/>
                <a:gd name="T91" fmla="*/ 96 h 182"/>
                <a:gd name="T92" fmla="*/ 265 w 308"/>
                <a:gd name="T93" fmla="*/ 94 h 182"/>
                <a:gd name="T94" fmla="*/ 260 w 308"/>
                <a:gd name="T95" fmla="*/ 81 h 182"/>
                <a:gd name="T96" fmla="*/ 264 w 308"/>
                <a:gd name="T97" fmla="*/ 71 h 182"/>
                <a:gd name="T98" fmla="*/ 259 w 308"/>
                <a:gd name="T99" fmla="*/ 55 h 182"/>
                <a:gd name="T100" fmla="*/ 242 w 308"/>
                <a:gd name="T101" fmla="*/ 47 h 182"/>
                <a:gd name="T102" fmla="*/ 233 w 308"/>
                <a:gd name="T103" fmla="*/ 51 h 182"/>
                <a:gd name="T104" fmla="*/ 217 w 308"/>
                <a:gd name="T105" fmla="*/ 40 h 182"/>
                <a:gd name="T106" fmla="*/ 215 w 308"/>
                <a:gd name="T107" fmla="*/ 33 h 182"/>
                <a:gd name="T108" fmla="*/ 209 w 308"/>
                <a:gd name="T109" fmla="*/ 24 h 182"/>
                <a:gd name="T110" fmla="*/ 209 w 308"/>
                <a:gd name="T111" fmla="*/ 21 h 182"/>
                <a:gd name="T112" fmla="*/ 192 w 308"/>
                <a:gd name="T113" fmla="*/ 16 h 182"/>
                <a:gd name="T114" fmla="*/ 186 w 308"/>
                <a:gd name="T115" fmla="*/ 23 h 182"/>
                <a:gd name="T116" fmla="*/ 175 w 308"/>
                <a:gd name="T117" fmla="*/ 30 h 182"/>
                <a:gd name="T118" fmla="*/ 161 w 308"/>
                <a:gd name="T119" fmla="*/ 35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8" h="182">
                  <a:moveTo>
                    <a:pt x="161" y="35"/>
                  </a:moveTo>
                  <a:lnTo>
                    <a:pt x="146" y="23"/>
                  </a:lnTo>
                  <a:lnTo>
                    <a:pt x="148" y="18"/>
                  </a:lnTo>
                  <a:lnTo>
                    <a:pt x="138" y="10"/>
                  </a:lnTo>
                  <a:lnTo>
                    <a:pt x="130" y="0"/>
                  </a:lnTo>
                  <a:lnTo>
                    <a:pt x="121" y="10"/>
                  </a:lnTo>
                  <a:lnTo>
                    <a:pt x="115" y="7"/>
                  </a:lnTo>
                  <a:lnTo>
                    <a:pt x="103" y="16"/>
                  </a:lnTo>
                  <a:lnTo>
                    <a:pt x="103" y="21"/>
                  </a:lnTo>
                  <a:lnTo>
                    <a:pt x="90" y="26"/>
                  </a:lnTo>
                  <a:lnTo>
                    <a:pt x="56" y="51"/>
                  </a:lnTo>
                  <a:lnTo>
                    <a:pt x="47" y="61"/>
                  </a:lnTo>
                  <a:lnTo>
                    <a:pt x="47" y="73"/>
                  </a:lnTo>
                  <a:lnTo>
                    <a:pt x="34" y="77"/>
                  </a:lnTo>
                  <a:lnTo>
                    <a:pt x="9" y="101"/>
                  </a:lnTo>
                  <a:lnTo>
                    <a:pt x="9" y="110"/>
                  </a:lnTo>
                  <a:lnTo>
                    <a:pt x="0" y="120"/>
                  </a:lnTo>
                  <a:lnTo>
                    <a:pt x="4" y="132"/>
                  </a:lnTo>
                  <a:lnTo>
                    <a:pt x="16" y="126"/>
                  </a:lnTo>
                  <a:lnTo>
                    <a:pt x="27" y="114"/>
                  </a:lnTo>
                  <a:lnTo>
                    <a:pt x="44" y="112"/>
                  </a:lnTo>
                  <a:lnTo>
                    <a:pt x="56" y="114"/>
                  </a:lnTo>
                  <a:lnTo>
                    <a:pt x="60" y="132"/>
                  </a:lnTo>
                  <a:lnTo>
                    <a:pt x="58" y="144"/>
                  </a:lnTo>
                  <a:lnTo>
                    <a:pt x="65" y="153"/>
                  </a:lnTo>
                  <a:lnTo>
                    <a:pt x="74" y="159"/>
                  </a:lnTo>
                  <a:lnTo>
                    <a:pt x="94" y="160"/>
                  </a:lnTo>
                  <a:lnTo>
                    <a:pt x="136" y="165"/>
                  </a:lnTo>
                  <a:lnTo>
                    <a:pt x="146" y="160"/>
                  </a:lnTo>
                  <a:lnTo>
                    <a:pt x="152" y="153"/>
                  </a:lnTo>
                  <a:lnTo>
                    <a:pt x="156" y="137"/>
                  </a:lnTo>
                  <a:lnTo>
                    <a:pt x="172" y="136"/>
                  </a:lnTo>
                  <a:lnTo>
                    <a:pt x="177" y="146"/>
                  </a:lnTo>
                  <a:lnTo>
                    <a:pt x="177" y="170"/>
                  </a:lnTo>
                  <a:lnTo>
                    <a:pt x="196" y="182"/>
                  </a:lnTo>
                  <a:lnTo>
                    <a:pt x="211" y="161"/>
                  </a:lnTo>
                  <a:lnTo>
                    <a:pt x="226" y="155"/>
                  </a:lnTo>
                  <a:lnTo>
                    <a:pt x="244" y="157"/>
                  </a:lnTo>
                  <a:lnTo>
                    <a:pt x="257" y="163"/>
                  </a:lnTo>
                  <a:lnTo>
                    <a:pt x="263" y="169"/>
                  </a:lnTo>
                  <a:lnTo>
                    <a:pt x="267" y="151"/>
                  </a:lnTo>
                  <a:lnTo>
                    <a:pt x="277" y="130"/>
                  </a:lnTo>
                  <a:lnTo>
                    <a:pt x="301" y="127"/>
                  </a:lnTo>
                  <a:lnTo>
                    <a:pt x="308" y="114"/>
                  </a:lnTo>
                  <a:lnTo>
                    <a:pt x="301" y="102"/>
                  </a:lnTo>
                  <a:lnTo>
                    <a:pt x="283" y="96"/>
                  </a:lnTo>
                  <a:lnTo>
                    <a:pt x="265" y="94"/>
                  </a:lnTo>
                  <a:lnTo>
                    <a:pt x="260" y="81"/>
                  </a:lnTo>
                  <a:lnTo>
                    <a:pt x="264" y="71"/>
                  </a:lnTo>
                  <a:lnTo>
                    <a:pt x="259" y="55"/>
                  </a:lnTo>
                  <a:lnTo>
                    <a:pt x="242" y="47"/>
                  </a:lnTo>
                  <a:lnTo>
                    <a:pt x="233" y="51"/>
                  </a:lnTo>
                  <a:lnTo>
                    <a:pt x="217" y="40"/>
                  </a:lnTo>
                  <a:lnTo>
                    <a:pt x="215" y="33"/>
                  </a:lnTo>
                  <a:lnTo>
                    <a:pt x="209" y="24"/>
                  </a:lnTo>
                  <a:lnTo>
                    <a:pt x="209" y="21"/>
                  </a:lnTo>
                  <a:lnTo>
                    <a:pt x="192" y="16"/>
                  </a:lnTo>
                  <a:lnTo>
                    <a:pt x="186" y="23"/>
                  </a:lnTo>
                  <a:lnTo>
                    <a:pt x="175" y="30"/>
                  </a:lnTo>
                  <a:lnTo>
                    <a:pt x="161" y="35"/>
                  </a:lnTo>
                  <a:close/>
                </a:path>
              </a:pathLst>
            </a:custGeom>
            <a:solidFill>
              <a:schemeClr val="tx2">
                <a:lumMod val="9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14" name="Freeform 414"/>
            <p:cNvSpPr>
              <a:spLocks/>
            </p:cNvSpPr>
            <p:nvPr/>
          </p:nvSpPr>
          <p:spPr bwMode="auto">
            <a:xfrm>
              <a:off x="3615" y="1527"/>
              <a:ext cx="30" cy="24"/>
            </a:xfrm>
            <a:custGeom>
              <a:avLst/>
              <a:gdLst>
                <a:gd name="T0" fmla="*/ 25 w 29"/>
                <a:gd name="T1" fmla="*/ 0 h 26"/>
                <a:gd name="T2" fmla="*/ 14 w 29"/>
                <a:gd name="T3" fmla="*/ 6 h 26"/>
                <a:gd name="T4" fmla="*/ 0 w 29"/>
                <a:gd name="T5" fmla="*/ 17 h 26"/>
                <a:gd name="T6" fmla="*/ 2 w 29"/>
                <a:gd name="T7" fmla="*/ 26 h 26"/>
                <a:gd name="T8" fmla="*/ 10 w 29"/>
                <a:gd name="T9" fmla="*/ 26 h 26"/>
                <a:gd name="T10" fmla="*/ 29 w 29"/>
                <a:gd name="T11" fmla="*/ 13 h 26"/>
                <a:gd name="T12" fmla="*/ 25 w 29"/>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9" h="26">
                  <a:moveTo>
                    <a:pt x="25" y="0"/>
                  </a:moveTo>
                  <a:lnTo>
                    <a:pt x="14" y="6"/>
                  </a:lnTo>
                  <a:lnTo>
                    <a:pt x="0" y="17"/>
                  </a:lnTo>
                  <a:lnTo>
                    <a:pt x="2" y="26"/>
                  </a:lnTo>
                  <a:lnTo>
                    <a:pt x="10" y="26"/>
                  </a:lnTo>
                  <a:lnTo>
                    <a:pt x="29" y="13"/>
                  </a:lnTo>
                  <a:lnTo>
                    <a:pt x="2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15" name="Freeform 415"/>
            <p:cNvSpPr>
              <a:spLocks/>
            </p:cNvSpPr>
            <p:nvPr/>
          </p:nvSpPr>
          <p:spPr bwMode="auto">
            <a:xfrm>
              <a:off x="3333" y="1641"/>
              <a:ext cx="63" cy="92"/>
            </a:xfrm>
            <a:custGeom>
              <a:avLst/>
              <a:gdLst>
                <a:gd name="T0" fmla="*/ 53 w 60"/>
                <a:gd name="T1" fmla="*/ 0 h 97"/>
                <a:gd name="T2" fmla="*/ 53 w 60"/>
                <a:gd name="T3" fmla="*/ 17 h 97"/>
                <a:gd name="T4" fmla="*/ 60 w 60"/>
                <a:gd name="T5" fmla="*/ 32 h 97"/>
                <a:gd name="T6" fmla="*/ 53 w 60"/>
                <a:gd name="T7" fmla="*/ 49 h 97"/>
                <a:gd name="T8" fmla="*/ 43 w 60"/>
                <a:gd name="T9" fmla="*/ 63 h 97"/>
                <a:gd name="T10" fmla="*/ 24 w 60"/>
                <a:gd name="T11" fmla="*/ 80 h 97"/>
                <a:gd name="T12" fmla="*/ 9 w 60"/>
                <a:gd name="T13" fmla="*/ 97 h 97"/>
                <a:gd name="T14" fmla="*/ 0 w 60"/>
                <a:gd name="T15" fmla="*/ 80 h 97"/>
                <a:gd name="T16" fmla="*/ 6 w 60"/>
                <a:gd name="T17" fmla="*/ 73 h 97"/>
                <a:gd name="T18" fmla="*/ 24 w 60"/>
                <a:gd name="T19" fmla="*/ 54 h 97"/>
                <a:gd name="T20" fmla="*/ 23 w 60"/>
                <a:gd name="T21" fmla="*/ 43 h 97"/>
                <a:gd name="T22" fmla="*/ 32 w 60"/>
                <a:gd name="T23" fmla="*/ 28 h 97"/>
                <a:gd name="T24" fmla="*/ 54 w 60"/>
                <a:gd name="T25" fmla="*/ 9 h 97"/>
                <a:gd name="T26" fmla="*/ 54 w 60"/>
                <a:gd name="T27" fmla="*/ 15 h 97"/>
                <a:gd name="T28" fmla="*/ 58 w 60"/>
                <a:gd name="T29" fmla="*/ 24 h 97"/>
                <a:gd name="T30" fmla="*/ 53 w 60"/>
                <a:gd name="T3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97">
                  <a:moveTo>
                    <a:pt x="53" y="0"/>
                  </a:moveTo>
                  <a:lnTo>
                    <a:pt x="53" y="17"/>
                  </a:lnTo>
                  <a:lnTo>
                    <a:pt x="60" y="32"/>
                  </a:lnTo>
                  <a:lnTo>
                    <a:pt x="53" y="49"/>
                  </a:lnTo>
                  <a:lnTo>
                    <a:pt x="43" y="63"/>
                  </a:lnTo>
                  <a:lnTo>
                    <a:pt x="24" y="80"/>
                  </a:lnTo>
                  <a:lnTo>
                    <a:pt x="9" y="97"/>
                  </a:lnTo>
                  <a:lnTo>
                    <a:pt x="0" y="80"/>
                  </a:lnTo>
                  <a:lnTo>
                    <a:pt x="6" y="73"/>
                  </a:lnTo>
                  <a:lnTo>
                    <a:pt x="24" y="54"/>
                  </a:lnTo>
                  <a:lnTo>
                    <a:pt x="23" y="43"/>
                  </a:lnTo>
                  <a:lnTo>
                    <a:pt x="32" y="28"/>
                  </a:lnTo>
                  <a:lnTo>
                    <a:pt x="54" y="9"/>
                  </a:lnTo>
                  <a:lnTo>
                    <a:pt x="54" y="15"/>
                  </a:lnTo>
                  <a:lnTo>
                    <a:pt x="58" y="24"/>
                  </a:lnTo>
                  <a:lnTo>
                    <a:pt x="53"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16" name="Freeform 416"/>
            <p:cNvSpPr>
              <a:spLocks/>
            </p:cNvSpPr>
            <p:nvPr/>
          </p:nvSpPr>
          <p:spPr bwMode="auto">
            <a:xfrm>
              <a:off x="3333" y="1641"/>
              <a:ext cx="63" cy="92"/>
            </a:xfrm>
            <a:custGeom>
              <a:avLst/>
              <a:gdLst>
                <a:gd name="T0" fmla="*/ 53 w 60"/>
                <a:gd name="T1" fmla="*/ 0 h 97"/>
                <a:gd name="T2" fmla="*/ 53 w 60"/>
                <a:gd name="T3" fmla="*/ 17 h 97"/>
                <a:gd name="T4" fmla="*/ 60 w 60"/>
                <a:gd name="T5" fmla="*/ 32 h 97"/>
                <a:gd name="T6" fmla="*/ 53 w 60"/>
                <a:gd name="T7" fmla="*/ 49 h 97"/>
                <a:gd name="T8" fmla="*/ 43 w 60"/>
                <a:gd name="T9" fmla="*/ 63 h 97"/>
                <a:gd name="T10" fmla="*/ 24 w 60"/>
                <a:gd name="T11" fmla="*/ 80 h 97"/>
                <a:gd name="T12" fmla="*/ 9 w 60"/>
                <a:gd name="T13" fmla="*/ 97 h 97"/>
                <a:gd name="T14" fmla="*/ 0 w 60"/>
                <a:gd name="T15" fmla="*/ 80 h 97"/>
                <a:gd name="T16" fmla="*/ 6 w 60"/>
                <a:gd name="T17" fmla="*/ 73 h 97"/>
                <a:gd name="T18" fmla="*/ 24 w 60"/>
                <a:gd name="T19" fmla="*/ 54 h 97"/>
                <a:gd name="T20" fmla="*/ 23 w 60"/>
                <a:gd name="T21" fmla="*/ 43 h 97"/>
                <a:gd name="T22" fmla="*/ 32 w 60"/>
                <a:gd name="T23" fmla="*/ 28 h 97"/>
                <a:gd name="T24" fmla="*/ 54 w 60"/>
                <a:gd name="T25" fmla="*/ 9 h 97"/>
                <a:gd name="T26" fmla="*/ 54 w 60"/>
                <a:gd name="T27" fmla="*/ 15 h 97"/>
                <a:gd name="T28" fmla="*/ 58 w 60"/>
                <a:gd name="T29" fmla="*/ 2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97">
                  <a:moveTo>
                    <a:pt x="53" y="0"/>
                  </a:moveTo>
                  <a:lnTo>
                    <a:pt x="53" y="17"/>
                  </a:lnTo>
                  <a:lnTo>
                    <a:pt x="60" y="32"/>
                  </a:lnTo>
                  <a:lnTo>
                    <a:pt x="53" y="49"/>
                  </a:lnTo>
                  <a:lnTo>
                    <a:pt x="43" y="63"/>
                  </a:lnTo>
                  <a:lnTo>
                    <a:pt x="24" y="80"/>
                  </a:lnTo>
                  <a:lnTo>
                    <a:pt x="9" y="97"/>
                  </a:lnTo>
                  <a:lnTo>
                    <a:pt x="0" y="80"/>
                  </a:lnTo>
                  <a:lnTo>
                    <a:pt x="6" y="73"/>
                  </a:lnTo>
                  <a:lnTo>
                    <a:pt x="24" y="54"/>
                  </a:lnTo>
                  <a:lnTo>
                    <a:pt x="23" y="43"/>
                  </a:lnTo>
                  <a:lnTo>
                    <a:pt x="32" y="28"/>
                  </a:lnTo>
                  <a:lnTo>
                    <a:pt x="54" y="9"/>
                  </a:lnTo>
                  <a:lnTo>
                    <a:pt x="54" y="15"/>
                  </a:lnTo>
                  <a:lnTo>
                    <a:pt x="58" y="24"/>
                  </a:lnTo>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17" name="Freeform 417"/>
            <p:cNvSpPr>
              <a:spLocks/>
            </p:cNvSpPr>
            <p:nvPr/>
          </p:nvSpPr>
          <p:spPr bwMode="auto">
            <a:xfrm>
              <a:off x="3263" y="1602"/>
              <a:ext cx="80" cy="72"/>
            </a:xfrm>
            <a:custGeom>
              <a:avLst/>
              <a:gdLst>
                <a:gd name="T0" fmla="*/ 59 w 76"/>
                <a:gd name="T1" fmla="*/ 0 h 78"/>
                <a:gd name="T2" fmla="*/ 50 w 76"/>
                <a:gd name="T3" fmla="*/ 11 h 78"/>
                <a:gd name="T4" fmla="*/ 35 w 76"/>
                <a:gd name="T5" fmla="*/ 9 h 78"/>
                <a:gd name="T6" fmla="*/ 26 w 76"/>
                <a:gd name="T7" fmla="*/ 7 h 78"/>
                <a:gd name="T8" fmla="*/ 30 w 76"/>
                <a:gd name="T9" fmla="*/ 20 h 78"/>
                <a:gd name="T10" fmla="*/ 32 w 76"/>
                <a:gd name="T11" fmla="*/ 30 h 78"/>
                <a:gd name="T12" fmla="*/ 33 w 76"/>
                <a:gd name="T13" fmla="*/ 37 h 78"/>
                <a:gd name="T14" fmla="*/ 28 w 76"/>
                <a:gd name="T15" fmla="*/ 39 h 78"/>
                <a:gd name="T16" fmla="*/ 19 w 76"/>
                <a:gd name="T17" fmla="*/ 35 h 78"/>
                <a:gd name="T18" fmla="*/ 19 w 76"/>
                <a:gd name="T19" fmla="*/ 30 h 78"/>
                <a:gd name="T20" fmla="*/ 11 w 76"/>
                <a:gd name="T21" fmla="*/ 30 h 78"/>
                <a:gd name="T22" fmla="*/ 13 w 76"/>
                <a:gd name="T23" fmla="*/ 39 h 78"/>
                <a:gd name="T24" fmla="*/ 9 w 76"/>
                <a:gd name="T25" fmla="*/ 48 h 78"/>
                <a:gd name="T26" fmla="*/ 0 w 76"/>
                <a:gd name="T27" fmla="*/ 61 h 78"/>
                <a:gd name="T28" fmla="*/ 4 w 76"/>
                <a:gd name="T29" fmla="*/ 72 h 78"/>
                <a:gd name="T30" fmla="*/ 13 w 76"/>
                <a:gd name="T31" fmla="*/ 78 h 78"/>
                <a:gd name="T32" fmla="*/ 22 w 76"/>
                <a:gd name="T33" fmla="*/ 72 h 78"/>
                <a:gd name="T34" fmla="*/ 33 w 76"/>
                <a:gd name="T35" fmla="*/ 65 h 78"/>
                <a:gd name="T36" fmla="*/ 54 w 76"/>
                <a:gd name="T37" fmla="*/ 59 h 78"/>
                <a:gd name="T38" fmla="*/ 63 w 76"/>
                <a:gd name="T39" fmla="*/ 61 h 78"/>
                <a:gd name="T40" fmla="*/ 59 w 76"/>
                <a:gd name="T41" fmla="*/ 48 h 78"/>
                <a:gd name="T42" fmla="*/ 67 w 76"/>
                <a:gd name="T43" fmla="*/ 41 h 78"/>
                <a:gd name="T44" fmla="*/ 76 w 76"/>
                <a:gd name="T45" fmla="*/ 28 h 78"/>
                <a:gd name="T46" fmla="*/ 72 w 76"/>
                <a:gd name="T47" fmla="*/ 20 h 78"/>
                <a:gd name="T48" fmla="*/ 65 w 76"/>
                <a:gd name="T49" fmla="*/ 11 h 78"/>
                <a:gd name="T50" fmla="*/ 59 w 76"/>
                <a:gd name="T5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8">
                  <a:moveTo>
                    <a:pt x="59" y="0"/>
                  </a:moveTo>
                  <a:lnTo>
                    <a:pt x="50" y="11"/>
                  </a:lnTo>
                  <a:lnTo>
                    <a:pt x="35" y="9"/>
                  </a:lnTo>
                  <a:lnTo>
                    <a:pt x="26" y="7"/>
                  </a:lnTo>
                  <a:lnTo>
                    <a:pt x="30" y="20"/>
                  </a:lnTo>
                  <a:lnTo>
                    <a:pt x="32" y="30"/>
                  </a:lnTo>
                  <a:lnTo>
                    <a:pt x="33" y="37"/>
                  </a:lnTo>
                  <a:lnTo>
                    <a:pt x="28" y="39"/>
                  </a:lnTo>
                  <a:lnTo>
                    <a:pt x="19" y="35"/>
                  </a:lnTo>
                  <a:lnTo>
                    <a:pt x="19" y="30"/>
                  </a:lnTo>
                  <a:lnTo>
                    <a:pt x="11" y="30"/>
                  </a:lnTo>
                  <a:lnTo>
                    <a:pt x="13" y="39"/>
                  </a:lnTo>
                  <a:lnTo>
                    <a:pt x="9" y="48"/>
                  </a:lnTo>
                  <a:lnTo>
                    <a:pt x="0" y="61"/>
                  </a:lnTo>
                  <a:lnTo>
                    <a:pt x="4" y="72"/>
                  </a:lnTo>
                  <a:lnTo>
                    <a:pt x="13" y="78"/>
                  </a:lnTo>
                  <a:lnTo>
                    <a:pt x="22" y="72"/>
                  </a:lnTo>
                  <a:lnTo>
                    <a:pt x="33" y="65"/>
                  </a:lnTo>
                  <a:lnTo>
                    <a:pt x="54" y="59"/>
                  </a:lnTo>
                  <a:lnTo>
                    <a:pt x="63" y="61"/>
                  </a:lnTo>
                  <a:lnTo>
                    <a:pt x="59" y="48"/>
                  </a:lnTo>
                  <a:lnTo>
                    <a:pt x="67" y="41"/>
                  </a:lnTo>
                  <a:lnTo>
                    <a:pt x="76" y="28"/>
                  </a:lnTo>
                  <a:lnTo>
                    <a:pt x="72" y="20"/>
                  </a:lnTo>
                  <a:lnTo>
                    <a:pt x="65" y="11"/>
                  </a:lnTo>
                  <a:lnTo>
                    <a:pt x="59"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18" name="Freeform 418"/>
            <p:cNvSpPr>
              <a:spLocks/>
            </p:cNvSpPr>
            <p:nvPr/>
          </p:nvSpPr>
          <p:spPr bwMode="auto">
            <a:xfrm>
              <a:off x="2933" y="1001"/>
              <a:ext cx="533" cy="684"/>
            </a:xfrm>
            <a:custGeom>
              <a:avLst/>
              <a:gdLst>
                <a:gd name="T0" fmla="*/ 300 w 533"/>
                <a:gd name="T1" fmla="*/ 617 h 684"/>
                <a:gd name="T2" fmla="*/ 315 w 533"/>
                <a:gd name="T3" fmla="*/ 586 h 684"/>
                <a:gd name="T4" fmla="*/ 327 w 533"/>
                <a:gd name="T5" fmla="*/ 544 h 684"/>
                <a:gd name="T6" fmla="*/ 354 w 533"/>
                <a:gd name="T7" fmla="*/ 487 h 684"/>
                <a:gd name="T8" fmla="*/ 343 w 533"/>
                <a:gd name="T9" fmla="*/ 453 h 684"/>
                <a:gd name="T10" fmla="*/ 374 w 533"/>
                <a:gd name="T11" fmla="*/ 425 h 684"/>
                <a:gd name="T12" fmla="*/ 351 w 533"/>
                <a:gd name="T13" fmla="*/ 379 h 684"/>
                <a:gd name="T14" fmla="*/ 366 w 533"/>
                <a:gd name="T15" fmla="*/ 310 h 684"/>
                <a:gd name="T16" fmla="*/ 374 w 533"/>
                <a:gd name="T17" fmla="*/ 250 h 684"/>
                <a:gd name="T18" fmla="*/ 424 w 533"/>
                <a:gd name="T19" fmla="*/ 219 h 684"/>
                <a:gd name="T20" fmla="*/ 463 w 533"/>
                <a:gd name="T21" fmla="*/ 214 h 684"/>
                <a:gd name="T22" fmla="*/ 447 w 533"/>
                <a:gd name="T23" fmla="*/ 152 h 684"/>
                <a:gd name="T24" fmla="*/ 467 w 533"/>
                <a:gd name="T25" fmla="*/ 135 h 684"/>
                <a:gd name="T26" fmla="*/ 478 w 533"/>
                <a:gd name="T27" fmla="*/ 58 h 684"/>
                <a:gd name="T28" fmla="*/ 529 w 533"/>
                <a:gd name="T29" fmla="*/ 26 h 684"/>
                <a:gd name="T30" fmla="*/ 453 w 533"/>
                <a:gd name="T31" fmla="*/ 7 h 684"/>
                <a:gd name="T32" fmla="*/ 436 w 533"/>
                <a:gd name="T33" fmla="*/ 46 h 684"/>
                <a:gd name="T34" fmla="*/ 408 w 533"/>
                <a:gd name="T35" fmla="*/ 96 h 684"/>
                <a:gd name="T36" fmla="*/ 406 w 533"/>
                <a:gd name="T37" fmla="*/ 128 h 684"/>
                <a:gd name="T38" fmla="*/ 370 w 533"/>
                <a:gd name="T39" fmla="*/ 138 h 684"/>
                <a:gd name="T40" fmla="*/ 336 w 533"/>
                <a:gd name="T41" fmla="*/ 170 h 684"/>
                <a:gd name="T42" fmla="*/ 300 w 533"/>
                <a:gd name="T43" fmla="*/ 219 h 684"/>
                <a:gd name="T44" fmla="*/ 343 w 533"/>
                <a:gd name="T45" fmla="*/ 201 h 684"/>
                <a:gd name="T46" fmla="*/ 324 w 533"/>
                <a:gd name="T47" fmla="*/ 236 h 684"/>
                <a:gd name="T48" fmla="*/ 281 w 533"/>
                <a:gd name="T49" fmla="*/ 257 h 684"/>
                <a:gd name="T50" fmla="*/ 250 w 533"/>
                <a:gd name="T51" fmla="*/ 250 h 684"/>
                <a:gd name="T52" fmla="*/ 215 w 533"/>
                <a:gd name="T53" fmla="*/ 272 h 684"/>
                <a:gd name="T54" fmla="*/ 197 w 533"/>
                <a:gd name="T55" fmla="*/ 280 h 684"/>
                <a:gd name="T56" fmla="*/ 162 w 533"/>
                <a:gd name="T57" fmla="*/ 285 h 684"/>
                <a:gd name="T58" fmla="*/ 137 w 533"/>
                <a:gd name="T59" fmla="*/ 289 h 684"/>
                <a:gd name="T60" fmla="*/ 122 w 533"/>
                <a:gd name="T61" fmla="*/ 319 h 684"/>
                <a:gd name="T62" fmla="*/ 92 w 533"/>
                <a:gd name="T63" fmla="*/ 327 h 684"/>
                <a:gd name="T64" fmla="*/ 56 w 533"/>
                <a:gd name="T65" fmla="*/ 340 h 684"/>
                <a:gd name="T66" fmla="*/ 39 w 533"/>
                <a:gd name="T67" fmla="*/ 379 h 684"/>
                <a:gd name="T68" fmla="*/ 25 w 533"/>
                <a:gd name="T69" fmla="*/ 462 h 684"/>
                <a:gd name="T70" fmla="*/ 48 w 533"/>
                <a:gd name="T71" fmla="*/ 477 h 684"/>
                <a:gd name="T72" fmla="*/ 43 w 533"/>
                <a:gd name="T73" fmla="*/ 501 h 684"/>
                <a:gd name="T74" fmla="*/ 20 w 533"/>
                <a:gd name="T75" fmla="*/ 526 h 684"/>
                <a:gd name="T76" fmla="*/ 37 w 533"/>
                <a:gd name="T77" fmla="*/ 549 h 684"/>
                <a:gd name="T78" fmla="*/ 33 w 533"/>
                <a:gd name="T79" fmla="*/ 570 h 684"/>
                <a:gd name="T80" fmla="*/ 9 w 533"/>
                <a:gd name="T81" fmla="*/ 579 h 684"/>
                <a:gd name="T82" fmla="*/ 0 w 533"/>
                <a:gd name="T83" fmla="*/ 608 h 684"/>
                <a:gd name="T84" fmla="*/ 41 w 533"/>
                <a:gd name="T85" fmla="*/ 660 h 684"/>
                <a:gd name="T86" fmla="*/ 114 w 533"/>
                <a:gd name="T87" fmla="*/ 684 h 684"/>
                <a:gd name="T88" fmla="*/ 215 w 533"/>
                <a:gd name="T89" fmla="*/ 602 h 684"/>
                <a:gd name="T90" fmla="*/ 244 w 533"/>
                <a:gd name="T91" fmla="*/ 602 h 684"/>
                <a:gd name="T92" fmla="*/ 267 w 533"/>
                <a:gd name="T93" fmla="*/ 549 h 684"/>
                <a:gd name="T94" fmla="*/ 266 w 533"/>
                <a:gd name="T95" fmla="*/ 587 h 684"/>
                <a:gd name="T96" fmla="*/ 286 w 533"/>
                <a:gd name="T97" fmla="*/ 61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3" h="684">
                  <a:moveTo>
                    <a:pt x="285" y="623"/>
                  </a:moveTo>
                  <a:lnTo>
                    <a:pt x="289" y="621"/>
                  </a:lnTo>
                  <a:lnTo>
                    <a:pt x="300" y="617"/>
                  </a:lnTo>
                  <a:lnTo>
                    <a:pt x="308" y="607"/>
                  </a:lnTo>
                  <a:lnTo>
                    <a:pt x="312" y="593"/>
                  </a:lnTo>
                  <a:lnTo>
                    <a:pt x="315" y="586"/>
                  </a:lnTo>
                  <a:lnTo>
                    <a:pt x="312" y="564"/>
                  </a:lnTo>
                  <a:lnTo>
                    <a:pt x="315" y="550"/>
                  </a:lnTo>
                  <a:lnTo>
                    <a:pt x="327" y="544"/>
                  </a:lnTo>
                  <a:lnTo>
                    <a:pt x="354" y="533"/>
                  </a:lnTo>
                  <a:lnTo>
                    <a:pt x="359" y="523"/>
                  </a:lnTo>
                  <a:lnTo>
                    <a:pt x="354" y="487"/>
                  </a:lnTo>
                  <a:lnTo>
                    <a:pt x="351" y="480"/>
                  </a:lnTo>
                  <a:lnTo>
                    <a:pt x="351" y="460"/>
                  </a:lnTo>
                  <a:lnTo>
                    <a:pt x="343" y="453"/>
                  </a:lnTo>
                  <a:lnTo>
                    <a:pt x="347" y="435"/>
                  </a:lnTo>
                  <a:lnTo>
                    <a:pt x="354" y="435"/>
                  </a:lnTo>
                  <a:lnTo>
                    <a:pt x="374" y="425"/>
                  </a:lnTo>
                  <a:lnTo>
                    <a:pt x="359" y="393"/>
                  </a:lnTo>
                  <a:lnTo>
                    <a:pt x="351" y="382"/>
                  </a:lnTo>
                  <a:lnTo>
                    <a:pt x="351" y="379"/>
                  </a:lnTo>
                  <a:lnTo>
                    <a:pt x="351" y="353"/>
                  </a:lnTo>
                  <a:lnTo>
                    <a:pt x="362" y="332"/>
                  </a:lnTo>
                  <a:lnTo>
                    <a:pt x="366" y="310"/>
                  </a:lnTo>
                  <a:lnTo>
                    <a:pt x="370" y="285"/>
                  </a:lnTo>
                  <a:lnTo>
                    <a:pt x="366" y="264"/>
                  </a:lnTo>
                  <a:lnTo>
                    <a:pt x="374" y="250"/>
                  </a:lnTo>
                  <a:lnTo>
                    <a:pt x="378" y="240"/>
                  </a:lnTo>
                  <a:lnTo>
                    <a:pt x="401" y="226"/>
                  </a:lnTo>
                  <a:lnTo>
                    <a:pt x="424" y="219"/>
                  </a:lnTo>
                  <a:lnTo>
                    <a:pt x="444" y="226"/>
                  </a:lnTo>
                  <a:lnTo>
                    <a:pt x="452" y="229"/>
                  </a:lnTo>
                  <a:lnTo>
                    <a:pt x="463" y="214"/>
                  </a:lnTo>
                  <a:lnTo>
                    <a:pt x="463" y="198"/>
                  </a:lnTo>
                  <a:lnTo>
                    <a:pt x="452" y="166"/>
                  </a:lnTo>
                  <a:lnTo>
                    <a:pt x="447" y="152"/>
                  </a:lnTo>
                  <a:lnTo>
                    <a:pt x="452" y="145"/>
                  </a:lnTo>
                  <a:lnTo>
                    <a:pt x="459" y="145"/>
                  </a:lnTo>
                  <a:lnTo>
                    <a:pt x="467" y="135"/>
                  </a:lnTo>
                  <a:lnTo>
                    <a:pt x="472" y="114"/>
                  </a:lnTo>
                  <a:lnTo>
                    <a:pt x="475" y="85"/>
                  </a:lnTo>
                  <a:lnTo>
                    <a:pt x="478" y="58"/>
                  </a:lnTo>
                  <a:lnTo>
                    <a:pt x="490" y="46"/>
                  </a:lnTo>
                  <a:lnTo>
                    <a:pt x="513" y="34"/>
                  </a:lnTo>
                  <a:lnTo>
                    <a:pt x="529" y="26"/>
                  </a:lnTo>
                  <a:lnTo>
                    <a:pt x="533" y="1"/>
                  </a:lnTo>
                  <a:lnTo>
                    <a:pt x="458" y="0"/>
                  </a:lnTo>
                  <a:lnTo>
                    <a:pt x="453" y="7"/>
                  </a:lnTo>
                  <a:lnTo>
                    <a:pt x="431" y="26"/>
                  </a:lnTo>
                  <a:lnTo>
                    <a:pt x="431" y="36"/>
                  </a:lnTo>
                  <a:lnTo>
                    <a:pt x="436" y="46"/>
                  </a:lnTo>
                  <a:lnTo>
                    <a:pt x="420" y="58"/>
                  </a:lnTo>
                  <a:lnTo>
                    <a:pt x="424" y="72"/>
                  </a:lnTo>
                  <a:lnTo>
                    <a:pt x="408" y="96"/>
                  </a:lnTo>
                  <a:lnTo>
                    <a:pt x="397" y="99"/>
                  </a:lnTo>
                  <a:lnTo>
                    <a:pt x="397" y="118"/>
                  </a:lnTo>
                  <a:lnTo>
                    <a:pt x="406" y="128"/>
                  </a:lnTo>
                  <a:lnTo>
                    <a:pt x="393" y="138"/>
                  </a:lnTo>
                  <a:lnTo>
                    <a:pt x="385" y="130"/>
                  </a:lnTo>
                  <a:lnTo>
                    <a:pt x="370" y="138"/>
                  </a:lnTo>
                  <a:lnTo>
                    <a:pt x="374" y="159"/>
                  </a:lnTo>
                  <a:lnTo>
                    <a:pt x="359" y="166"/>
                  </a:lnTo>
                  <a:lnTo>
                    <a:pt x="336" y="170"/>
                  </a:lnTo>
                  <a:lnTo>
                    <a:pt x="320" y="188"/>
                  </a:lnTo>
                  <a:lnTo>
                    <a:pt x="315" y="204"/>
                  </a:lnTo>
                  <a:lnTo>
                    <a:pt x="300" y="219"/>
                  </a:lnTo>
                  <a:lnTo>
                    <a:pt x="300" y="229"/>
                  </a:lnTo>
                  <a:lnTo>
                    <a:pt x="320" y="214"/>
                  </a:lnTo>
                  <a:lnTo>
                    <a:pt x="343" y="201"/>
                  </a:lnTo>
                  <a:lnTo>
                    <a:pt x="351" y="204"/>
                  </a:lnTo>
                  <a:lnTo>
                    <a:pt x="343" y="226"/>
                  </a:lnTo>
                  <a:lnTo>
                    <a:pt x="324" y="236"/>
                  </a:lnTo>
                  <a:lnTo>
                    <a:pt x="304" y="233"/>
                  </a:lnTo>
                  <a:lnTo>
                    <a:pt x="308" y="247"/>
                  </a:lnTo>
                  <a:lnTo>
                    <a:pt x="281" y="257"/>
                  </a:lnTo>
                  <a:lnTo>
                    <a:pt x="277" y="236"/>
                  </a:lnTo>
                  <a:lnTo>
                    <a:pt x="266" y="229"/>
                  </a:lnTo>
                  <a:lnTo>
                    <a:pt x="250" y="250"/>
                  </a:lnTo>
                  <a:lnTo>
                    <a:pt x="233" y="250"/>
                  </a:lnTo>
                  <a:lnTo>
                    <a:pt x="217" y="254"/>
                  </a:lnTo>
                  <a:lnTo>
                    <a:pt x="215" y="272"/>
                  </a:lnTo>
                  <a:lnTo>
                    <a:pt x="206" y="274"/>
                  </a:lnTo>
                  <a:lnTo>
                    <a:pt x="206" y="283"/>
                  </a:lnTo>
                  <a:lnTo>
                    <a:pt x="197" y="280"/>
                  </a:lnTo>
                  <a:lnTo>
                    <a:pt x="183" y="273"/>
                  </a:lnTo>
                  <a:lnTo>
                    <a:pt x="162" y="274"/>
                  </a:lnTo>
                  <a:lnTo>
                    <a:pt x="162" y="285"/>
                  </a:lnTo>
                  <a:lnTo>
                    <a:pt x="164" y="294"/>
                  </a:lnTo>
                  <a:lnTo>
                    <a:pt x="156" y="297"/>
                  </a:lnTo>
                  <a:lnTo>
                    <a:pt x="137" y="289"/>
                  </a:lnTo>
                  <a:lnTo>
                    <a:pt x="120" y="301"/>
                  </a:lnTo>
                  <a:lnTo>
                    <a:pt x="124" y="311"/>
                  </a:lnTo>
                  <a:lnTo>
                    <a:pt x="122" y="319"/>
                  </a:lnTo>
                  <a:lnTo>
                    <a:pt x="104" y="311"/>
                  </a:lnTo>
                  <a:lnTo>
                    <a:pt x="99" y="320"/>
                  </a:lnTo>
                  <a:lnTo>
                    <a:pt x="92" y="327"/>
                  </a:lnTo>
                  <a:lnTo>
                    <a:pt x="70" y="324"/>
                  </a:lnTo>
                  <a:lnTo>
                    <a:pt x="59" y="326"/>
                  </a:lnTo>
                  <a:lnTo>
                    <a:pt x="56" y="340"/>
                  </a:lnTo>
                  <a:lnTo>
                    <a:pt x="48" y="343"/>
                  </a:lnTo>
                  <a:lnTo>
                    <a:pt x="37" y="359"/>
                  </a:lnTo>
                  <a:lnTo>
                    <a:pt x="39" y="379"/>
                  </a:lnTo>
                  <a:lnTo>
                    <a:pt x="35" y="407"/>
                  </a:lnTo>
                  <a:lnTo>
                    <a:pt x="30" y="435"/>
                  </a:lnTo>
                  <a:lnTo>
                    <a:pt x="25" y="462"/>
                  </a:lnTo>
                  <a:lnTo>
                    <a:pt x="21" y="475"/>
                  </a:lnTo>
                  <a:lnTo>
                    <a:pt x="31" y="487"/>
                  </a:lnTo>
                  <a:lnTo>
                    <a:pt x="48" y="477"/>
                  </a:lnTo>
                  <a:lnTo>
                    <a:pt x="60" y="483"/>
                  </a:lnTo>
                  <a:lnTo>
                    <a:pt x="60" y="493"/>
                  </a:lnTo>
                  <a:lnTo>
                    <a:pt x="43" y="501"/>
                  </a:lnTo>
                  <a:lnTo>
                    <a:pt x="41" y="519"/>
                  </a:lnTo>
                  <a:lnTo>
                    <a:pt x="37" y="527"/>
                  </a:lnTo>
                  <a:lnTo>
                    <a:pt x="20" y="526"/>
                  </a:lnTo>
                  <a:lnTo>
                    <a:pt x="14" y="547"/>
                  </a:lnTo>
                  <a:lnTo>
                    <a:pt x="21" y="553"/>
                  </a:lnTo>
                  <a:lnTo>
                    <a:pt x="37" y="549"/>
                  </a:lnTo>
                  <a:lnTo>
                    <a:pt x="45" y="559"/>
                  </a:lnTo>
                  <a:lnTo>
                    <a:pt x="46" y="563"/>
                  </a:lnTo>
                  <a:lnTo>
                    <a:pt x="33" y="570"/>
                  </a:lnTo>
                  <a:lnTo>
                    <a:pt x="35" y="583"/>
                  </a:lnTo>
                  <a:lnTo>
                    <a:pt x="20" y="586"/>
                  </a:lnTo>
                  <a:lnTo>
                    <a:pt x="9" y="579"/>
                  </a:lnTo>
                  <a:lnTo>
                    <a:pt x="12" y="597"/>
                  </a:lnTo>
                  <a:lnTo>
                    <a:pt x="9" y="608"/>
                  </a:lnTo>
                  <a:lnTo>
                    <a:pt x="0" y="608"/>
                  </a:lnTo>
                  <a:lnTo>
                    <a:pt x="23" y="630"/>
                  </a:lnTo>
                  <a:lnTo>
                    <a:pt x="35" y="643"/>
                  </a:lnTo>
                  <a:lnTo>
                    <a:pt x="41" y="660"/>
                  </a:lnTo>
                  <a:lnTo>
                    <a:pt x="64" y="671"/>
                  </a:lnTo>
                  <a:lnTo>
                    <a:pt x="89" y="684"/>
                  </a:lnTo>
                  <a:lnTo>
                    <a:pt x="114" y="684"/>
                  </a:lnTo>
                  <a:lnTo>
                    <a:pt x="148" y="663"/>
                  </a:lnTo>
                  <a:lnTo>
                    <a:pt x="183" y="640"/>
                  </a:lnTo>
                  <a:lnTo>
                    <a:pt x="215" y="602"/>
                  </a:lnTo>
                  <a:lnTo>
                    <a:pt x="220" y="598"/>
                  </a:lnTo>
                  <a:lnTo>
                    <a:pt x="229" y="610"/>
                  </a:lnTo>
                  <a:lnTo>
                    <a:pt x="244" y="602"/>
                  </a:lnTo>
                  <a:lnTo>
                    <a:pt x="250" y="587"/>
                  </a:lnTo>
                  <a:lnTo>
                    <a:pt x="252" y="570"/>
                  </a:lnTo>
                  <a:lnTo>
                    <a:pt x="267" y="549"/>
                  </a:lnTo>
                  <a:lnTo>
                    <a:pt x="261" y="574"/>
                  </a:lnTo>
                  <a:lnTo>
                    <a:pt x="269" y="577"/>
                  </a:lnTo>
                  <a:lnTo>
                    <a:pt x="266" y="587"/>
                  </a:lnTo>
                  <a:lnTo>
                    <a:pt x="269" y="607"/>
                  </a:lnTo>
                  <a:lnTo>
                    <a:pt x="277" y="623"/>
                  </a:lnTo>
                  <a:lnTo>
                    <a:pt x="286" y="617"/>
                  </a:lnTo>
                  <a:lnTo>
                    <a:pt x="285" y="623"/>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19" name="Freeform 419"/>
            <p:cNvSpPr>
              <a:spLocks/>
            </p:cNvSpPr>
            <p:nvPr/>
          </p:nvSpPr>
          <p:spPr bwMode="auto">
            <a:xfrm>
              <a:off x="3141" y="1215"/>
              <a:ext cx="37" cy="19"/>
            </a:xfrm>
            <a:custGeom>
              <a:avLst/>
              <a:gdLst>
                <a:gd name="T0" fmla="*/ 36 w 36"/>
                <a:gd name="T1" fmla="*/ 12 h 21"/>
                <a:gd name="T2" fmla="*/ 9 w 36"/>
                <a:gd name="T3" fmla="*/ 0 h 21"/>
                <a:gd name="T4" fmla="*/ 0 w 36"/>
                <a:gd name="T5" fmla="*/ 9 h 21"/>
                <a:gd name="T6" fmla="*/ 3 w 36"/>
                <a:gd name="T7" fmla="*/ 21 h 21"/>
                <a:gd name="T8" fmla="*/ 36 w 36"/>
                <a:gd name="T9" fmla="*/ 12 h 21"/>
              </a:gdLst>
              <a:ahLst/>
              <a:cxnLst>
                <a:cxn ang="0">
                  <a:pos x="T0" y="T1"/>
                </a:cxn>
                <a:cxn ang="0">
                  <a:pos x="T2" y="T3"/>
                </a:cxn>
                <a:cxn ang="0">
                  <a:pos x="T4" y="T5"/>
                </a:cxn>
                <a:cxn ang="0">
                  <a:pos x="T6" y="T7"/>
                </a:cxn>
                <a:cxn ang="0">
                  <a:pos x="T8" y="T9"/>
                </a:cxn>
              </a:cxnLst>
              <a:rect l="0" t="0" r="r" b="b"/>
              <a:pathLst>
                <a:path w="36" h="21">
                  <a:moveTo>
                    <a:pt x="36" y="12"/>
                  </a:moveTo>
                  <a:lnTo>
                    <a:pt x="9" y="0"/>
                  </a:lnTo>
                  <a:lnTo>
                    <a:pt x="0" y="9"/>
                  </a:lnTo>
                  <a:lnTo>
                    <a:pt x="3" y="21"/>
                  </a:lnTo>
                  <a:lnTo>
                    <a:pt x="36" y="1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0" name="Freeform 420"/>
            <p:cNvSpPr>
              <a:spLocks/>
            </p:cNvSpPr>
            <p:nvPr/>
          </p:nvSpPr>
          <p:spPr bwMode="auto">
            <a:xfrm>
              <a:off x="2974" y="2491"/>
              <a:ext cx="473" cy="195"/>
            </a:xfrm>
            <a:custGeom>
              <a:avLst/>
              <a:gdLst>
                <a:gd name="T0" fmla="*/ 19 w 453"/>
                <a:gd name="T1" fmla="*/ 72 h 206"/>
                <a:gd name="T2" fmla="*/ 36 w 453"/>
                <a:gd name="T3" fmla="*/ 82 h 206"/>
                <a:gd name="T4" fmla="*/ 64 w 453"/>
                <a:gd name="T5" fmla="*/ 80 h 206"/>
                <a:gd name="T6" fmla="*/ 89 w 453"/>
                <a:gd name="T7" fmla="*/ 78 h 206"/>
                <a:gd name="T8" fmla="*/ 119 w 453"/>
                <a:gd name="T9" fmla="*/ 88 h 206"/>
                <a:gd name="T10" fmla="*/ 139 w 453"/>
                <a:gd name="T11" fmla="*/ 85 h 206"/>
                <a:gd name="T12" fmla="*/ 173 w 453"/>
                <a:gd name="T13" fmla="*/ 81 h 206"/>
                <a:gd name="T14" fmla="*/ 210 w 453"/>
                <a:gd name="T15" fmla="*/ 100 h 206"/>
                <a:gd name="T16" fmla="*/ 228 w 453"/>
                <a:gd name="T17" fmla="*/ 81 h 206"/>
                <a:gd name="T18" fmla="*/ 213 w 453"/>
                <a:gd name="T19" fmla="*/ 40 h 206"/>
                <a:gd name="T20" fmla="*/ 275 w 453"/>
                <a:gd name="T21" fmla="*/ 5 h 206"/>
                <a:gd name="T22" fmla="*/ 292 w 453"/>
                <a:gd name="T23" fmla="*/ 20 h 206"/>
                <a:gd name="T24" fmla="*/ 337 w 453"/>
                <a:gd name="T25" fmla="*/ 2 h 206"/>
                <a:gd name="T26" fmla="*/ 386 w 453"/>
                <a:gd name="T27" fmla="*/ 17 h 206"/>
                <a:gd name="T28" fmla="*/ 417 w 453"/>
                <a:gd name="T29" fmla="*/ 8 h 206"/>
                <a:gd name="T30" fmla="*/ 442 w 453"/>
                <a:gd name="T31" fmla="*/ 52 h 206"/>
                <a:gd name="T32" fmla="*/ 450 w 453"/>
                <a:gd name="T33" fmla="*/ 82 h 206"/>
                <a:gd name="T34" fmla="*/ 429 w 453"/>
                <a:gd name="T35" fmla="*/ 100 h 206"/>
                <a:gd name="T36" fmla="*/ 432 w 453"/>
                <a:gd name="T37" fmla="*/ 120 h 206"/>
                <a:gd name="T38" fmla="*/ 424 w 453"/>
                <a:gd name="T39" fmla="*/ 148 h 206"/>
                <a:gd name="T40" fmla="*/ 401 w 453"/>
                <a:gd name="T41" fmla="*/ 172 h 206"/>
                <a:gd name="T42" fmla="*/ 381 w 453"/>
                <a:gd name="T43" fmla="*/ 189 h 206"/>
                <a:gd name="T44" fmla="*/ 331 w 453"/>
                <a:gd name="T45" fmla="*/ 192 h 206"/>
                <a:gd name="T46" fmla="*/ 290 w 453"/>
                <a:gd name="T47" fmla="*/ 206 h 206"/>
                <a:gd name="T48" fmla="*/ 221 w 453"/>
                <a:gd name="T49" fmla="*/ 192 h 206"/>
                <a:gd name="T50" fmla="*/ 155 w 453"/>
                <a:gd name="T51" fmla="*/ 165 h 206"/>
                <a:gd name="T52" fmla="*/ 151 w 453"/>
                <a:gd name="T53" fmla="*/ 141 h 206"/>
                <a:gd name="T54" fmla="*/ 108 w 453"/>
                <a:gd name="T55" fmla="*/ 139 h 206"/>
                <a:gd name="T56" fmla="*/ 53 w 453"/>
                <a:gd name="T57" fmla="*/ 132 h 206"/>
                <a:gd name="T58" fmla="*/ 28 w 453"/>
                <a:gd name="T59" fmla="*/ 123 h 206"/>
                <a:gd name="T60" fmla="*/ 13 w 453"/>
                <a:gd name="T61" fmla="*/ 105 h 206"/>
                <a:gd name="T62" fmla="*/ 0 w 453"/>
                <a:gd name="T63" fmla="*/ 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3" h="206">
                  <a:moveTo>
                    <a:pt x="0" y="74"/>
                  </a:moveTo>
                  <a:lnTo>
                    <a:pt x="19" y="72"/>
                  </a:lnTo>
                  <a:lnTo>
                    <a:pt x="26" y="70"/>
                  </a:lnTo>
                  <a:lnTo>
                    <a:pt x="36" y="82"/>
                  </a:lnTo>
                  <a:lnTo>
                    <a:pt x="49" y="78"/>
                  </a:lnTo>
                  <a:lnTo>
                    <a:pt x="64" y="80"/>
                  </a:lnTo>
                  <a:lnTo>
                    <a:pt x="73" y="87"/>
                  </a:lnTo>
                  <a:lnTo>
                    <a:pt x="89" y="78"/>
                  </a:lnTo>
                  <a:lnTo>
                    <a:pt x="110" y="79"/>
                  </a:lnTo>
                  <a:lnTo>
                    <a:pt x="119" y="88"/>
                  </a:lnTo>
                  <a:lnTo>
                    <a:pt x="132" y="91"/>
                  </a:lnTo>
                  <a:lnTo>
                    <a:pt x="139" y="85"/>
                  </a:lnTo>
                  <a:lnTo>
                    <a:pt x="162" y="81"/>
                  </a:lnTo>
                  <a:lnTo>
                    <a:pt x="173" y="81"/>
                  </a:lnTo>
                  <a:lnTo>
                    <a:pt x="190" y="87"/>
                  </a:lnTo>
                  <a:lnTo>
                    <a:pt x="210" y="100"/>
                  </a:lnTo>
                  <a:lnTo>
                    <a:pt x="225" y="94"/>
                  </a:lnTo>
                  <a:lnTo>
                    <a:pt x="228" y="81"/>
                  </a:lnTo>
                  <a:lnTo>
                    <a:pt x="218" y="64"/>
                  </a:lnTo>
                  <a:lnTo>
                    <a:pt x="213" y="40"/>
                  </a:lnTo>
                  <a:lnTo>
                    <a:pt x="264" y="5"/>
                  </a:lnTo>
                  <a:lnTo>
                    <a:pt x="275" y="5"/>
                  </a:lnTo>
                  <a:lnTo>
                    <a:pt x="277" y="17"/>
                  </a:lnTo>
                  <a:lnTo>
                    <a:pt x="292" y="20"/>
                  </a:lnTo>
                  <a:lnTo>
                    <a:pt x="324" y="16"/>
                  </a:lnTo>
                  <a:lnTo>
                    <a:pt x="337" y="2"/>
                  </a:lnTo>
                  <a:lnTo>
                    <a:pt x="377" y="0"/>
                  </a:lnTo>
                  <a:lnTo>
                    <a:pt x="386" y="17"/>
                  </a:lnTo>
                  <a:lnTo>
                    <a:pt x="402" y="17"/>
                  </a:lnTo>
                  <a:lnTo>
                    <a:pt x="417" y="8"/>
                  </a:lnTo>
                  <a:lnTo>
                    <a:pt x="442" y="24"/>
                  </a:lnTo>
                  <a:lnTo>
                    <a:pt x="442" y="52"/>
                  </a:lnTo>
                  <a:lnTo>
                    <a:pt x="453" y="64"/>
                  </a:lnTo>
                  <a:lnTo>
                    <a:pt x="450" y="82"/>
                  </a:lnTo>
                  <a:lnTo>
                    <a:pt x="442" y="100"/>
                  </a:lnTo>
                  <a:lnTo>
                    <a:pt x="429" y="100"/>
                  </a:lnTo>
                  <a:lnTo>
                    <a:pt x="424" y="105"/>
                  </a:lnTo>
                  <a:lnTo>
                    <a:pt x="432" y="120"/>
                  </a:lnTo>
                  <a:lnTo>
                    <a:pt x="432" y="135"/>
                  </a:lnTo>
                  <a:lnTo>
                    <a:pt x="424" y="148"/>
                  </a:lnTo>
                  <a:lnTo>
                    <a:pt x="402" y="159"/>
                  </a:lnTo>
                  <a:lnTo>
                    <a:pt x="401" y="172"/>
                  </a:lnTo>
                  <a:lnTo>
                    <a:pt x="401" y="185"/>
                  </a:lnTo>
                  <a:lnTo>
                    <a:pt x="381" y="189"/>
                  </a:lnTo>
                  <a:lnTo>
                    <a:pt x="347" y="187"/>
                  </a:lnTo>
                  <a:lnTo>
                    <a:pt x="331" y="192"/>
                  </a:lnTo>
                  <a:lnTo>
                    <a:pt x="302" y="192"/>
                  </a:lnTo>
                  <a:lnTo>
                    <a:pt x="290" y="206"/>
                  </a:lnTo>
                  <a:lnTo>
                    <a:pt x="244" y="191"/>
                  </a:lnTo>
                  <a:lnTo>
                    <a:pt x="221" y="192"/>
                  </a:lnTo>
                  <a:lnTo>
                    <a:pt x="163" y="179"/>
                  </a:lnTo>
                  <a:lnTo>
                    <a:pt x="155" y="165"/>
                  </a:lnTo>
                  <a:lnTo>
                    <a:pt x="155" y="150"/>
                  </a:lnTo>
                  <a:lnTo>
                    <a:pt x="151" y="141"/>
                  </a:lnTo>
                  <a:lnTo>
                    <a:pt x="144" y="137"/>
                  </a:lnTo>
                  <a:lnTo>
                    <a:pt x="108" y="139"/>
                  </a:lnTo>
                  <a:lnTo>
                    <a:pt x="58" y="144"/>
                  </a:lnTo>
                  <a:lnTo>
                    <a:pt x="53" y="132"/>
                  </a:lnTo>
                  <a:lnTo>
                    <a:pt x="43" y="128"/>
                  </a:lnTo>
                  <a:lnTo>
                    <a:pt x="28" y="123"/>
                  </a:lnTo>
                  <a:lnTo>
                    <a:pt x="13" y="119"/>
                  </a:lnTo>
                  <a:lnTo>
                    <a:pt x="13" y="105"/>
                  </a:lnTo>
                  <a:lnTo>
                    <a:pt x="13" y="85"/>
                  </a:lnTo>
                  <a:lnTo>
                    <a:pt x="0" y="74"/>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1" name="Freeform 421"/>
            <p:cNvSpPr>
              <a:spLocks/>
            </p:cNvSpPr>
            <p:nvPr/>
          </p:nvSpPr>
          <p:spPr bwMode="auto">
            <a:xfrm>
              <a:off x="3661" y="3372"/>
              <a:ext cx="27" cy="26"/>
            </a:xfrm>
            <a:custGeom>
              <a:avLst/>
              <a:gdLst>
                <a:gd name="T0" fmla="*/ 18 w 24"/>
                <a:gd name="T1" fmla="*/ 0 h 25"/>
                <a:gd name="T2" fmla="*/ 24 w 24"/>
                <a:gd name="T3" fmla="*/ 7 h 25"/>
                <a:gd name="T4" fmla="*/ 22 w 24"/>
                <a:gd name="T5" fmla="*/ 16 h 25"/>
                <a:gd name="T6" fmla="*/ 24 w 24"/>
                <a:gd name="T7" fmla="*/ 23 h 25"/>
                <a:gd name="T8" fmla="*/ 18 w 24"/>
                <a:gd name="T9" fmla="*/ 25 h 25"/>
                <a:gd name="T10" fmla="*/ 7 w 24"/>
                <a:gd name="T11" fmla="*/ 23 h 25"/>
                <a:gd name="T12" fmla="*/ 0 w 24"/>
                <a:gd name="T13" fmla="*/ 14 h 25"/>
                <a:gd name="T14" fmla="*/ 18 w 2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5">
                  <a:moveTo>
                    <a:pt x="18" y="0"/>
                  </a:moveTo>
                  <a:lnTo>
                    <a:pt x="24" y="7"/>
                  </a:lnTo>
                  <a:lnTo>
                    <a:pt x="22" y="16"/>
                  </a:lnTo>
                  <a:lnTo>
                    <a:pt x="24" y="23"/>
                  </a:lnTo>
                  <a:lnTo>
                    <a:pt x="18" y="25"/>
                  </a:lnTo>
                  <a:lnTo>
                    <a:pt x="7" y="23"/>
                  </a:lnTo>
                  <a:lnTo>
                    <a:pt x="0" y="14"/>
                  </a:lnTo>
                  <a:lnTo>
                    <a:pt x="18" y="0"/>
                  </a:lnTo>
                  <a:close/>
                </a:path>
              </a:pathLst>
            </a:custGeom>
            <a:solidFill>
              <a:schemeClr val="accent4">
                <a:lumMod val="75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2" name="Freeform 422"/>
            <p:cNvSpPr>
              <a:spLocks/>
            </p:cNvSpPr>
            <p:nvPr/>
          </p:nvSpPr>
          <p:spPr bwMode="auto">
            <a:xfrm>
              <a:off x="3712" y="3383"/>
              <a:ext cx="191" cy="155"/>
            </a:xfrm>
            <a:custGeom>
              <a:avLst/>
              <a:gdLst>
                <a:gd name="T0" fmla="*/ 26 w 184"/>
                <a:gd name="T1" fmla="*/ 7 h 163"/>
                <a:gd name="T2" fmla="*/ 17 w 184"/>
                <a:gd name="T3" fmla="*/ 11 h 163"/>
                <a:gd name="T4" fmla="*/ 20 w 184"/>
                <a:gd name="T5" fmla="*/ 20 h 163"/>
                <a:gd name="T6" fmla="*/ 11 w 184"/>
                <a:gd name="T7" fmla="*/ 31 h 163"/>
                <a:gd name="T8" fmla="*/ 4 w 184"/>
                <a:gd name="T9" fmla="*/ 30 h 163"/>
                <a:gd name="T10" fmla="*/ 0 w 184"/>
                <a:gd name="T11" fmla="*/ 35 h 163"/>
                <a:gd name="T12" fmla="*/ 2 w 184"/>
                <a:gd name="T13" fmla="*/ 46 h 163"/>
                <a:gd name="T14" fmla="*/ 32 w 184"/>
                <a:gd name="T15" fmla="*/ 57 h 163"/>
                <a:gd name="T16" fmla="*/ 39 w 184"/>
                <a:gd name="T17" fmla="*/ 82 h 163"/>
                <a:gd name="T18" fmla="*/ 48 w 184"/>
                <a:gd name="T19" fmla="*/ 113 h 163"/>
                <a:gd name="T20" fmla="*/ 59 w 184"/>
                <a:gd name="T21" fmla="*/ 130 h 163"/>
                <a:gd name="T22" fmla="*/ 72 w 184"/>
                <a:gd name="T23" fmla="*/ 119 h 163"/>
                <a:gd name="T24" fmla="*/ 89 w 184"/>
                <a:gd name="T25" fmla="*/ 141 h 163"/>
                <a:gd name="T26" fmla="*/ 106 w 184"/>
                <a:gd name="T27" fmla="*/ 163 h 163"/>
                <a:gd name="T28" fmla="*/ 113 w 184"/>
                <a:gd name="T29" fmla="*/ 146 h 163"/>
                <a:gd name="T30" fmla="*/ 108 w 184"/>
                <a:gd name="T31" fmla="*/ 135 h 163"/>
                <a:gd name="T32" fmla="*/ 115 w 184"/>
                <a:gd name="T33" fmla="*/ 130 h 163"/>
                <a:gd name="T34" fmla="*/ 141 w 184"/>
                <a:gd name="T35" fmla="*/ 150 h 163"/>
                <a:gd name="T36" fmla="*/ 149 w 184"/>
                <a:gd name="T37" fmla="*/ 144 h 163"/>
                <a:gd name="T38" fmla="*/ 151 w 184"/>
                <a:gd name="T39" fmla="*/ 137 h 163"/>
                <a:gd name="T40" fmla="*/ 138 w 184"/>
                <a:gd name="T41" fmla="*/ 111 h 163"/>
                <a:gd name="T42" fmla="*/ 138 w 184"/>
                <a:gd name="T43" fmla="*/ 106 h 163"/>
                <a:gd name="T44" fmla="*/ 126 w 184"/>
                <a:gd name="T45" fmla="*/ 85 h 163"/>
                <a:gd name="T46" fmla="*/ 121 w 184"/>
                <a:gd name="T47" fmla="*/ 70 h 163"/>
                <a:gd name="T48" fmla="*/ 126 w 184"/>
                <a:gd name="T49" fmla="*/ 69 h 163"/>
                <a:gd name="T50" fmla="*/ 141 w 184"/>
                <a:gd name="T51" fmla="*/ 72 h 163"/>
                <a:gd name="T52" fmla="*/ 158 w 184"/>
                <a:gd name="T53" fmla="*/ 87 h 163"/>
                <a:gd name="T54" fmla="*/ 167 w 184"/>
                <a:gd name="T55" fmla="*/ 76 h 163"/>
                <a:gd name="T56" fmla="*/ 182 w 184"/>
                <a:gd name="T57" fmla="*/ 78 h 163"/>
                <a:gd name="T58" fmla="*/ 184 w 184"/>
                <a:gd name="T59" fmla="*/ 74 h 163"/>
                <a:gd name="T60" fmla="*/ 165 w 184"/>
                <a:gd name="T61" fmla="*/ 50 h 163"/>
                <a:gd name="T62" fmla="*/ 151 w 184"/>
                <a:gd name="T63" fmla="*/ 52 h 163"/>
                <a:gd name="T64" fmla="*/ 147 w 184"/>
                <a:gd name="T65" fmla="*/ 44 h 163"/>
                <a:gd name="T66" fmla="*/ 138 w 184"/>
                <a:gd name="T67" fmla="*/ 26 h 163"/>
                <a:gd name="T68" fmla="*/ 130 w 184"/>
                <a:gd name="T69" fmla="*/ 33 h 163"/>
                <a:gd name="T70" fmla="*/ 112 w 184"/>
                <a:gd name="T71" fmla="*/ 26 h 163"/>
                <a:gd name="T72" fmla="*/ 100 w 184"/>
                <a:gd name="T73" fmla="*/ 7 h 163"/>
                <a:gd name="T74" fmla="*/ 78 w 184"/>
                <a:gd name="T75" fmla="*/ 9 h 163"/>
                <a:gd name="T76" fmla="*/ 61 w 184"/>
                <a:gd name="T77" fmla="*/ 11 h 163"/>
                <a:gd name="T78" fmla="*/ 50 w 184"/>
                <a:gd name="T79" fmla="*/ 0 h 163"/>
                <a:gd name="T80" fmla="*/ 41 w 184"/>
                <a:gd name="T81" fmla="*/ 6 h 163"/>
                <a:gd name="T82" fmla="*/ 26 w 184"/>
                <a:gd name="T83" fmla="*/ 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63">
                  <a:moveTo>
                    <a:pt x="26" y="7"/>
                  </a:moveTo>
                  <a:lnTo>
                    <a:pt x="17" y="11"/>
                  </a:lnTo>
                  <a:lnTo>
                    <a:pt x="20" y="20"/>
                  </a:lnTo>
                  <a:lnTo>
                    <a:pt x="11" y="31"/>
                  </a:lnTo>
                  <a:lnTo>
                    <a:pt x="4" y="30"/>
                  </a:lnTo>
                  <a:lnTo>
                    <a:pt x="0" y="35"/>
                  </a:lnTo>
                  <a:lnTo>
                    <a:pt x="2" y="46"/>
                  </a:lnTo>
                  <a:lnTo>
                    <a:pt x="32" y="57"/>
                  </a:lnTo>
                  <a:lnTo>
                    <a:pt x="39" y="82"/>
                  </a:lnTo>
                  <a:lnTo>
                    <a:pt x="48" y="113"/>
                  </a:lnTo>
                  <a:lnTo>
                    <a:pt x="59" y="130"/>
                  </a:lnTo>
                  <a:lnTo>
                    <a:pt x="72" y="119"/>
                  </a:lnTo>
                  <a:lnTo>
                    <a:pt x="89" y="141"/>
                  </a:lnTo>
                  <a:lnTo>
                    <a:pt x="106" y="163"/>
                  </a:lnTo>
                  <a:lnTo>
                    <a:pt x="113" y="146"/>
                  </a:lnTo>
                  <a:lnTo>
                    <a:pt x="108" y="135"/>
                  </a:lnTo>
                  <a:lnTo>
                    <a:pt x="115" y="130"/>
                  </a:lnTo>
                  <a:lnTo>
                    <a:pt x="141" y="150"/>
                  </a:lnTo>
                  <a:lnTo>
                    <a:pt x="149" y="144"/>
                  </a:lnTo>
                  <a:lnTo>
                    <a:pt x="151" y="137"/>
                  </a:lnTo>
                  <a:lnTo>
                    <a:pt x="138" y="111"/>
                  </a:lnTo>
                  <a:lnTo>
                    <a:pt x="138" y="106"/>
                  </a:lnTo>
                  <a:lnTo>
                    <a:pt x="126" y="85"/>
                  </a:lnTo>
                  <a:lnTo>
                    <a:pt x="121" y="70"/>
                  </a:lnTo>
                  <a:lnTo>
                    <a:pt x="126" y="69"/>
                  </a:lnTo>
                  <a:lnTo>
                    <a:pt x="141" y="72"/>
                  </a:lnTo>
                  <a:lnTo>
                    <a:pt x="158" y="87"/>
                  </a:lnTo>
                  <a:lnTo>
                    <a:pt x="167" y="76"/>
                  </a:lnTo>
                  <a:lnTo>
                    <a:pt x="182" y="78"/>
                  </a:lnTo>
                  <a:lnTo>
                    <a:pt x="184" y="74"/>
                  </a:lnTo>
                  <a:lnTo>
                    <a:pt x="165" y="50"/>
                  </a:lnTo>
                  <a:lnTo>
                    <a:pt x="151" y="52"/>
                  </a:lnTo>
                  <a:lnTo>
                    <a:pt x="147" y="44"/>
                  </a:lnTo>
                  <a:lnTo>
                    <a:pt x="138" y="26"/>
                  </a:lnTo>
                  <a:lnTo>
                    <a:pt x="130" y="33"/>
                  </a:lnTo>
                  <a:lnTo>
                    <a:pt x="112" y="26"/>
                  </a:lnTo>
                  <a:lnTo>
                    <a:pt x="100" y="7"/>
                  </a:lnTo>
                  <a:lnTo>
                    <a:pt x="78" y="9"/>
                  </a:lnTo>
                  <a:lnTo>
                    <a:pt x="61" y="11"/>
                  </a:lnTo>
                  <a:lnTo>
                    <a:pt x="50" y="0"/>
                  </a:lnTo>
                  <a:lnTo>
                    <a:pt x="41" y="6"/>
                  </a:lnTo>
                  <a:lnTo>
                    <a:pt x="26" y="7"/>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3" name="Freeform 423"/>
            <p:cNvSpPr>
              <a:spLocks/>
            </p:cNvSpPr>
            <p:nvPr/>
          </p:nvSpPr>
          <p:spPr bwMode="auto">
            <a:xfrm>
              <a:off x="3873" y="3320"/>
              <a:ext cx="107" cy="82"/>
            </a:xfrm>
            <a:custGeom>
              <a:avLst/>
              <a:gdLst>
                <a:gd name="T0" fmla="*/ 9 w 106"/>
                <a:gd name="T1" fmla="*/ 0 h 87"/>
                <a:gd name="T2" fmla="*/ 0 w 106"/>
                <a:gd name="T3" fmla="*/ 7 h 87"/>
                <a:gd name="T4" fmla="*/ 11 w 106"/>
                <a:gd name="T5" fmla="*/ 26 h 87"/>
                <a:gd name="T6" fmla="*/ 24 w 106"/>
                <a:gd name="T7" fmla="*/ 30 h 87"/>
                <a:gd name="T8" fmla="*/ 39 w 106"/>
                <a:gd name="T9" fmla="*/ 46 h 87"/>
                <a:gd name="T10" fmla="*/ 52 w 106"/>
                <a:gd name="T11" fmla="*/ 54 h 87"/>
                <a:gd name="T12" fmla="*/ 73 w 106"/>
                <a:gd name="T13" fmla="*/ 70 h 87"/>
                <a:gd name="T14" fmla="*/ 86 w 106"/>
                <a:gd name="T15" fmla="*/ 76 h 87"/>
                <a:gd name="T16" fmla="*/ 102 w 106"/>
                <a:gd name="T17" fmla="*/ 87 h 87"/>
                <a:gd name="T18" fmla="*/ 106 w 106"/>
                <a:gd name="T19" fmla="*/ 81 h 87"/>
                <a:gd name="T20" fmla="*/ 73 w 106"/>
                <a:gd name="T21" fmla="*/ 56 h 87"/>
                <a:gd name="T22" fmla="*/ 71 w 106"/>
                <a:gd name="T23" fmla="*/ 44 h 87"/>
                <a:gd name="T24" fmla="*/ 67 w 106"/>
                <a:gd name="T25" fmla="*/ 33 h 87"/>
                <a:gd name="T26" fmla="*/ 54 w 106"/>
                <a:gd name="T27" fmla="*/ 20 h 87"/>
                <a:gd name="T28" fmla="*/ 50 w 106"/>
                <a:gd name="T29" fmla="*/ 22 h 87"/>
                <a:gd name="T30" fmla="*/ 32 w 106"/>
                <a:gd name="T31" fmla="*/ 9 h 87"/>
                <a:gd name="T32" fmla="*/ 22 w 106"/>
                <a:gd name="T33" fmla="*/ 4 h 87"/>
                <a:gd name="T34" fmla="*/ 9 w 106"/>
                <a:gd name="T3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87">
                  <a:moveTo>
                    <a:pt x="9" y="0"/>
                  </a:moveTo>
                  <a:lnTo>
                    <a:pt x="0" y="7"/>
                  </a:lnTo>
                  <a:lnTo>
                    <a:pt x="11" y="26"/>
                  </a:lnTo>
                  <a:lnTo>
                    <a:pt x="24" y="30"/>
                  </a:lnTo>
                  <a:lnTo>
                    <a:pt x="39" y="46"/>
                  </a:lnTo>
                  <a:lnTo>
                    <a:pt x="52" y="54"/>
                  </a:lnTo>
                  <a:lnTo>
                    <a:pt x="73" y="70"/>
                  </a:lnTo>
                  <a:lnTo>
                    <a:pt x="86" y="76"/>
                  </a:lnTo>
                  <a:lnTo>
                    <a:pt x="102" y="87"/>
                  </a:lnTo>
                  <a:lnTo>
                    <a:pt x="106" y="81"/>
                  </a:lnTo>
                  <a:lnTo>
                    <a:pt x="73" y="56"/>
                  </a:lnTo>
                  <a:lnTo>
                    <a:pt x="71" y="44"/>
                  </a:lnTo>
                  <a:lnTo>
                    <a:pt x="67" y="33"/>
                  </a:lnTo>
                  <a:lnTo>
                    <a:pt x="54" y="20"/>
                  </a:lnTo>
                  <a:lnTo>
                    <a:pt x="50" y="22"/>
                  </a:lnTo>
                  <a:lnTo>
                    <a:pt x="32" y="9"/>
                  </a:lnTo>
                  <a:lnTo>
                    <a:pt x="22" y="4"/>
                  </a:lnTo>
                  <a:lnTo>
                    <a:pt x="9" y="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4" name="Freeform 425"/>
            <p:cNvSpPr>
              <a:spLocks/>
            </p:cNvSpPr>
            <p:nvPr/>
          </p:nvSpPr>
          <p:spPr bwMode="auto">
            <a:xfrm>
              <a:off x="3997" y="3224"/>
              <a:ext cx="31" cy="26"/>
            </a:xfrm>
            <a:custGeom>
              <a:avLst/>
              <a:gdLst>
                <a:gd name="T0" fmla="*/ 30 w 30"/>
                <a:gd name="T1" fmla="*/ 0 h 28"/>
                <a:gd name="T2" fmla="*/ 11 w 30"/>
                <a:gd name="T3" fmla="*/ 0 h 28"/>
                <a:gd name="T4" fmla="*/ 2 w 30"/>
                <a:gd name="T5" fmla="*/ 6 h 28"/>
                <a:gd name="T6" fmla="*/ 0 w 30"/>
                <a:gd name="T7" fmla="*/ 15 h 28"/>
                <a:gd name="T8" fmla="*/ 0 w 30"/>
                <a:gd name="T9" fmla="*/ 26 h 28"/>
                <a:gd name="T10" fmla="*/ 9 w 30"/>
                <a:gd name="T11" fmla="*/ 28 h 28"/>
                <a:gd name="T12" fmla="*/ 26 w 30"/>
                <a:gd name="T13" fmla="*/ 17 h 28"/>
                <a:gd name="T14" fmla="*/ 30 w 3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8">
                  <a:moveTo>
                    <a:pt x="30" y="0"/>
                  </a:moveTo>
                  <a:lnTo>
                    <a:pt x="11" y="0"/>
                  </a:lnTo>
                  <a:lnTo>
                    <a:pt x="2" y="6"/>
                  </a:lnTo>
                  <a:lnTo>
                    <a:pt x="0" y="15"/>
                  </a:lnTo>
                  <a:lnTo>
                    <a:pt x="0" y="26"/>
                  </a:lnTo>
                  <a:lnTo>
                    <a:pt x="9" y="28"/>
                  </a:lnTo>
                  <a:lnTo>
                    <a:pt x="26" y="17"/>
                  </a:lnTo>
                  <a:lnTo>
                    <a:pt x="30"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5" name="Freeform 426"/>
            <p:cNvSpPr>
              <a:spLocks/>
            </p:cNvSpPr>
            <p:nvPr/>
          </p:nvSpPr>
          <p:spPr bwMode="auto">
            <a:xfrm>
              <a:off x="4210" y="3471"/>
              <a:ext cx="42" cy="23"/>
            </a:xfrm>
            <a:custGeom>
              <a:avLst/>
              <a:gdLst>
                <a:gd name="T0" fmla="*/ 42 w 42"/>
                <a:gd name="T1" fmla="*/ 6 h 22"/>
                <a:gd name="T2" fmla="*/ 23 w 42"/>
                <a:gd name="T3" fmla="*/ 22 h 22"/>
                <a:gd name="T4" fmla="*/ 9 w 42"/>
                <a:gd name="T5" fmla="*/ 22 h 22"/>
                <a:gd name="T6" fmla="*/ 0 w 42"/>
                <a:gd name="T7" fmla="*/ 15 h 22"/>
                <a:gd name="T8" fmla="*/ 6 w 42"/>
                <a:gd name="T9" fmla="*/ 2 h 22"/>
                <a:gd name="T10" fmla="*/ 27 w 42"/>
                <a:gd name="T11" fmla="*/ 0 h 22"/>
                <a:gd name="T12" fmla="*/ 42 w 42"/>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2" y="6"/>
                  </a:moveTo>
                  <a:lnTo>
                    <a:pt x="23" y="22"/>
                  </a:lnTo>
                  <a:lnTo>
                    <a:pt x="9" y="22"/>
                  </a:lnTo>
                  <a:lnTo>
                    <a:pt x="0" y="15"/>
                  </a:lnTo>
                  <a:lnTo>
                    <a:pt x="6" y="2"/>
                  </a:lnTo>
                  <a:lnTo>
                    <a:pt x="27" y="0"/>
                  </a:lnTo>
                  <a:lnTo>
                    <a:pt x="42" y="6"/>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6" name="Freeform 427"/>
            <p:cNvSpPr>
              <a:spLocks/>
            </p:cNvSpPr>
            <p:nvPr/>
          </p:nvSpPr>
          <p:spPr bwMode="auto">
            <a:xfrm>
              <a:off x="4214" y="3520"/>
              <a:ext cx="47" cy="31"/>
            </a:xfrm>
            <a:custGeom>
              <a:avLst/>
              <a:gdLst>
                <a:gd name="T0" fmla="*/ 43 w 43"/>
                <a:gd name="T1" fmla="*/ 0 h 34"/>
                <a:gd name="T2" fmla="*/ 43 w 43"/>
                <a:gd name="T3" fmla="*/ 11 h 34"/>
                <a:gd name="T4" fmla="*/ 17 w 43"/>
                <a:gd name="T5" fmla="*/ 29 h 34"/>
                <a:gd name="T6" fmla="*/ 5 w 43"/>
                <a:gd name="T7" fmla="*/ 34 h 34"/>
                <a:gd name="T8" fmla="*/ 0 w 43"/>
                <a:gd name="T9" fmla="*/ 32 h 34"/>
                <a:gd name="T10" fmla="*/ 4 w 43"/>
                <a:gd name="T11" fmla="*/ 20 h 34"/>
                <a:gd name="T12" fmla="*/ 23 w 43"/>
                <a:gd name="T13" fmla="*/ 6 h 34"/>
                <a:gd name="T14" fmla="*/ 43 w 43"/>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34">
                  <a:moveTo>
                    <a:pt x="43" y="0"/>
                  </a:moveTo>
                  <a:lnTo>
                    <a:pt x="43" y="11"/>
                  </a:lnTo>
                  <a:lnTo>
                    <a:pt x="17" y="29"/>
                  </a:lnTo>
                  <a:lnTo>
                    <a:pt x="5" y="34"/>
                  </a:lnTo>
                  <a:lnTo>
                    <a:pt x="0" y="32"/>
                  </a:lnTo>
                  <a:lnTo>
                    <a:pt x="4" y="20"/>
                  </a:lnTo>
                  <a:lnTo>
                    <a:pt x="23" y="6"/>
                  </a:lnTo>
                  <a:lnTo>
                    <a:pt x="43"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7" name="Freeform 428"/>
            <p:cNvSpPr>
              <a:spLocks/>
            </p:cNvSpPr>
            <p:nvPr/>
          </p:nvSpPr>
          <p:spPr bwMode="auto">
            <a:xfrm>
              <a:off x="4055" y="3269"/>
              <a:ext cx="55" cy="35"/>
            </a:xfrm>
            <a:custGeom>
              <a:avLst/>
              <a:gdLst>
                <a:gd name="T0" fmla="*/ 28 w 52"/>
                <a:gd name="T1" fmla="*/ 0 h 37"/>
                <a:gd name="T2" fmla="*/ 52 w 52"/>
                <a:gd name="T3" fmla="*/ 26 h 37"/>
                <a:gd name="T4" fmla="*/ 48 w 52"/>
                <a:gd name="T5" fmla="*/ 33 h 37"/>
                <a:gd name="T6" fmla="*/ 35 w 52"/>
                <a:gd name="T7" fmla="*/ 37 h 37"/>
                <a:gd name="T8" fmla="*/ 33 w 52"/>
                <a:gd name="T9" fmla="*/ 28 h 37"/>
                <a:gd name="T10" fmla="*/ 28 w 52"/>
                <a:gd name="T11" fmla="*/ 24 h 37"/>
                <a:gd name="T12" fmla="*/ 20 w 52"/>
                <a:gd name="T13" fmla="*/ 28 h 37"/>
                <a:gd name="T14" fmla="*/ 11 w 52"/>
                <a:gd name="T15" fmla="*/ 22 h 37"/>
                <a:gd name="T16" fmla="*/ 7 w 52"/>
                <a:gd name="T17" fmla="*/ 17 h 37"/>
                <a:gd name="T18" fmla="*/ 13 w 52"/>
                <a:gd name="T19" fmla="*/ 13 h 37"/>
                <a:gd name="T20" fmla="*/ 2 w 52"/>
                <a:gd name="T21" fmla="*/ 19 h 37"/>
                <a:gd name="T22" fmla="*/ 0 w 52"/>
                <a:gd name="T23" fmla="*/ 13 h 37"/>
                <a:gd name="T24" fmla="*/ 15 w 52"/>
                <a:gd name="T25" fmla="*/ 7 h 37"/>
                <a:gd name="T26" fmla="*/ 28 w 52"/>
                <a:gd name="T2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37">
                  <a:moveTo>
                    <a:pt x="28" y="0"/>
                  </a:moveTo>
                  <a:lnTo>
                    <a:pt x="52" y="26"/>
                  </a:lnTo>
                  <a:lnTo>
                    <a:pt x="48" y="33"/>
                  </a:lnTo>
                  <a:lnTo>
                    <a:pt x="35" y="37"/>
                  </a:lnTo>
                  <a:lnTo>
                    <a:pt x="33" y="28"/>
                  </a:lnTo>
                  <a:lnTo>
                    <a:pt x="28" y="24"/>
                  </a:lnTo>
                  <a:lnTo>
                    <a:pt x="20" y="28"/>
                  </a:lnTo>
                  <a:lnTo>
                    <a:pt x="11" y="22"/>
                  </a:lnTo>
                  <a:lnTo>
                    <a:pt x="7" y="17"/>
                  </a:lnTo>
                  <a:lnTo>
                    <a:pt x="13" y="13"/>
                  </a:lnTo>
                  <a:lnTo>
                    <a:pt x="2" y="19"/>
                  </a:lnTo>
                  <a:lnTo>
                    <a:pt x="0" y="13"/>
                  </a:lnTo>
                  <a:lnTo>
                    <a:pt x="15" y="7"/>
                  </a:lnTo>
                  <a:lnTo>
                    <a:pt x="28"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8" name="Freeform 429"/>
            <p:cNvSpPr>
              <a:spLocks/>
            </p:cNvSpPr>
            <p:nvPr/>
          </p:nvSpPr>
          <p:spPr bwMode="auto">
            <a:xfrm>
              <a:off x="4060" y="3048"/>
              <a:ext cx="210" cy="164"/>
            </a:xfrm>
            <a:custGeom>
              <a:avLst/>
              <a:gdLst>
                <a:gd name="T0" fmla="*/ 35 w 200"/>
                <a:gd name="T1" fmla="*/ 28 h 171"/>
                <a:gd name="T2" fmla="*/ 32 w 200"/>
                <a:gd name="T3" fmla="*/ 71 h 171"/>
                <a:gd name="T4" fmla="*/ 0 w 200"/>
                <a:gd name="T5" fmla="*/ 117 h 171"/>
                <a:gd name="T6" fmla="*/ 7 w 200"/>
                <a:gd name="T7" fmla="*/ 126 h 171"/>
                <a:gd name="T8" fmla="*/ 43 w 200"/>
                <a:gd name="T9" fmla="*/ 123 h 171"/>
                <a:gd name="T10" fmla="*/ 26 w 200"/>
                <a:gd name="T11" fmla="*/ 143 h 171"/>
                <a:gd name="T12" fmla="*/ 19 w 200"/>
                <a:gd name="T13" fmla="*/ 151 h 171"/>
                <a:gd name="T14" fmla="*/ 22 w 200"/>
                <a:gd name="T15" fmla="*/ 171 h 171"/>
                <a:gd name="T16" fmla="*/ 50 w 200"/>
                <a:gd name="T17" fmla="*/ 139 h 171"/>
                <a:gd name="T18" fmla="*/ 67 w 200"/>
                <a:gd name="T19" fmla="*/ 130 h 171"/>
                <a:gd name="T20" fmla="*/ 97 w 200"/>
                <a:gd name="T21" fmla="*/ 91 h 171"/>
                <a:gd name="T22" fmla="*/ 132 w 200"/>
                <a:gd name="T23" fmla="*/ 71 h 171"/>
                <a:gd name="T24" fmla="*/ 187 w 200"/>
                <a:gd name="T25" fmla="*/ 69 h 171"/>
                <a:gd name="T26" fmla="*/ 200 w 200"/>
                <a:gd name="T27" fmla="*/ 63 h 171"/>
                <a:gd name="T28" fmla="*/ 198 w 200"/>
                <a:gd name="T29" fmla="*/ 52 h 171"/>
                <a:gd name="T30" fmla="*/ 172 w 200"/>
                <a:gd name="T31" fmla="*/ 30 h 171"/>
                <a:gd name="T32" fmla="*/ 158 w 200"/>
                <a:gd name="T33" fmla="*/ 32 h 171"/>
                <a:gd name="T34" fmla="*/ 154 w 200"/>
                <a:gd name="T35" fmla="*/ 26 h 171"/>
                <a:gd name="T36" fmla="*/ 139 w 200"/>
                <a:gd name="T37" fmla="*/ 26 h 171"/>
                <a:gd name="T38" fmla="*/ 117 w 200"/>
                <a:gd name="T39" fmla="*/ 2 h 171"/>
                <a:gd name="T40" fmla="*/ 93 w 200"/>
                <a:gd name="T41" fmla="*/ 0 h 171"/>
                <a:gd name="T42" fmla="*/ 71 w 200"/>
                <a:gd name="T43" fmla="*/ 6 h 171"/>
                <a:gd name="T44" fmla="*/ 52 w 200"/>
                <a:gd name="T45" fmla="*/ 15 h 171"/>
                <a:gd name="T46" fmla="*/ 35 w 200"/>
                <a:gd name="T47" fmla="*/ 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171">
                  <a:moveTo>
                    <a:pt x="35" y="28"/>
                  </a:moveTo>
                  <a:lnTo>
                    <a:pt x="32" y="71"/>
                  </a:lnTo>
                  <a:lnTo>
                    <a:pt x="0" y="117"/>
                  </a:lnTo>
                  <a:lnTo>
                    <a:pt x="7" y="126"/>
                  </a:lnTo>
                  <a:lnTo>
                    <a:pt x="43" y="123"/>
                  </a:lnTo>
                  <a:lnTo>
                    <a:pt x="26" y="143"/>
                  </a:lnTo>
                  <a:lnTo>
                    <a:pt x="19" y="151"/>
                  </a:lnTo>
                  <a:lnTo>
                    <a:pt x="22" y="171"/>
                  </a:lnTo>
                  <a:lnTo>
                    <a:pt x="50" y="139"/>
                  </a:lnTo>
                  <a:lnTo>
                    <a:pt x="67" y="130"/>
                  </a:lnTo>
                  <a:lnTo>
                    <a:pt x="97" y="91"/>
                  </a:lnTo>
                  <a:lnTo>
                    <a:pt x="132" y="71"/>
                  </a:lnTo>
                  <a:lnTo>
                    <a:pt x="187" y="69"/>
                  </a:lnTo>
                  <a:lnTo>
                    <a:pt x="200" y="63"/>
                  </a:lnTo>
                  <a:lnTo>
                    <a:pt x="198" y="52"/>
                  </a:lnTo>
                  <a:lnTo>
                    <a:pt x="172" y="30"/>
                  </a:lnTo>
                  <a:lnTo>
                    <a:pt x="158" y="32"/>
                  </a:lnTo>
                  <a:lnTo>
                    <a:pt x="154" y="26"/>
                  </a:lnTo>
                  <a:lnTo>
                    <a:pt x="139" y="26"/>
                  </a:lnTo>
                  <a:lnTo>
                    <a:pt x="117" y="2"/>
                  </a:lnTo>
                  <a:lnTo>
                    <a:pt x="93" y="0"/>
                  </a:lnTo>
                  <a:lnTo>
                    <a:pt x="71" y="6"/>
                  </a:lnTo>
                  <a:lnTo>
                    <a:pt x="52" y="15"/>
                  </a:lnTo>
                  <a:lnTo>
                    <a:pt x="35" y="28"/>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29" name="Freeform 430"/>
            <p:cNvSpPr>
              <a:spLocks/>
            </p:cNvSpPr>
            <p:nvPr/>
          </p:nvSpPr>
          <p:spPr bwMode="auto">
            <a:xfrm>
              <a:off x="3345" y="2787"/>
              <a:ext cx="247" cy="215"/>
            </a:xfrm>
            <a:custGeom>
              <a:avLst/>
              <a:gdLst>
                <a:gd name="T0" fmla="*/ 228 w 247"/>
                <a:gd name="T1" fmla="*/ 30 h 215"/>
                <a:gd name="T2" fmla="*/ 216 w 247"/>
                <a:gd name="T3" fmla="*/ 30 h 215"/>
                <a:gd name="T4" fmla="*/ 202 w 247"/>
                <a:gd name="T5" fmla="*/ 21 h 215"/>
                <a:gd name="T6" fmla="*/ 184 w 247"/>
                <a:gd name="T7" fmla="*/ 13 h 215"/>
                <a:gd name="T8" fmla="*/ 163 w 247"/>
                <a:gd name="T9" fmla="*/ 23 h 215"/>
                <a:gd name="T10" fmla="*/ 143 w 247"/>
                <a:gd name="T11" fmla="*/ 18 h 215"/>
                <a:gd name="T12" fmla="*/ 125 w 247"/>
                <a:gd name="T13" fmla="*/ 26 h 215"/>
                <a:gd name="T14" fmla="*/ 124 w 247"/>
                <a:gd name="T15" fmla="*/ 18 h 215"/>
                <a:gd name="T16" fmla="*/ 108 w 247"/>
                <a:gd name="T17" fmla="*/ 18 h 215"/>
                <a:gd name="T18" fmla="*/ 90 w 247"/>
                <a:gd name="T19" fmla="*/ 0 h 215"/>
                <a:gd name="T20" fmla="*/ 61 w 247"/>
                <a:gd name="T21" fmla="*/ 29 h 215"/>
                <a:gd name="T22" fmla="*/ 18 w 247"/>
                <a:gd name="T23" fmla="*/ 16 h 215"/>
                <a:gd name="T24" fmla="*/ 0 w 247"/>
                <a:gd name="T25" fmla="*/ 20 h 215"/>
                <a:gd name="T26" fmla="*/ 0 w 247"/>
                <a:gd name="T27" fmla="*/ 30 h 215"/>
                <a:gd name="T28" fmla="*/ 47 w 247"/>
                <a:gd name="T29" fmla="*/ 76 h 215"/>
                <a:gd name="T30" fmla="*/ 58 w 247"/>
                <a:gd name="T31" fmla="*/ 106 h 215"/>
                <a:gd name="T32" fmla="*/ 83 w 247"/>
                <a:gd name="T33" fmla="*/ 124 h 215"/>
                <a:gd name="T34" fmla="*/ 94 w 247"/>
                <a:gd name="T35" fmla="*/ 121 h 215"/>
                <a:gd name="T36" fmla="*/ 155 w 247"/>
                <a:gd name="T37" fmla="*/ 182 h 215"/>
                <a:gd name="T38" fmla="*/ 159 w 247"/>
                <a:gd name="T39" fmla="*/ 196 h 215"/>
                <a:gd name="T40" fmla="*/ 155 w 247"/>
                <a:gd name="T41" fmla="*/ 205 h 215"/>
                <a:gd name="T42" fmla="*/ 159 w 247"/>
                <a:gd name="T43" fmla="*/ 215 h 215"/>
                <a:gd name="T44" fmla="*/ 177 w 247"/>
                <a:gd name="T45" fmla="*/ 206 h 215"/>
                <a:gd name="T46" fmla="*/ 191 w 247"/>
                <a:gd name="T47" fmla="*/ 201 h 215"/>
                <a:gd name="T48" fmla="*/ 191 w 247"/>
                <a:gd name="T49" fmla="*/ 181 h 215"/>
                <a:gd name="T50" fmla="*/ 208 w 247"/>
                <a:gd name="T51" fmla="*/ 167 h 215"/>
                <a:gd name="T52" fmla="*/ 216 w 247"/>
                <a:gd name="T53" fmla="*/ 153 h 215"/>
                <a:gd name="T54" fmla="*/ 234 w 247"/>
                <a:gd name="T55" fmla="*/ 146 h 215"/>
                <a:gd name="T56" fmla="*/ 238 w 247"/>
                <a:gd name="T57" fmla="*/ 128 h 215"/>
                <a:gd name="T58" fmla="*/ 234 w 247"/>
                <a:gd name="T59" fmla="*/ 112 h 215"/>
                <a:gd name="T60" fmla="*/ 244 w 247"/>
                <a:gd name="T61" fmla="*/ 105 h 215"/>
                <a:gd name="T62" fmla="*/ 233 w 247"/>
                <a:gd name="T63" fmla="*/ 85 h 215"/>
                <a:gd name="T64" fmla="*/ 247 w 247"/>
                <a:gd name="T65" fmla="*/ 51 h 215"/>
                <a:gd name="T66" fmla="*/ 228 w 247"/>
                <a:gd name="T67" fmla="*/ 3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 h="215">
                  <a:moveTo>
                    <a:pt x="228" y="30"/>
                  </a:moveTo>
                  <a:lnTo>
                    <a:pt x="216" y="30"/>
                  </a:lnTo>
                  <a:lnTo>
                    <a:pt x="202" y="21"/>
                  </a:lnTo>
                  <a:lnTo>
                    <a:pt x="184" y="13"/>
                  </a:lnTo>
                  <a:lnTo>
                    <a:pt x="163" y="23"/>
                  </a:lnTo>
                  <a:lnTo>
                    <a:pt x="143" y="18"/>
                  </a:lnTo>
                  <a:lnTo>
                    <a:pt x="125" y="26"/>
                  </a:lnTo>
                  <a:lnTo>
                    <a:pt x="124" y="18"/>
                  </a:lnTo>
                  <a:lnTo>
                    <a:pt x="108" y="18"/>
                  </a:lnTo>
                  <a:lnTo>
                    <a:pt x="90" y="0"/>
                  </a:lnTo>
                  <a:lnTo>
                    <a:pt x="61" y="29"/>
                  </a:lnTo>
                  <a:lnTo>
                    <a:pt x="18" y="16"/>
                  </a:lnTo>
                  <a:lnTo>
                    <a:pt x="0" y="20"/>
                  </a:lnTo>
                  <a:lnTo>
                    <a:pt x="0" y="30"/>
                  </a:lnTo>
                  <a:lnTo>
                    <a:pt x="47" y="76"/>
                  </a:lnTo>
                  <a:lnTo>
                    <a:pt x="58" y="106"/>
                  </a:lnTo>
                  <a:lnTo>
                    <a:pt x="83" y="124"/>
                  </a:lnTo>
                  <a:lnTo>
                    <a:pt x="94" y="121"/>
                  </a:lnTo>
                  <a:lnTo>
                    <a:pt x="155" y="182"/>
                  </a:lnTo>
                  <a:lnTo>
                    <a:pt x="159" y="196"/>
                  </a:lnTo>
                  <a:lnTo>
                    <a:pt x="155" y="205"/>
                  </a:lnTo>
                  <a:lnTo>
                    <a:pt x="159" y="215"/>
                  </a:lnTo>
                  <a:lnTo>
                    <a:pt x="177" y="206"/>
                  </a:lnTo>
                  <a:lnTo>
                    <a:pt x="191" y="201"/>
                  </a:lnTo>
                  <a:lnTo>
                    <a:pt x="191" y="181"/>
                  </a:lnTo>
                  <a:lnTo>
                    <a:pt x="208" y="167"/>
                  </a:lnTo>
                  <a:lnTo>
                    <a:pt x="216" y="153"/>
                  </a:lnTo>
                  <a:lnTo>
                    <a:pt x="234" y="146"/>
                  </a:lnTo>
                  <a:lnTo>
                    <a:pt x="238" y="128"/>
                  </a:lnTo>
                  <a:lnTo>
                    <a:pt x="234" y="112"/>
                  </a:lnTo>
                  <a:lnTo>
                    <a:pt x="244" y="105"/>
                  </a:lnTo>
                  <a:lnTo>
                    <a:pt x="233" y="85"/>
                  </a:lnTo>
                  <a:lnTo>
                    <a:pt x="247" y="51"/>
                  </a:lnTo>
                  <a:lnTo>
                    <a:pt x="228" y="3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0" name="Freeform 431"/>
            <p:cNvSpPr>
              <a:spLocks/>
            </p:cNvSpPr>
            <p:nvPr/>
          </p:nvSpPr>
          <p:spPr bwMode="auto">
            <a:xfrm>
              <a:off x="3576" y="3031"/>
              <a:ext cx="161" cy="234"/>
            </a:xfrm>
            <a:custGeom>
              <a:avLst/>
              <a:gdLst>
                <a:gd name="T0" fmla="*/ 11 w 149"/>
                <a:gd name="T1" fmla="*/ 56 h 248"/>
                <a:gd name="T2" fmla="*/ 20 w 149"/>
                <a:gd name="T3" fmla="*/ 63 h 248"/>
                <a:gd name="T4" fmla="*/ 20 w 149"/>
                <a:gd name="T5" fmla="*/ 74 h 248"/>
                <a:gd name="T6" fmla="*/ 19 w 149"/>
                <a:gd name="T7" fmla="*/ 81 h 248"/>
                <a:gd name="T8" fmla="*/ 13 w 149"/>
                <a:gd name="T9" fmla="*/ 91 h 248"/>
                <a:gd name="T10" fmla="*/ 13 w 149"/>
                <a:gd name="T11" fmla="*/ 115 h 248"/>
                <a:gd name="T12" fmla="*/ 17 w 149"/>
                <a:gd name="T13" fmla="*/ 124 h 248"/>
                <a:gd name="T14" fmla="*/ 4 w 149"/>
                <a:gd name="T15" fmla="*/ 144 h 248"/>
                <a:gd name="T16" fmla="*/ 7 w 149"/>
                <a:gd name="T17" fmla="*/ 148 h 248"/>
                <a:gd name="T18" fmla="*/ 0 w 149"/>
                <a:gd name="T19" fmla="*/ 159 h 248"/>
                <a:gd name="T20" fmla="*/ 6 w 149"/>
                <a:gd name="T21" fmla="*/ 170 h 248"/>
                <a:gd name="T22" fmla="*/ 7 w 149"/>
                <a:gd name="T23" fmla="*/ 178 h 248"/>
                <a:gd name="T24" fmla="*/ 11 w 149"/>
                <a:gd name="T25" fmla="*/ 168 h 248"/>
                <a:gd name="T26" fmla="*/ 22 w 149"/>
                <a:gd name="T27" fmla="*/ 181 h 248"/>
                <a:gd name="T28" fmla="*/ 20 w 149"/>
                <a:gd name="T29" fmla="*/ 194 h 248"/>
                <a:gd name="T30" fmla="*/ 15 w 149"/>
                <a:gd name="T31" fmla="*/ 200 h 248"/>
                <a:gd name="T32" fmla="*/ 22 w 149"/>
                <a:gd name="T33" fmla="*/ 211 h 248"/>
                <a:gd name="T34" fmla="*/ 31 w 149"/>
                <a:gd name="T35" fmla="*/ 215 h 248"/>
                <a:gd name="T36" fmla="*/ 47 w 149"/>
                <a:gd name="T37" fmla="*/ 224 h 248"/>
                <a:gd name="T38" fmla="*/ 60 w 149"/>
                <a:gd name="T39" fmla="*/ 235 h 248"/>
                <a:gd name="T40" fmla="*/ 62 w 149"/>
                <a:gd name="T41" fmla="*/ 242 h 248"/>
                <a:gd name="T42" fmla="*/ 77 w 149"/>
                <a:gd name="T43" fmla="*/ 248 h 248"/>
                <a:gd name="T44" fmla="*/ 90 w 149"/>
                <a:gd name="T45" fmla="*/ 242 h 248"/>
                <a:gd name="T46" fmla="*/ 106 w 149"/>
                <a:gd name="T47" fmla="*/ 233 h 248"/>
                <a:gd name="T48" fmla="*/ 114 w 149"/>
                <a:gd name="T49" fmla="*/ 217 h 248"/>
                <a:gd name="T50" fmla="*/ 121 w 149"/>
                <a:gd name="T51" fmla="*/ 207 h 248"/>
                <a:gd name="T52" fmla="*/ 134 w 149"/>
                <a:gd name="T53" fmla="*/ 183 h 248"/>
                <a:gd name="T54" fmla="*/ 138 w 149"/>
                <a:gd name="T55" fmla="*/ 165 h 248"/>
                <a:gd name="T56" fmla="*/ 140 w 149"/>
                <a:gd name="T57" fmla="*/ 148 h 248"/>
                <a:gd name="T58" fmla="*/ 149 w 149"/>
                <a:gd name="T59" fmla="*/ 137 h 248"/>
                <a:gd name="T60" fmla="*/ 134 w 149"/>
                <a:gd name="T61" fmla="*/ 133 h 248"/>
                <a:gd name="T62" fmla="*/ 129 w 149"/>
                <a:gd name="T63" fmla="*/ 126 h 248"/>
                <a:gd name="T64" fmla="*/ 121 w 149"/>
                <a:gd name="T65" fmla="*/ 128 h 248"/>
                <a:gd name="T66" fmla="*/ 108 w 149"/>
                <a:gd name="T67" fmla="*/ 122 h 248"/>
                <a:gd name="T68" fmla="*/ 105 w 149"/>
                <a:gd name="T69" fmla="*/ 105 h 248"/>
                <a:gd name="T70" fmla="*/ 101 w 149"/>
                <a:gd name="T71" fmla="*/ 93 h 248"/>
                <a:gd name="T72" fmla="*/ 108 w 149"/>
                <a:gd name="T73" fmla="*/ 80 h 248"/>
                <a:gd name="T74" fmla="*/ 108 w 149"/>
                <a:gd name="T75" fmla="*/ 41 h 248"/>
                <a:gd name="T76" fmla="*/ 108 w 149"/>
                <a:gd name="T77" fmla="*/ 28 h 248"/>
                <a:gd name="T78" fmla="*/ 101 w 149"/>
                <a:gd name="T79" fmla="*/ 20 h 248"/>
                <a:gd name="T80" fmla="*/ 88 w 149"/>
                <a:gd name="T81" fmla="*/ 19 h 248"/>
                <a:gd name="T82" fmla="*/ 79 w 149"/>
                <a:gd name="T83" fmla="*/ 15 h 248"/>
                <a:gd name="T84" fmla="*/ 71 w 149"/>
                <a:gd name="T85" fmla="*/ 2 h 248"/>
                <a:gd name="T86" fmla="*/ 62 w 149"/>
                <a:gd name="T87" fmla="*/ 0 h 248"/>
                <a:gd name="T88" fmla="*/ 58 w 149"/>
                <a:gd name="T89" fmla="*/ 6 h 248"/>
                <a:gd name="T90" fmla="*/ 57 w 149"/>
                <a:gd name="T91" fmla="*/ 2 h 248"/>
                <a:gd name="T92" fmla="*/ 41 w 149"/>
                <a:gd name="T93" fmla="*/ 4 h 248"/>
                <a:gd name="T94" fmla="*/ 33 w 149"/>
                <a:gd name="T95" fmla="*/ 0 h 248"/>
                <a:gd name="T96" fmla="*/ 22 w 149"/>
                <a:gd name="T97" fmla="*/ 7 h 248"/>
                <a:gd name="T98" fmla="*/ 20 w 149"/>
                <a:gd name="T99" fmla="*/ 30 h 248"/>
                <a:gd name="T100" fmla="*/ 17 w 149"/>
                <a:gd name="T101" fmla="*/ 44 h 248"/>
                <a:gd name="T102" fmla="*/ 11 w 149"/>
                <a:gd name="T103" fmla="*/ 5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248">
                  <a:moveTo>
                    <a:pt x="11" y="56"/>
                  </a:moveTo>
                  <a:lnTo>
                    <a:pt x="20" y="63"/>
                  </a:lnTo>
                  <a:lnTo>
                    <a:pt x="20" y="74"/>
                  </a:lnTo>
                  <a:lnTo>
                    <a:pt x="19" y="81"/>
                  </a:lnTo>
                  <a:lnTo>
                    <a:pt x="13" y="91"/>
                  </a:lnTo>
                  <a:lnTo>
                    <a:pt x="13" y="115"/>
                  </a:lnTo>
                  <a:lnTo>
                    <a:pt x="17" y="124"/>
                  </a:lnTo>
                  <a:lnTo>
                    <a:pt x="4" y="144"/>
                  </a:lnTo>
                  <a:lnTo>
                    <a:pt x="7" y="148"/>
                  </a:lnTo>
                  <a:lnTo>
                    <a:pt x="0" y="159"/>
                  </a:lnTo>
                  <a:lnTo>
                    <a:pt x="6" y="170"/>
                  </a:lnTo>
                  <a:lnTo>
                    <a:pt x="7" y="178"/>
                  </a:lnTo>
                  <a:lnTo>
                    <a:pt x="11" y="168"/>
                  </a:lnTo>
                  <a:lnTo>
                    <a:pt x="22" y="181"/>
                  </a:lnTo>
                  <a:lnTo>
                    <a:pt x="20" y="194"/>
                  </a:lnTo>
                  <a:lnTo>
                    <a:pt x="15" y="200"/>
                  </a:lnTo>
                  <a:lnTo>
                    <a:pt x="22" y="211"/>
                  </a:lnTo>
                  <a:lnTo>
                    <a:pt x="31" y="215"/>
                  </a:lnTo>
                  <a:lnTo>
                    <a:pt x="47" y="224"/>
                  </a:lnTo>
                  <a:lnTo>
                    <a:pt x="60" y="235"/>
                  </a:lnTo>
                  <a:lnTo>
                    <a:pt x="62" y="242"/>
                  </a:lnTo>
                  <a:lnTo>
                    <a:pt x="77" y="248"/>
                  </a:lnTo>
                  <a:lnTo>
                    <a:pt x="90" y="242"/>
                  </a:lnTo>
                  <a:lnTo>
                    <a:pt x="106" y="233"/>
                  </a:lnTo>
                  <a:lnTo>
                    <a:pt x="114" y="217"/>
                  </a:lnTo>
                  <a:lnTo>
                    <a:pt x="121" y="207"/>
                  </a:lnTo>
                  <a:lnTo>
                    <a:pt x="134" y="183"/>
                  </a:lnTo>
                  <a:lnTo>
                    <a:pt x="138" y="165"/>
                  </a:lnTo>
                  <a:lnTo>
                    <a:pt x="140" y="148"/>
                  </a:lnTo>
                  <a:lnTo>
                    <a:pt x="149" y="137"/>
                  </a:lnTo>
                  <a:lnTo>
                    <a:pt x="134" y="133"/>
                  </a:lnTo>
                  <a:lnTo>
                    <a:pt x="129" y="126"/>
                  </a:lnTo>
                  <a:lnTo>
                    <a:pt x="121" y="128"/>
                  </a:lnTo>
                  <a:lnTo>
                    <a:pt x="108" y="122"/>
                  </a:lnTo>
                  <a:lnTo>
                    <a:pt x="105" y="105"/>
                  </a:lnTo>
                  <a:lnTo>
                    <a:pt x="101" y="93"/>
                  </a:lnTo>
                  <a:lnTo>
                    <a:pt x="108" y="80"/>
                  </a:lnTo>
                  <a:lnTo>
                    <a:pt x="108" y="41"/>
                  </a:lnTo>
                  <a:lnTo>
                    <a:pt x="108" y="28"/>
                  </a:lnTo>
                  <a:lnTo>
                    <a:pt x="101" y="20"/>
                  </a:lnTo>
                  <a:lnTo>
                    <a:pt x="88" y="19"/>
                  </a:lnTo>
                  <a:lnTo>
                    <a:pt x="79" y="15"/>
                  </a:lnTo>
                  <a:lnTo>
                    <a:pt x="71" y="2"/>
                  </a:lnTo>
                  <a:lnTo>
                    <a:pt x="62" y="0"/>
                  </a:lnTo>
                  <a:lnTo>
                    <a:pt x="58" y="6"/>
                  </a:lnTo>
                  <a:lnTo>
                    <a:pt x="57" y="2"/>
                  </a:lnTo>
                  <a:lnTo>
                    <a:pt x="41" y="4"/>
                  </a:lnTo>
                  <a:lnTo>
                    <a:pt x="33" y="0"/>
                  </a:lnTo>
                  <a:lnTo>
                    <a:pt x="22" y="7"/>
                  </a:lnTo>
                  <a:lnTo>
                    <a:pt x="20" y="30"/>
                  </a:lnTo>
                  <a:lnTo>
                    <a:pt x="17" y="44"/>
                  </a:lnTo>
                  <a:lnTo>
                    <a:pt x="11" y="56"/>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1" name="Freeform 432"/>
            <p:cNvSpPr>
              <a:spLocks/>
            </p:cNvSpPr>
            <p:nvPr/>
          </p:nvSpPr>
          <p:spPr bwMode="auto">
            <a:xfrm>
              <a:off x="3504" y="2728"/>
              <a:ext cx="342" cy="363"/>
            </a:xfrm>
            <a:custGeom>
              <a:avLst/>
              <a:gdLst>
                <a:gd name="T0" fmla="*/ 121 w 328"/>
                <a:gd name="T1" fmla="*/ 3 h 388"/>
                <a:gd name="T2" fmla="*/ 169 w 328"/>
                <a:gd name="T3" fmla="*/ 1 h 388"/>
                <a:gd name="T4" fmla="*/ 181 w 328"/>
                <a:gd name="T5" fmla="*/ 12 h 388"/>
                <a:gd name="T6" fmla="*/ 188 w 328"/>
                <a:gd name="T7" fmla="*/ 21 h 388"/>
                <a:gd name="T8" fmla="*/ 197 w 328"/>
                <a:gd name="T9" fmla="*/ 58 h 388"/>
                <a:gd name="T10" fmla="*/ 224 w 328"/>
                <a:gd name="T11" fmla="*/ 66 h 388"/>
                <a:gd name="T12" fmla="*/ 236 w 328"/>
                <a:gd name="T13" fmla="*/ 118 h 388"/>
                <a:gd name="T14" fmla="*/ 253 w 328"/>
                <a:gd name="T15" fmla="*/ 132 h 388"/>
                <a:gd name="T16" fmla="*/ 283 w 328"/>
                <a:gd name="T17" fmla="*/ 127 h 388"/>
                <a:gd name="T18" fmla="*/ 304 w 328"/>
                <a:gd name="T19" fmla="*/ 156 h 388"/>
                <a:gd name="T20" fmla="*/ 302 w 328"/>
                <a:gd name="T21" fmla="*/ 180 h 388"/>
                <a:gd name="T22" fmla="*/ 298 w 328"/>
                <a:gd name="T23" fmla="*/ 193 h 388"/>
                <a:gd name="T24" fmla="*/ 307 w 328"/>
                <a:gd name="T25" fmla="*/ 229 h 388"/>
                <a:gd name="T26" fmla="*/ 328 w 328"/>
                <a:gd name="T27" fmla="*/ 244 h 388"/>
                <a:gd name="T28" fmla="*/ 299 w 328"/>
                <a:gd name="T29" fmla="*/ 290 h 388"/>
                <a:gd name="T30" fmla="*/ 296 w 328"/>
                <a:gd name="T31" fmla="*/ 344 h 388"/>
                <a:gd name="T32" fmla="*/ 272 w 328"/>
                <a:gd name="T33" fmla="*/ 356 h 388"/>
                <a:gd name="T34" fmla="*/ 242 w 328"/>
                <a:gd name="T35" fmla="*/ 362 h 388"/>
                <a:gd name="T36" fmla="*/ 206 w 328"/>
                <a:gd name="T37" fmla="*/ 370 h 388"/>
                <a:gd name="T38" fmla="*/ 179 w 328"/>
                <a:gd name="T39" fmla="*/ 353 h 388"/>
                <a:gd name="T40" fmla="*/ 154 w 328"/>
                <a:gd name="T41" fmla="*/ 341 h 388"/>
                <a:gd name="T42" fmla="*/ 136 w 328"/>
                <a:gd name="T43" fmla="*/ 325 h 388"/>
                <a:gd name="T44" fmla="*/ 105 w 328"/>
                <a:gd name="T45" fmla="*/ 325 h 388"/>
                <a:gd name="T46" fmla="*/ 91 w 328"/>
                <a:gd name="T47" fmla="*/ 359 h 388"/>
                <a:gd name="T48" fmla="*/ 13 w 328"/>
                <a:gd name="T49" fmla="*/ 320 h 388"/>
                <a:gd name="T50" fmla="*/ 18 w 328"/>
                <a:gd name="T51" fmla="*/ 284 h 388"/>
                <a:gd name="T52" fmla="*/ 33 w 328"/>
                <a:gd name="T53" fmla="*/ 253 h 388"/>
                <a:gd name="T54" fmla="*/ 55 w 328"/>
                <a:gd name="T55" fmla="*/ 228 h 388"/>
                <a:gd name="T56" fmla="*/ 75 w 328"/>
                <a:gd name="T57" fmla="*/ 202 h 388"/>
                <a:gd name="T58" fmla="*/ 84 w 328"/>
                <a:gd name="T59" fmla="*/ 177 h 388"/>
                <a:gd name="T60" fmla="*/ 85 w 328"/>
                <a:gd name="T61" fmla="*/ 123 h 388"/>
                <a:gd name="T62" fmla="*/ 72 w 328"/>
                <a:gd name="T63" fmla="*/ 79 h 388"/>
                <a:gd name="T64" fmla="*/ 55 w 328"/>
                <a:gd name="T65" fmla="*/ 27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 h="388">
                  <a:moveTo>
                    <a:pt x="55" y="27"/>
                  </a:moveTo>
                  <a:lnTo>
                    <a:pt x="121" y="3"/>
                  </a:lnTo>
                  <a:lnTo>
                    <a:pt x="151" y="0"/>
                  </a:lnTo>
                  <a:lnTo>
                    <a:pt x="169" y="1"/>
                  </a:lnTo>
                  <a:lnTo>
                    <a:pt x="176" y="6"/>
                  </a:lnTo>
                  <a:lnTo>
                    <a:pt x="181" y="12"/>
                  </a:lnTo>
                  <a:lnTo>
                    <a:pt x="182" y="19"/>
                  </a:lnTo>
                  <a:lnTo>
                    <a:pt x="188" y="21"/>
                  </a:lnTo>
                  <a:lnTo>
                    <a:pt x="196" y="36"/>
                  </a:lnTo>
                  <a:lnTo>
                    <a:pt x="197" y="58"/>
                  </a:lnTo>
                  <a:lnTo>
                    <a:pt x="205" y="66"/>
                  </a:lnTo>
                  <a:lnTo>
                    <a:pt x="224" y="66"/>
                  </a:lnTo>
                  <a:lnTo>
                    <a:pt x="236" y="97"/>
                  </a:lnTo>
                  <a:lnTo>
                    <a:pt x="236" y="118"/>
                  </a:lnTo>
                  <a:lnTo>
                    <a:pt x="244" y="132"/>
                  </a:lnTo>
                  <a:lnTo>
                    <a:pt x="253" y="132"/>
                  </a:lnTo>
                  <a:lnTo>
                    <a:pt x="272" y="118"/>
                  </a:lnTo>
                  <a:lnTo>
                    <a:pt x="283" y="127"/>
                  </a:lnTo>
                  <a:lnTo>
                    <a:pt x="284" y="145"/>
                  </a:lnTo>
                  <a:lnTo>
                    <a:pt x="304" y="156"/>
                  </a:lnTo>
                  <a:lnTo>
                    <a:pt x="301" y="175"/>
                  </a:lnTo>
                  <a:lnTo>
                    <a:pt x="302" y="180"/>
                  </a:lnTo>
                  <a:lnTo>
                    <a:pt x="305" y="183"/>
                  </a:lnTo>
                  <a:lnTo>
                    <a:pt x="298" y="193"/>
                  </a:lnTo>
                  <a:lnTo>
                    <a:pt x="296" y="205"/>
                  </a:lnTo>
                  <a:lnTo>
                    <a:pt x="307" y="229"/>
                  </a:lnTo>
                  <a:lnTo>
                    <a:pt x="323" y="232"/>
                  </a:lnTo>
                  <a:lnTo>
                    <a:pt x="328" y="244"/>
                  </a:lnTo>
                  <a:lnTo>
                    <a:pt x="323" y="268"/>
                  </a:lnTo>
                  <a:lnTo>
                    <a:pt x="299" y="290"/>
                  </a:lnTo>
                  <a:lnTo>
                    <a:pt x="305" y="328"/>
                  </a:lnTo>
                  <a:lnTo>
                    <a:pt x="296" y="344"/>
                  </a:lnTo>
                  <a:lnTo>
                    <a:pt x="302" y="362"/>
                  </a:lnTo>
                  <a:lnTo>
                    <a:pt x="272" y="356"/>
                  </a:lnTo>
                  <a:lnTo>
                    <a:pt x="257" y="362"/>
                  </a:lnTo>
                  <a:lnTo>
                    <a:pt x="242" y="362"/>
                  </a:lnTo>
                  <a:lnTo>
                    <a:pt x="224" y="367"/>
                  </a:lnTo>
                  <a:lnTo>
                    <a:pt x="206" y="370"/>
                  </a:lnTo>
                  <a:lnTo>
                    <a:pt x="178" y="388"/>
                  </a:lnTo>
                  <a:lnTo>
                    <a:pt x="179" y="353"/>
                  </a:lnTo>
                  <a:lnTo>
                    <a:pt x="173" y="344"/>
                  </a:lnTo>
                  <a:lnTo>
                    <a:pt x="154" y="341"/>
                  </a:lnTo>
                  <a:lnTo>
                    <a:pt x="148" y="326"/>
                  </a:lnTo>
                  <a:lnTo>
                    <a:pt x="136" y="325"/>
                  </a:lnTo>
                  <a:lnTo>
                    <a:pt x="131" y="329"/>
                  </a:lnTo>
                  <a:lnTo>
                    <a:pt x="105" y="325"/>
                  </a:lnTo>
                  <a:lnTo>
                    <a:pt x="96" y="332"/>
                  </a:lnTo>
                  <a:lnTo>
                    <a:pt x="91" y="359"/>
                  </a:lnTo>
                  <a:lnTo>
                    <a:pt x="81" y="380"/>
                  </a:lnTo>
                  <a:lnTo>
                    <a:pt x="13" y="320"/>
                  </a:lnTo>
                  <a:lnTo>
                    <a:pt x="0" y="292"/>
                  </a:lnTo>
                  <a:lnTo>
                    <a:pt x="18" y="284"/>
                  </a:lnTo>
                  <a:lnTo>
                    <a:pt x="33" y="276"/>
                  </a:lnTo>
                  <a:lnTo>
                    <a:pt x="33" y="253"/>
                  </a:lnTo>
                  <a:lnTo>
                    <a:pt x="48" y="244"/>
                  </a:lnTo>
                  <a:lnTo>
                    <a:pt x="55" y="228"/>
                  </a:lnTo>
                  <a:lnTo>
                    <a:pt x="72" y="217"/>
                  </a:lnTo>
                  <a:lnTo>
                    <a:pt x="75" y="202"/>
                  </a:lnTo>
                  <a:lnTo>
                    <a:pt x="73" y="186"/>
                  </a:lnTo>
                  <a:lnTo>
                    <a:pt x="84" y="177"/>
                  </a:lnTo>
                  <a:lnTo>
                    <a:pt x="69" y="154"/>
                  </a:lnTo>
                  <a:lnTo>
                    <a:pt x="85" y="123"/>
                  </a:lnTo>
                  <a:lnTo>
                    <a:pt x="67" y="102"/>
                  </a:lnTo>
                  <a:lnTo>
                    <a:pt x="72" y="79"/>
                  </a:lnTo>
                  <a:lnTo>
                    <a:pt x="55" y="58"/>
                  </a:lnTo>
                  <a:lnTo>
                    <a:pt x="55" y="27"/>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2" name="Freeform 433"/>
            <p:cNvSpPr>
              <a:spLocks/>
            </p:cNvSpPr>
            <p:nvPr/>
          </p:nvSpPr>
          <p:spPr bwMode="auto">
            <a:xfrm>
              <a:off x="3724" y="1640"/>
              <a:ext cx="47" cy="34"/>
            </a:xfrm>
            <a:custGeom>
              <a:avLst/>
              <a:gdLst>
                <a:gd name="T0" fmla="*/ 26 w 44"/>
                <a:gd name="T1" fmla="*/ 0 h 37"/>
                <a:gd name="T2" fmla="*/ 6 w 44"/>
                <a:gd name="T3" fmla="*/ 13 h 37"/>
                <a:gd name="T4" fmla="*/ 0 w 44"/>
                <a:gd name="T5" fmla="*/ 20 h 37"/>
                <a:gd name="T6" fmla="*/ 13 w 44"/>
                <a:gd name="T7" fmla="*/ 24 h 37"/>
                <a:gd name="T8" fmla="*/ 24 w 44"/>
                <a:gd name="T9" fmla="*/ 37 h 37"/>
                <a:gd name="T10" fmla="*/ 33 w 44"/>
                <a:gd name="T11" fmla="*/ 28 h 37"/>
                <a:gd name="T12" fmla="*/ 44 w 44"/>
                <a:gd name="T13" fmla="*/ 20 h 37"/>
                <a:gd name="T14" fmla="*/ 35 w 44"/>
                <a:gd name="T15" fmla="*/ 11 h 37"/>
                <a:gd name="T16" fmla="*/ 26 w 44"/>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7">
                  <a:moveTo>
                    <a:pt x="26" y="0"/>
                  </a:moveTo>
                  <a:lnTo>
                    <a:pt x="6" y="13"/>
                  </a:lnTo>
                  <a:lnTo>
                    <a:pt x="0" y="20"/>
                  </a:lnTo>
                  <a:lnTo>
                    <a:pt x="13" y="24"/>
                  </a:lnTo>
                  <a:lnTo>
                    <a:pt x="24" y="37"/>
                  </a:lnTo>
                  <a:lnTo>
                    <a:pt x="33" y="28"/>
                  </a:lnTo>
                  <a:lnTo>
                    <a:pt x="44" y="20"/>
                  </a:lnTo>
                  <a:lnTo>
                    <a:pt x="35" y="11"/>
                  </a:lnTo>
                  <a:lnTo>
                    <a:pt x="26"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3" name="Freeform 434"/>
            <p:cNvSpPr>
              <a:spLocks/>
            </p:cNvSpPr>
            <p:nvPr/>
          </p:nvSpPr>
          <p:spPr bwMode="auto">
            <a:xfrm>
              <a:off x="2296" y="1833"/>
              <a:ext cx="39" cy="27"/>
            </a:xfrm>
            <a:custGeom>
              <a:avLst/>
              <a:gdLst>
                <a:gd name="T0" fmla="*/ 19 w 37"/>
                <a:gd name="T1" fmla="*/ 0 h 27"/>
                <a:gd name="T2" fmla="*/ 35 w 37"/>
                <a:gd name="T3" fmla="*/ 2 h 27"/>
                <a:gd name="T4" fmla="*/ 37 w 37"/>
                <a:gd name="T5" fmla="*/ 12 h 27"/>
                <a:gd name="T6" fmla="*/ 20 w 37"/>
                <a:gd name="T7" fmla="*/ 23 h 27"/>
                <a:gd name="T8" fmla="*/ 2 w 37"/>
                <a:gd name="T9" fmla="*/ 27 h 27"/>
                <a:gd name="T10" fmla="*/ 0 w 37"/>
                <a:gd name="T11" fmla="*/ 15 h 27"/>
                <a:gd name="T12" fmla="*/ 19 w 3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37" h="27">
                  <a:moveTo>
                    <a:pt x="19" y="0"/>
                  </a:moveTo>
                  <a:lnTo>
                    <a:pt x="35" y="2"/>
                  </a:lnTo>
                  <a:lnTo>
                    <a:pt x="37" y="12"/>
                  </a:lnTo>
                  <a:lnTo>
                    <a:pt x="20" y="23"/>
                  </a:lnTo>
                  <a:lnTo>
                    <a:pt x="2" y="27"/>
                  </a:lnTo>
                  <a:lnTo>
                    <a:pt x="0" y="15"/>
                  </a:lnTo>
                  <a:lnTo>
                    <a:pt x="19"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4" name="Freeform 435"/>
            <p:cNvSpPr>
              <a:spLocks/>
            </p:cNvSpPr>
            <p:nvPr/>
          </p:nvSpPr>
          <p:spPr bwMode="auto">
            <a:xfrm>
              <a:off x="2269" y="1670"/>
              <a:ext cx="40" cy="24"/>
            </a:xfrm>
            <a:custGeom>
              <a:avLst/>
              <a:gdLst>
                <a:gd name="T0" fmla="*/ 31 w 37"/>
                <a:gd name="T1" fmla="*/ 0 h 27"/>
                <a:gd name="T2" fmla="*/ 37 w 37"/>
                <a:gd name="T3" fmla="*/ 13 h 27"/>
                <a:gd name="T4" fmla="*/ 19 w 37"/>
                <a:gd name="T5" fmla="*/ 23 h 27"/>
                <a:gd name="T6" fmla="*/ 4 w 37"/>
                <a:gd name="T7" fmla="*/ 27 h 27"/>
                <a:gd name="T8" fmla="*/ 0 w 37"/>
                <a:gd name="T9" fmla="*/ 14 h 27"/>
                <a:gd name="T10" fmla="*/ 7 w 37"/>
                <a:gd name="T11" fmla="*/ 5 h 27"/>
                <a:gd name="T12" fmla="*/ 31 w 3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37" h="27">
                  <a:moveTo>
                    <a:pt x="31" y="0"/>
                  </a:moveTo>
                  <a:lnTo>
                    <a:pt x="37" y="13"/>
                  </a:lnTo>
                  <a:lnTo>
                    <a:pt x="19" y="23"/>
                  </a:lnTo>
                  <a:lnTo>
                    <a:pt x="4" y="27"/>
                  </a:lnTo>
                  <a:lnTo>
                    <a:pt x="0" y="14"/>
                  </a:lnTo>
                  <a:lnTo>
                    <a:pt x="7" y="5"/>
                  </a:lnTo>
                  <a:lnTo>
                    <a:pt x="31"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5" name="Freeform 436"/>
            <p:cNvSpPr>
              <a:spLocks/>
            </p:cNvSpPr>
            <p:nvPr/>
          </p:nvSpPr>
          <p:spPr bwMode="auto">
            <a:xfrm>
              <a:off x="2326" y="1542"/>
              <a:ext cx="21" cy="46"/>
            </a:xfrm>
            <a:custGeom>
              <a:avLst/>
              <a:gdLst>
                <a:gd name="T0" fmla="*/ 9 w 20"/>
                <a:gd name="T1" fmla="*/ 52 h 52"/>
                <a:gd name="T2" fmla="*/ 20 w 20"/>
                <a:gd name="T3" fmla="*/ 39 h 52"/>
                <a:gd name="T4" fmla="*/ 16 w 20"/>
                <a:gd name="T5" fmla="*/ 22 h 52"/>
                <a:gd name="T6" fmla="*/ 13 w 20"/>
                <a:gd name="T7" fmla="*/ 13 h 52"/>
                <a:gd name="T8" fmla="*/ 9 w 20"/>
                <a:gd name="T9" fmla="*/ 0 h 52"/>
                <a:gd name="T10" fmla="*/ 0 w 20"/>
                <a:gd name="T11" fmla="*/ 6 h 52"/>
                <a:gd name="T12" fmla="*/ 5 w 20"/>
                <a:gd name="T13" fmla="*/ 24 h 52"/>
                <a:gd name="T14" fmla="*/ 9 w 20"/>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9" y="52"/>
                  </a:moveTo>
                  <a:lnTo>
                    <a:pt x="20" y="39"/>
                  </a:lnTo>
                  <a:lnTo>
                    <a:pt x="16" y="22"/>
                  </a:lnTo>
                  <a:lnTo>
                    <a:pt x="13" y="13"/>
                  </a:lnTo>
                  <a:lnTo>
                    <a:pt x="9" y="0"/>
                  </a:lnTo>
                  <a:lnTo>
                    <a:pt x="0" y="6"/>
                  </a:lnTo>
                  <a:lnTo>
                    <a:pt x="5" y="24"/>
                  </a:lnTo>
                  <a:lnTo>
                    <a:pt x="9" y="5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6" name="Freeform 437"/>
            <p:cNvSpPr>
              <a:spLocks/>
            </p:cNvSpPr>
            <p:nvPr/>
          </p:nvSpPr>
          <p:spPr bwMode="auto">
            <a:xfrm>
              <a:off x="2171" y="1729"/>
              <a:ext cx="103" cy="96"/>
            </a:xfrm>
            <a:custGeom>
              <a:avLst/>
              <a:gdLst>
                <a:gd name="T0" fmla="*/ 34 w 97"/>
                <a:gd name="T1" fmla="*/ 0 h 99"/>
                <a:gd name="T2" fmla="*/ 56 w 97"/>
                <a:gd name="T3" fmla="*/ 0 h 99"/>
                <a:gd name="T4" fmla="*/ 73 w 97"/>
                <a:gd name="T5" fmla="*/ 4 h 99"/>
                <a:gd name="T6" fmla="*/ 84 w 97"/>
                <a:gd name="T7" fmla="*/ 20 h 99"/>
                <a:gd name="T8" fmla="*/ 95 w 97"/>
                <a:gd name="T9" fmla="*/ 46 h 99"/>
                <a:gd name="T10" fmla="*/ 97 w 97"/>
                <a:gd name="T11" fmla="*/ 68 h 99"/>
                <a:gd name="T12" fmla="*/ 86 w 97"/>
                <a:gd name="T13" fmla="*/ 79 h 99"/>
                <a:gd name="T14" fmla="*/ 82 w 97"/>
                <a:gd name="T15" fmla="*/ 94 h 99"/>
                <a:gd name="T16" fmla="*/ 71 w 97"/>
                <a:gd name="T17" fmla="*/ 99 h 99"/>
                <a:gd name="T18" fmla="*/ 60 w 97"/>
                <a:gd name="T19" fmla="*/ 86 h 99"/>
                <a:gd name="T20" fmla="*/ 50 w 97"/>
                <a:gd name="T21" fmla="*/ 62 h 99"/>
                <a:gd name="T22" fmla="*/ 43 w 97"/>
                <a:gd name="T23" fmla="*/ 53 h 99"/>
                <a:gd name="T24" fmla="*/ 24 w 97"/>
                <a:gd name="T25" fmla="*/ 51 h 99"/>
                <a:gd name="T26" fmla="*/ 0 w 97"/>
                <a:gd name="T27" fmla="*/ 26 h 99"/>
                <a:gd name="T28" fmla="*/ 34 w 97"/>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99">
                  <a:moveTo>
                    <a:pt x="34" y="0"/>
                  </a:moveTo>
                  <a:lnTo>
                    <a:pt x="56" y="0"/>
                  </a:lnTo>
                  <a:lnTo>
                    <a:pt x="73" y="4"/>
                  </a:lnTo>
                  <a:lnTo>
                    <a:pt x="84" y="20"/>
                  </a:lnTo>
                  <a:lnTo>
                    <a:pt x="95" y="46"/>
                  </a:lnTo>
                  <a:lnTo>
                    <a:pt x="97" y="68"/>
                  </a:lnTo>
                  <a:lnTo>
                    <a:pt x="86" y="79"/>
                  </a:lnTo>
                  <a:lnTo>
                    <a:pt x="82" y="94"/>
                  </a:lnTo>
                  <a:lnTo>
                    <a:pt x="71" y="99"/>
                  </a:lnTo>
                  <a:lnTo>
                    <a:pt x="60" y="86"/>
                  </a:lnTo>
                  <a:lnTo>
                    <a:pt x="50" y="62"/>
                  </a:lnTo>
                  <a:lnTo>
                    <a:pt x="43" y="53"/>
                  </a:lnTo>
                  <a:lnTo>
                    <a:pt x="24" y="51"/>
                  </a:lnTo>
                  <a:lnTo>
                    <a:pt x="0" y="26"/>
                  </a:lnTo>
                  <a:lnTo>
                    <a:pt x="34"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7" name="Freeform 438"/>
            <p:cNvSpPr>
              <a:spLocks/>
            </p:cNvSpPr>
            <p:nvPr/>
          </p:nvSpPr>
          <p:spPr bwMode="auto">
            <a:xfrm>
              <a:off x="2320" y="1486"/>
              <a:ext cx="54" cy="33"/>
            </a:xfrm>
            <a:custGeom>
              <a:avLst/>
              <a:gdLst>
                <a:gd name="T0" fmla="*/ 44 w 50"/>
                <a:gd name="T1" fmla="*/ 0 h 37"/>
                <a:gd name="T2" fmla="*/ 50 w 50"/>
                <a:gd name="T3" fmla="*/ 9 h 37"/>
                <a:gd name="T4" fmla="*/ 31 w 50"/>
                <a:gd name="T5" fmla="*/ 20 h 37"/>
                <a:gd name="T6" fmla="*/ 13 w 50"/>
                <a:gd name="T7" fmla="*/ 37 h 37"/>
                <a:gd name="T8" fmla="*/ 2 w 50"/>
                <a:gd name="T9" fmla="*/ 33 h 37"/>
                <a:gd name="T10" fmla="*/ 0 w 50"/>
                <a:gd name="T11" fmla="*/ 13 h 37"/>
                <a:gd name="T12" fmla="*/ 0 w 50"/>
                <a:gd name="T13" fmla="*/ 6 h 37"/>
                <a:gd name="T14" fmla="*/ 30 w 50"/>
                <a:gd name="T15" fmla="*/ 0 h 37"/>
                <a:gd name="T16" fmla="*/ 44 w 50"/>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7">
                  <a:moveTo>
                    <a:pt x="44" y="0"/>
                  </a:moveTo>
                  <a:lnTo>
                    <a:pt x="50" y="9"/>
                  </a:lnTo>
                  <a:lnTo>
                    <a:pt x="31" y="20"/>
                  </a:lnTo>
                  <a:lnTo>
                    <a:pt x="13" y="37"/>
                  </a:lnTo>
                  <a:lnTo>
                    <a:pt x="2" y="33"/>
                  </a:lnTo>
                  <a:lnTo>
                    <a:pt x="0" y="13"/>
                  </a:lnTo>
                  <a:lnTo>
                    <a:pt x="0" y="6"/>
                  </a:lnTo>
                  <a:lnTo>
                    <a:pt x="30" y="0"/>
                  </a:lnTo>
                  <a:lnTo>
                    <a:pt x="44"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8" name="Freeform 439"/>
            <p:cNvSpPr>
              <a:spLocks/>
            </p:cNvSpPr>
            <p:nvPr/>
          </p:nvSpPr>
          <p:spPr bwMode="auto">
            <a:xfrm>
              <a:off x="2269" y="3163"/>
              <a:ext cx="34" cy="23"/>
            </a:xfrm>
            <a:custGeom>
              <a:avLst/>
              <a:gdLst>
                <a:gd name="T0" fmla="*/ 31 w 31"/>
                <a:gd name="T1" fmla="*/ 0 h 22"/>
                <a:gd name="T2" fmla="*/ 16 w 31"/>
                <a:gd name="T3" fmla="*/ 0 h 22"/>
                <a:gd name="T4" fmla="*/ 0 w 31"/>
                <a:gd name="T5" fmla="*/ 15 h 22"/>
                <a:gd name="T6" fmla="*/ 8 w 31"/>
                <a:gd name="T7" fmla="*/ 22 h 22"/>
                <a:gd name="T8" fmla="*/ 23 w 31"/>
                <a:gd name="T9" fmla="*/ 22 h 22"/>
                <a:gd name="T10" fmla="*/ 31 w 31"/>
                <a:gd name="T11" fmla="*/ 0 h 22"/>
              </a:gdLst>
              <a:ahLst/>
              <a:cxnLst>
                <a:cxn ang="0">
                  <a:pos x="T0" y="T1"/>
                </a:cxn>
                <a:cxn ang="0">
                  <a:pos x="T2" y="T3"/>
                </a:cxn>
                <a:cxn ang="0">
                  <a:pos x="T4" y="T5"/>
                </a:cxn>
                <a:cxn ang="0">
                  <a:pos x="T6" y="T7"/>
                </a:cxn>
                <a:cxn ang="0">
                  <a:pos x="T8" y="T9"/>
                </a:cxn>
                <a:cxn ang="0">
                  <a:pos x="T10" y="T11"/>
                </a:cxn>
              </a:cxnLst>
              <a:rect l="0" t="0" r="r" b="b"/>
              <a:pathLst>
                <a:path w="31" h="22">
                  <a:moveTo>
                    <a:pt x="31" y="0"/>
                  </a:moveTo>
                  <a:lnTo>
                    <a:pt x="16" y="0"/>
                  </a:lnTo>
                  <a:lnTo>
                    <a:pt x="0" y="15"/>
                  </a:lnTo>
                  <a:lnTo>
                    <a:pt x="8" y="22"/>
                  </a:lnTo>
                  <a:lnTo>
                    <a:pt x="23" y="22"/>
                  </a:lnTo>
                  <a:lnTo>
                    <a:pt x="31"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39" name="Freeform 440"/>
            <p:cNvSpPr>
              <a:spLocks/>
            </p:cNvSpPr>
            <p:nvPr/>
          </p:nvSpPr>
          <p:spPr bwMode="auto">
            <a:xfrm>
              <a:off x="2361" y="3111"/>
              <a:ext cx="76" cy="52"/>
            </a:xfrm>
            <a:custGeom>
              <a:avLst/>
              <a:gdLst>
                <a:gd name="T0" fmla="*/ 53 w 72"/>
                <a:gd name="T1" fmla="*/ 0 h 56"/>
                <a:gd name="T2" fmla="*/ 45 w 72"/>
                <a:gd name="T3" fmla="*/ 7 h 56"/>
                <a:gd name="T4" fmla="*/ 15 w 72"/>
                <a:gd name="T5" fmla="*/ 11 h 56"/>
                <a:gd name="T6" fmla="*/ 0 w 72"/>
                <a:gd name="T7" fmla="*/ 30 h 56"/>
                <a:gd name="T8" fmla="*/ 22 w 72"/>
                <a:gd name="T9" fmla="*/ 45 h 56"/>
                <a:gd name="T10" fmla="*/ 34 w 72"/>
                <a:gd name="T11" fmla="*/ 56 h 56"/>
                <a:gd name="T12" fmla="*/ 57 w 72"/>
                <a:gd name="T13" fmla="*/ 52 h 56"/>
                <a:gd name="T14" fmla="*/ 72 w 72"/>
                <a:gd name="T15" fmla="*/ 45 h 56"/>
                <a:gd name="T16" fmla="*/ 68 w 72"/>
                <a:gd name="T17" fmla="*/ 30 h 56"/>
                <a:gd name="T18" fmla="*/ 57 w 72"/>
                <a:gd name="T19" fmla="*/ 19 h 56"/>
                <a:gd name="T20" fmla="*/ 53 w 72"/>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6">
                  <a:moveTo>
                    <a:pt x="53" y="0"/>
                  </a:moveTo>
                  <a:lnTo>
                    <a:pt x="45" y="7"/>
                  </a:lnTo>
                  <a:lnTo>
                    <a:pt x="15" y="11"/>
                  </a:lnTo>
                  <a:lnTo>
                    <a:pt x="0" y="30"/>
                  </a:lnTo>
                  <a:lnTo>
                    <a:pt x="22" y="45"/>
                  </a:lnTo>
                  <a:lnTo>
                    <a:pt x="34" y="56"/>
                  </a:lnTo>
                  <a:lnTo>
                    <a:pt x="57" y="52"/>
                  </a:lnTo>
                  <a:lnTo>
                    <a:pt x="72" y="45"/>
                  </a:lnTo>
                  <a:lnTo>
                    <a:pt x="68" y="30"/>
                  </a:lnTo>
                  <a:lnTo>
                    <a:pt x="57" y="19"/>
                  </a:lnTo>
                  <a:lnTo>
                    <a:pt x="53"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0" name="Freeform 441"/>
            <p:cNvSpPr>
              <a:spLocks/>
            </p:cNvSpPr>
            <p:nvPr/>
          </p:nvSpPr>
          <p:spPr bwMode="auto">
            <a:xfrm>
              <a:off x="2479" y="3115"/>
              <a:ext cx="23" cy="28"/>
            </a:xfrm>
            <a:custGeom>
              <a:avLst/>
              <a:gdLst>
                <a:gd name="T0" fmla="*/ 15 w 23"/>
                <a:gd name="T1" fmla="*/ 0 h 29"/>
                <a:gd name="T2" fmla="*/ 0 w 23"/>
                <a:gd name="T3" fmla="*/ 7 h 29"/>
                <a:gd name="T4" fmla="*/ 12 w 23"/>
                <a:gd name="T5" fmla="*/ 18 h 29"/>
                <a:gd name="T6" fmla="*/ 23 w 23"/>
                <a:gd name="T7" fmla="*/ 29 h 29"/>
                <a:gd name="T8" fmla="*/ 15 w 23"/>
                <a:gd name="T9" fmla="*/ 0 h 29"/>
              </a:gdLst>
              <a:ahLst/>
              <a:cxnLst>
                <a:cxn ang="0">
                  <a:pos x="T0" y="T1"/>
                </a:cxn>
                <a:cxn ang="0">
                  <a:pos x="T2" y="T3"/>
                </a:cxn>
                <a:cxn ang="0">
                  <a:pos x="T4" y="T5"/>
                </a:cxn>
                <a:cxn ang="0">
                  <a:pos x="T6" y="T7"/>
                </a:cxn>
                <a:cxn ang="0">
                  <a:pos x="T8" y="T9"/>
                </a:cxn>
              </a:cxnLst>
              <a:rect l="0" t="0" r="r" b="b"/>
              <a:pathLst>
                <a:path w="23" h="29">
                  <a:moveTo>
                    <a:pt x="15" y="0"/>
                  </a:moveTo>
                  <a:lnTo>
                    <a:pt x="0" y="7"/>
                  </a:lnTo>
                  <a:lnTo>
                    <a:pt x="12" y="18"/>
                  </a:lnTo>
                  <a:lnTo>
                    <a:pt x="23" y="29"/>
                  </a:lnTo>
                  <a:lnTo>
                    <a:pt x="1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1" name="Freeform 442"/>
            <p:cNvSpPr>
              <a:spLocks/>
            </p:cNvSpPr>
            <p:nvPr/>
          </p:nvSpPr>
          <p:spPr bwMode="auto">
            <a:xfrm>
              <a:off x="2789" y="3086"/>
              <a:ext cx="123" cy="185"/>
            </a:xfrm>
            <a:custGeom>
              <a:avLst/>
              <a:gdLst>
                <a:gd name="T0" fmla="*/ 70 w 118"/>
                <a:gd name="T1" fmla="*/ 0 h 193"/>
                <a:gd name="T2" fmla="*/ 52 w 118"/>
                <a:gd name="T3" fmla="*/ 11 h 193"/>
                <a:gd name="T4" fmla="*/ 37 w 118"/>
                <a:gd name="T5" fmla="*/ 22 h 193"/>
                <a:gd name="T6" fmla="*/ 22 w 118"/>
                <a:gd name="T7" fmla="*/ 26 h 193"/>
                <a:gd name="T8" fmla="*/ 0 w 118"/>
                <a:gd name="T9" fmla="*/ 22 h 193"/>
                <a:gd name="T10" fmla="*/ 4 w 118"/>
                <a:gd name="T11" fmla="*/ 45 h 193"/>
                <a:gd name="T12" fmla="*/ 15 w 118"/>
                <a:gd name="T13" fmla="*/ 59 h 193"/>
                <a:gd name="T14" fmla="*/ 11 w 118"/>
                <a:gd name="T15" fmla="*/ 97 h 193"/>
                <a:gd name="T16" fmla="*/ 11 w 118"/>
                <a:gd name="T17" fmla="*/ 115 h 193"/>
                <a:gd name="T18" fmla="*/ 15 w 118"/>
                <a:gd name="T19" fmla="*/ 130 h 193"/>
                <a:gd name="T20" fmla="*/ 4 w 118"/>
                <a:gd name="T21" fmla="*/ 160 h 193"/>
                <a:gd name="T22" fmla="*/ 7 w 118"/>
                <a:gd name="T23" fmla="*/ 182 h 193"/>
                <a:gd name="T24" fmla="*/ 22 w 118"/>
                <a:gd name="T25" fmla="*/ 193 h 193"/>
                <a:gd name="T26" fmla="*/ 44 w 118"/>
                <a:gd name="T27" fmla="*/ 178 h 193"/>
                <a:gd name="T28" fmla="*/ 52 w 118"/>
                <a:gd name="T29" fmla="*/ 174 h 193"/>
                <a:gd name="T30" fmla="*/ 74 w 118"/>
                <a:gd name="T31" fmla="*/ 178 h 193"/>
                <a:gd name="T32" fmla="*/ 89 w 118"/>
                <a:gd name="T33" fmla="*/ 163 h 193"/>
                <a:gd name="T34" fmla="*/ 89 w 118"/>
                <a:gd name="T35" fmla="*/ 148 h 193"/>
                <a:gd name="T36" fmla="*/ 107 w 118"/>
                <a:gd name="T37" fmla="*/ 119 h 193"/>
                <a:gd name="T38" fmla="*/ 114 w 118"/>
                <a:gd name="T39" fmla="*/ 100 h 193"/>
                <a:gd name="T40" fmla="*/ 107 w 118"/>
                <a:gd name="T41" fmla="*/ 82 h 193"/>
                <a:gd name="T42" fmla="*/ 118 w 118"/>
                <a:gd name="T43" fmla="*/ 59 h 193"/>
                <a:gd name="T44" fmla="*/ 111 w 118"/>
                <a:gd name="T45" fmla="*/ 26 h 193"/>
                <a:gd name="T46" fmla="*/ 107 w 118"/>
                <a:gd name="T47" fmla="*/ 7 h 193"/>
                <a:gd name="T48" fmla="*/ 70 w 118"/>
                <a:gd name="T4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8" h="193">
                  <a:moveTo>
                    <a:pt x="70" y="0"/>
                  </a:moveTo>
                  <a:lnTo>
                    <a:pt x="52" y="11"/>
                  </a:lnTo>
                  <a:lnTo>
                    <a:pt x="37" y="22"/>
                  </a:lnTo>
                  <a:lnTo>
                    <a:pt x="22" y="26"/>
                  </a:lnTo>
                  <a:lnTo>
                    <a:pt x="0" y="22"/>
                  </a:lnTo>
                  <a:lnTo>
                    <a:pt x="4" y="45"/>
                  </a:lnTo>
                  <a:lnTo>
                    <a:pt x="15" y="59"/>
                  </a:lnTo>
                  <a:lnTo>
                    <a:pt x="11" y="97"/>
                  </a:lnTo>
                  <a:lnTo>
                    <a:pt x="11" y="115"/>
                  </a:lnTo>
                  <a:lnTo>
                    <a:pt x="15" y="130"/>
                  </a:lnTo>
                  <a:lnTo>
                    <a:pt x="4" y="160"/>
                  </a:lnTo>
                  <a:lnTo>
                    <a:pt x="7" y="182"/>
                  </a:lnTo>
                  <a:lnTo>
                    <a:pt x="22" y="193"/>
                  </a:lnTo>
                  <a:lnTo>
                    <a:pt x="44" y="178"/>
                  </a:lnTo>
                  <a:lnTo>
                    <a:pt x="52" y="174"/>
                  </a:lnTo>
                  <a:lnTo>
                    <a:pt x="74" y="178"/>
                  </a:lnTo>
                  <a:lnTo>
                    <a:pt x="89" y="163"/>
                  </a:lnTo>
                  <a:lnTo>
                    <a:pt x="89" y="148"/>
                  </a:lnTo>
                  <a:lnTo>
                    <a:pt x="107" y="119"/>
                  </a:lnTo>
                  <a:lnTo>
                    <a:pt x="114" y="100"/>
                  </a:lnTo>
                  <a:lnTo>
                    <a:pt x="107" y="82"/>
                  </a:lnTo>
                  <a:lnTo>
                    <a:pt x="118" y="59"/>
                  </a:lnTo>
                  <a:lnTo>
                    <a:pt x="111" y="26"/>
                  </a:lnTo>
                  <a:lnTo>
                    <a:pt x="107" y="7"/>
                  </a:lnTo>
                  <a:lnTo>
                    <a:pt x="70" y="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2" name="Freeform 443"/>
            <p:cNvSpPr>
              <a:spLocks/>
            </p:cNvSpPr>
            <p:nvPr/>
          </p:nvSpPr>
          <p:spPr bwMode="auto">
            <a:xfrm>
              <a:off x="3073" y="3371"/>
              <a:ext cx="230" cy="129"/>
            </a:xfrm>
            <a:custGeom>
              <a:avLst/>
              <a:gdLst>
                <a:gd name="T0" fmla="*/ 205 w 216"/>
                <a:gd name="T1" fmla="*/ 0 h 136"/>
                <a:gd name="T2" fmla="*/ 216 w 216"/>
                <a:gd name="T3" fmla="*/ 11 h 136"/>
                <a:gd name="T4" fmla="*/ 209 w 216"/>
                <a:gd name="T5" fmla="*/ 22 h 136"/>
                <a:gd name="T6" fmla="*/ 201 w 216"/>
                <a:gd name="T7" fmla="*/ 40 h 136"/>
                <a:gd name="T8" fmla="*/ 190 w 216"/>
                <a:gd name="T9" fmla="*/ 51 h 136"/>
                <a:gd name="T10" fmla="*/ 194 w 216"/>
                <a:gd name="T11" fmla="*/ 85 h 136"/>
                <a:gd name="T12" fmla="*/ 201 w 216"/>
                <a:gd name="T13" fmla="*/ 110 h 136"/>
                <a:gd name="T14" fmla="*/ 182 w 216"/>
                <a:gd name="T15" fmla="*/ 121 h 136"/>
                <a:gd name="T16" fmla="*/ 179 w 216"/>
                <a:gd name="T17" fmla="*/ 132 h 136"/>
                <a:gd name="T18" fmla="*/ 164 w 216"/>
                <a:gd name="T19" fmla="*/ 136 h 136"/>
                <a:gd name="T20" fmla="*/ 142 w 216"/>
                <a:gd name="T21" fmla="*/ 114 h 136"/>
                <a:gd name="T22" fmla="*/ 127 w 216"/>
                <a:gd name="T23" fmla="*/ 114 h 136"/>
                <a:gd name="T24" fmla="*/ 115 w 216"/>
                <a:gd name="T25" fmla="*/ 96 h 136"/>
                <a:gd name="T26" fmla="*/ 93 w 216"/>
                <a:gd name="T27" fmla="*/ 85 h 136"/>
                <a:gd name="T28" fmla="*/ 78 w 216"/>
                <a:gd name="T29" fmla="*/ 81 h 136"/>
                <a:gd name="T30" fmla="*/ 63 w 216"/>
                <a:gd name="T31" fmla="*/ 74 h 136"/>
                <a:gd name="T32" fmla="*/ 48 w 216"/>
                <a:gd name="T33" fmla="*/ 62 h 136"/>
                <a:gd name="T34" fmla="*/ 22 w 216"/>
                <a:gd name="T35" fmla="*/ 44 h 136"/>
                <a:gd name="T36" fmla="*/ 11 w 216"/>
                <a:gd name="T37" fmla="*/ 40 h 136"/>
                <a:gd name="T38" fmla="*/ 0 w 216"/>
                <a:gd name="T39" fmla="*/ 29 h 136"/>
                <a:gd name="T40" fmla="*/ 0 w 216"/>
                <a:gd name="T41" fmla="*/ 15 h 136"/>
                <a:gd name="T42" fmla="*/ 4 w 216"/>
                <a:gd name="T43" fmla="*/ 4 h 136"/>
                <a:gd name="T44" fmla="*/ 26 w 216"/>
                <a:gd name="T45" fmla="*/ 7 h 136"/>
                <a:gd name="T46" fmla="*/ 60 w 216"/>
                <a:gd name="T47" fmla="*/ 7 h 136"/>
                <a:gd name="T48" fmla="*/ 67 w 216"/>
                <a:gd name="T49" fmla="*/ 18 h 136"/>
                <a:gd name="T50" fmla="*/ 104 w 216"/>
                <a:gd name="T51" fmla="*/ 18 h 136"/>
                <a:gd name="T52" fmla="*/ 130 w 216"/>
                <a:gd name="T53" fmla="*/ 18 h 136"/>
                <a:gd name="T54" fmla="*/ 164 w 216"/>
                <a:gd name="T55" fmla="*/ 11 h 136"/>
                <a:gd name="T56" fmla="*/ 205 w 216"/>
                <a:gd name="T5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6" h="136">
                  <a:moveTo>
                    <a:pt x="205" y="0"/>
                  </a:moveTo>
                  <a:lnTo>
                    <a:pt x="216" y="11"/>
                  </a:lnTo>
                  <a:lnTo>
                    <a:pt x="209" y="22"/>
                  </a:lnTo>
                  <a:lnTo>
                    <a:pt x="201" y="40"/>
                  </a:lnTo>
                  <a:lnTo>
                    <a:pt x="190" y="51"/>
                  </a:lnTo>
                  <a:lnTo>
                    <a:pt x="194" y="85"/>
                  </a:lnTo>
                  <a:lnTo>
                    <a:pt x="201" y="110"/>
                  </a:lnTo>
                  <a:lnTo>
                    <a:pt x="182" y="121"/>
                  </a:lnTo>
                  <a:lnTo>
                    <a:pt x="179" y="132"/>
                  </a:lnTo>
                  <a:lnTo>
                    <a:pt x="164" y="136"/>
                  </a:lnTo>
                  <a:lnTo>
                    <a:pt x="142" y="114"/>
                  </a:lnTo>
                  <a:lnTo>
                    <a:pt x="127" y="114"/>
                  </a:lnTo>
                  <a:lnTo>
                    <a:pt x="115" y="96"/>
                  </a:lnTo>
                  <a:lnTo>
                    <a:pt x="93" y="85"/>
                  </a:lnTo>
                  <a:lnTo>
                    <a:pt x="78" y="81"/>
                  </a:lnTo>
                  <a:lnTo>
                    <a:pt x="63" y="74"/>
                  </a:lnTo>
                  <a:lnTo>
                    <a:pt x="48" y="62"/>
                  </a:lnTo>
                  <a:lnTo>
                    <a:pt x="22" y="44"/>
                  </a:lnTo>
                  <a:lnTo>
                    <a:pt x="11" y="40"/>
                  </a:lnTo>
                  <a:lnTo>
                    <a:pt x="0" y="29"/>
                  </a:lnTo>
                  <a:lnTo>
                    <a:pt x="0" y="15"/>
                  </a:lnTo>
                  <a:lnTo>
                    <a:pt x="4" y="4"/>
                  </a:lnTo>
                  <a:lnTo>
                    <a:pt x="26" y="7"/>
                  </a:lnTo>
                  <a:lnTo>
                    <a:pt x="60" y="7"/>
                  </a:lnTo>
                  <a:lnTo>
                    <a:pt x="67" y="18"/>
                  </a:lnTo>
                  <a:lnTo>
                    <a:pt x="104" y="18"/>
                  </a:lnTo>
                  <a:lnTo>
                    <a:pt x="130" y="18"/>
                  </a:lnTo>
                  <a:lnTo>
                    <a:pt x="164" y="11"/>
                  </a:lnTo>
                  <a:lnTo>
                    <a:pt x="205" y="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3" name="Freeform 444"/>
            <p:cNvSpPr>
              <a:spLocks/>
            </p:cNvSpPr>
            <p:nvPr/>
          </p:nvSpPr>
          <p:spPr bwMode="auto">
            <a:xfrm>
              <a:off x="2847" y="2945"/>
              <a:ext cx="70" cy="114"/>
            </a:xfrm>
            <a:custGeom>
              <a:avLst/>
              <a:gdLst>
                <a:gd name="T0" fmla="*/ 67 w 67"/>
                <a:gd name="T1" fmla="*/ 0 h 122"/>
                <a:gd name="T2" fmla="*/ 45 w 67"/>
                <a:gd name="T3" fmla="*/ 26 h 122"/>
                <a:gd name="T4" fmla="*/ 19 w 67"/>
                <a:gd name="T5" fmla="*/ 26 h 122"/>
                <a:gd name="T6" fmla="*/ 0 w 67"/>
                <a:gd name="T7" fmla="*/ 41 h 122"/>
                <a:gd name="T8" fmla="*/ 4 w 67"/>
                <a:gd name="T9" fmla="*/ 62 h 122"/>
                <a:gd name="T10" fmla="*/ 4 w 67"/>
                <a:gd name="T11" fmla="*/ 96 h 122"/>
                <a:gd name="T12" fmla="*/ 19 w 67"/>
                <a:gd name="T13" fmla="*/ 122 h 122"/>
                <a:gd name="T14" fmla="*/ 37 w 67"/>
                <a:gd name="T15" fmla="*/ 115 h 122"/>
                <a:gd name="T16" fmla="*/ 41 w 67"/>
                <a:gd name="T17" fmla="*/ 100 h 122"/>
                <a:gd name="T18" fmla="*/ 60 w 67"/>
                <a:gd name="T19" fmla="*/ 66 h 122"/>
                <a:gd name="T20" fmla="*/ 60 w 67"/>
                <a:gd name="T21" fmla="*/ 48 h 122"/>
                <a:gd name="T22" fmla="*/ 67 w 67"/>
                <a:gd name="T2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122">
                  <a:moveTo>
                    <a:pt x="67" y="0"/>
                  </a:moveTo>
                  <a:lnTo>
                    <a:pt x="45" y="26"/>
                  </a:lnTo>
                  <a:lnTo>
                    <a:pt x="19" y="26"/>
                  </a:lnTo>
                  <a:lnTo>
                    <a:pt x="0" y="41"/>
                  </a:lnTo>
                  <a:lnTo>
                    <a:pt x="4" y="62"/>
                  </a:lnTo>
                  <a:lnTo>
                    <a:pt x="4" y="96"/>
                  </a:lnTo>
                  <a:lnTo>
                    <a:pt x="19" y="122"/>
                  </a:lnTo>
                  <a:lnTo>
                    <a:pt x="37" y="115"/>
                  </a:lnTo>
                  <a:lnTo>
                    <a:pt x="41" y="100"/>
                  </a:lnTo>
                  <a:lnTo>
                    <a:pt x="60" y="66"/>
                  </a:lnTo>
                  <a:lnTo>
                    <a:pt x="60" y="48"/>
                  </a:lnTo>
                  <a:lnTo>
                    <a:pt x="67" y="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4" name="Freeform 445"/>
            <p:cNvSpPr>
              <a:spLocks/>
            </p:cNvSpPr>
            <p:nvPr/>
          </p:nvSpPr>
          <p:spPr bwMode="auto">
            <a:xfrm>
              <a:off x="3645" y="3071"/>
              <a:ext cx="452" cy="363"/>
            </a:xfrm>
            <a:custGeom>
              <a:avLst/>
              <a:gdLst>
                <a:gd name="T0" fmla="*/ 78 w 429"/>
                <a:gd name="T1" fmla="*/ 102 h 386"/>
                <a:gd name="T2" fmla="*/ 55 w 429"/>
                <a:gd name="T3" fmla="*/ 167 h 386"/>
                <a:gd name="T4" fmla="*/ 44 w 429"/>
                <a:gd name="T5" fmla="*/ 182 h 386"/>
                <a:gd name="T6" fmla="*/ 24 w 429"/>
                <a:gd name="T7" fmla="*/ 200 h 386"/>
                <a:gd name="T8" fmla="*/ 0 w 429"/>
                <a:gd name="T9" fmla="*/ 204 h 386"/>
                <a:gd name="T10" fmla="*/ 31 w 429"/>
                <a:gd name="T11" fmla="*/ 260 h 386"/>
                <a:gd name="T12" fmla="*/ 57 w 429"/>
                <a:gd name="T13" fmla="*/ 260 h 386"/>
                <a:gd name="T14" fmla="*/ 48 w 429"/>
                <a:gd name="T15" fmla="*/ 278 h 386"/>
                <a:gd name="T16" fmla="*/ 57 w 429"/>
                <a:gd name="T17" fmla="*/ 308 h 386"/>
                <a:gd name="T18" fmla="*/ 76 w 429"/>
                <a:gd name="T19" fmla="*/ 330 h 386"/>
                <a:gd name="T20" fmla="*/ 91 w 429"/>
                <a:gd name="T21" fmla="*/ 317 h 386"/>
                <a:gd name="T22" fmla="*/ 107 w 429"/>
                <a:gd name="T23" fmla="*/ 319 h 386"/>
                <a:gd name="T24" fmla="*/ 159 w 429"/>
                <a:gd name="T25" fmla="*/ 325 h 386"/>
                <a:gd name="T26" fmla="*/ 190 w 429"/>
                <a:gd name="T27" fmla="*/ 341 h 386"/>
                <a:gd name="T28" fmla="*/ 207 w 429"/>
                <a:gd name="T29" fmla="*/ 362 h 386"/>
                <a:gd name="T30" fmla="*/ 229 w 429"/>
                <a:gd name="T31" fmla="*/ 353 h 386"/>
                <a:gd name="T32" fmla="*/ 270 w 429"/>
                <a:gd name="T33" fmla="*/ 386 h 386"/>
                <a:gd name="T34" fmla="*/ 277 w 429"/>
                <a:gd name="T35" fmla="*/ 367 h 386"/>
                <a:gd name="T36" fmla="*/ 276 w 429"/>
                <a:gd name="T37" fmla="*/ 336 h 386"/>
                <a:gd name="T38" fmla="*/ 259 w 429"/>
                <a:gd name="T39" fmla="*/ 323 h 386"/>
                <a:gd name="T40" fmla="*/ 215 w 429"/>
                <a:gd name="T41" fmla="*/ 295 h 386"/>
                <a:gd name="T42" fmla="*/ 189 w 429"/>
                <a:gd name="T43" fmla="*/ 286 h 386"/>
                <a:gd name="T44" fmla="*/ 179 w 429"/>
                <a:gd name="T45" fmla="*/ 273 h 386"/>
                <a:gd name="T46" fmla="*/ 194 w 429"/>
                <a:gd name="T47" fmla="*/ 258 h 386"/>
                <a:gd name="T48" fmla="*/ 183 w 429"/>
                <a:gd name="T49" fmla="*/ 236 h 386"/>
                <a:gd name="T50" fmla="*/ 202 w 429"/>
                <a:gd name="T51" fmla="*/ 245 h 386"/>
                <a:gd name="T52" fmla="*/ 215 w 429"/>
                <a:gd name="T53" fmla="*/ 238 h 386"/>
                <a:gd name="T54" fmla="*/ 190 w 429"/>
                <a:gd name="T55" fmla="*/ 202 h 386"/>
                <a:gd name="T56" fmla="*/ 170 w 429"/>
                <a:gd name="T57" fmla="*/ 160 h 386"/>
                <a:gd name="T58" fmla="*/ 165 w 429"/>
                <a:gd name="T59" fmla="*/ 134 h 386"/>
                <a:gd name="T60" fmla="*/ 176 w 429"/>
                <a:gd name="T61" fmla="*/ 117 h 386"/>
                <a:gd name="T62" fmla="*/ 185 w 429"/>
                <a:gd name="T63" fmla="*/ 139 h 386"/>
                <a:gd name="T64" fmla="*/ 190 w 429"/>
                <a:gd name="T65" fmla="*/ 147 h 386"/>
                <a:gd name="T66" fmla="*/ 227 w 429"/>
                <a:gd name="T67" fmla="*/ 176 h 386"/>
                <a:gd name="T68" fmla="*/ 231 w 429"/>
                <a:gd name="T69" fmla="*/ 156 h 386"/>
                <a:gd name="T70" fmla="*/ 257 w 429"/>
                <a:gd name="T71" fmla="*/ 176 h 386"/>
                <a:gd name="T72" fmla="*/ 246 w 429"/>
                <a:gd name="T73" fmla="*/ 152 h 386"/>
                <a:gd name="T74" fmla="*/ 257 w 429"/>
                <a:gd name="T75" fmla="*/ 141 h 386"/>
                <a:gd name="T76" fmla="*/ 287 w 429"/>
                <a:gd name="T77" fmla="*/ 148 h 386"/>
                <a:gd name="T78" fmla="*/ 274 w 429"/>
                <a:gd name="T79" fmla="*/ 130 h 386"/>
                <a:gd name="T80" fmla="*/ 246 w 429"/>
                <a:gd name="T81" fmla="*/ 113 h 386"/>
                <a:gd name="T82" fmla="*/ 248 w 429"/>
                <a:gd name="T83" fmla="*/ 98 h 386"/>
                <a:gd name="T84" fmla="*/ 298 w 429"/>
                <a:gd name="T85" fmla="*/ 87 h 386"/>
                <a:gd name="T86" fmla="*/ 349 w 429"/>
                <a:gd name="T87" fmla="*/ 82 h 386"/>
                <a:gd name="T88" fmla="*/ 377 w 429"/>
                <a:gd name="T89" fmla="*/ 87 h 386"/>
                <a:gd name="T90" fmla="*/ 405 w 429"/>
                <a:gd name="T91" fmla="*/ 76 h 386"/>
                <a:gd name="T92" fmla="*/ 427 w 429"/>
                <a:gd name="T93" fmla="*/ 48 h 386"/>
                <a:gd name="T94" fmla="*/ 427 w 429"/>
                <a:gd name="T95" fmla="*/ 6 h 386"/>
                <a:gd name="T96" fmla="*/ 407 w 429"/>
                <a:gd name="T97" fmla="*/ 0 h 386"/>
                <a:gd name="T98" fmla="*/ 401 w 429"/>
                <a:gd name="T99" fmla="*/ 20 h 386"/>
                <a:gd name="T100" fmla="*/ 388 w 429"/>
                <a:gd name="T101" fmla="*/ 35 h 386"/>
                <a:gd name="T102" fmla="*/ 370 w 429"/>
                <a:gd name="T103" fmla="*/ 45 h 386"/>
                <a:gd name="T104" fmla="*/ 337 w 429"/>
                <a:gd name="T105" fmla="*/ 33 h 386"/>
                <a:gd name="T106" fmla="*/ 305 w 429"/>
                <a:gd name="T107" fmla="*/ 20 h 386"/>
                <a:gd name="T108" fmla="*/ 270 w 429"/>
                <a:gd name="T109" fmla="*/ 45 h 386"/>
                <a:gd name="T110" fmla="*/ 231 w 429"/>
                <a:gd name="T111" fmla="*/ 56 h 386"/>
                <a:gd name="T112" fmla="*/ 202 w 429"/>
                <a:gd name="T113" fmla="*/ 61 h 386"/>
                <a:gd name="T114" fmla="*/ 183 w 429"/>
                <a:gd name="T115" fmla="*/ 78 h 386"/>
                <a:gd name="T116" fmla="*/ 153 w 429"/>
                <a:gd name="T117" fmla="*/ 82 h 386"/>
                <a:gd name="T118" fmla="*/ 126 w 429"/>
                <a:gd name="T119" fmla="*/ 97 h 386"/>
                <a:gd name="T120" fmla="*/ 98 w 429"/>
                <a:gd name="T121" fmla="*/ 9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9" h="386">
                  <a:moveTo>
                    <a:pt x="87" y="95"/>
                  </a:moveTo>
                  <a:lnTo>
                    <a:pt x="78" y="102"/>
                  </a:lnTo>
                  <a:lnTo>
                    <a:pt x="68" y="135"/>
                  </a:lnTo>
                  <a:lnTo>
                    <a:pt x="55" y="167"/>
                  </a:lnTo>
                  <a:lnTo>
                    <a:pt x="50" y="171"/>
                  </a:lnTo>
                  <a:lnTo>
                    <a:pt x="44" y="182"/>
                  </a:lnTo>
                  <a:lnTo>
                    <a:pt x="37" y="193"/>
                  </a:lnTo>
                  <a:lnTo>
                    <a:pt x="24" y="200"/>
                  </a:lnTo>
                  <a:lnTo>
                    <a:pt x="13" y="204"/>
                  </a:lnTo>
                  <a:lnTo>
                    <a:pt x="0" y="204"/>
                  </a:lnTo>
                  <a:lnTo>
                    <a:pt x="17" y="241"/>
                  </a:lnTo>
                  <a:lnTo>
                    <a:pt x="31" y="260"/>
                  </a:lnTo>
                  <a:lnTo>
                    <a:pt x="44" y="260"/>
                  </a:lnTo>
                  <a:lnTo>
                    <a:pt x="57" y="260"/>
                  </a:lnTo>
                  <a:lnTo>
                    <a:pt x="61" y="269"/>
                  </a:lnTo>
                  <a:lnTo>
                    <a:pt x="48" y="278"/>
                  </a:lnTo>
                  <a:lnTo>
                    <a:pt x="48" y="290"/>
                  </a:lnTo>
                  <a:lnTo>
                    <a:pt x="57" y="308"/>
                  </a:lnTo>
                  <a:lnTo>
                    <a:pt x="68" y="323"/>
                  </a:lnTo>
                  <a:lnTo>
                    <a:pt x="76" y="330"/>
                  </a:lnTo>
                  <a:lnTo>
                    <a:pt x="80" y="319"/>
                  </a:lnTo>
                  <a:lnTo>
                    <a:pt x="91" y="317"/>
                  </a:lnTo>
                  <a:lnTo>
                    <a:pt x="104" y="328"/>
                  </a:lnTo>
                  <a:lnTo>
                    <a:pt x="107" y="319"/>
                  </a:lnTo>
                  <a:lnTo>
                    <a:pt x="128" y="321"/>
                  </a:lnTo>
                  <a:lnTo>
                    <a:pt x="159" y="325"/>
                  </a:lnTo>
                  <a:lnTo>
                    <a:pt x="181" y="332"/>
                  </a:lnTo>
                  <a:lnTo>
                    <a:pt x="190" y="341"/>
                  </a:lnTo>
                  <a:lnTo>
                    <a:pt x="200" y="354"/>
                  </a:lnTo>
                  <a:lnTo>
                    <a:pt x="207" y="362"/>
                  </a:lnTo>
                  <a:lnTo>
                    <a:pt x="216" y="354"/>
                  </a:lnTo>
                  <a:lnTo>
                    <a:pt x="229" y="353"/>
                  </a:lnTo>
                  <a:lnTo>
                    <a:pt x="248" y="366"/>
                  </a:lnTo>
                  <a:lnTo>
                    <a:pt x="270" y="386"/>
                  </a:lnTo>
                  <a:lnTo>
                    <a:pt x="276" y="382"/>
                  </a:lnTo>
                  <a:lnTo>
                    <a:pt x="277" y="367"/>
                  </a:lnTo>
                  <a:lnTo>
                    <a:pt x="277" y="351"/>
                  </a:lnTo>
                  <a:lnTo>
                    <a:pt x="276" y="336"/>
                  </a:lnTo>
                  <a:lnTo>
                    <a:pt x="266" y="319"/>
                  </a:lnTo>
                  <a:lnTo>
                    <a:pt x="259" y="323"/>
                  </a:lnTo>
                  <a:lnTo>
                    <a:pt x="242" y="315"/>
                  </a:lnTo>
                  <a:lnTo>
                    <a:pt x="215" y="295"/>
                  </a:lnTo>
                  <a:lnTo>
                    <a:pt x="207" y="288"/>
                  </a:lnTo>
                  <a:lnTo>
                    <a:pt x="189" y="286"/>
                  </a:lnTo>
                  <a:lnTo>
                    <a:pt x="179" y="280"/>
                  </a:lnTo>
                  <a:lnTo>
                    <a:pt x="179" y="273"/>
                  </a:lnTo>
                  <a:lnTo>
                    <a:pt x="190" y="262"/>
                  </a:lnTo>
                  <a:lnTo>
                    <a:pt x="194" y="258"/>
                  </a:lnTo>
                  <a:lnTo>
                    <a:pt x="187" y="249"/>
                  </a:lnTo>
                  <a:lnTo>
                    <a:pt x="183" y="236"/>
                  </a:lnTo>
                  <a:lnTo>
                    <a:pt x="187" y="230"/>
                  </a:lnTo>
                  <a:lnTo>
                    <a:pt x="202" y="245"/>
                  </a:lnTo>
                  <a:lnTo>
                    <a:pt x="215" y="251"/>
                  </a:lnTo>
                  <a:lnTo>
                    <a:pt x="215" y="238"/>
                  </a:lnTo>
                  <a:lnTo>
                    <a:pt x="207" y="223"/>
                  </a:lnTo>
                  <a:lnTo>
                    <a:pt x="190" y="202"/>
                  </a:lnTo>
                  <a:lnTo>
                    <a:pt x="172" y="174"/>
                  </a:lnTo>
                  <a:lnTo>
                    <a:pt x="170" y="160"/>
                  </a:lnTo>
                  <a:lnTo>
                    <a:pt x="168" y="147"/>
                  </a:lnTo>
                  <a:lnTo>
                    <a:pt x="165" y="134"/>
                  </a:lnTo>
                  <a:lnTo>
                    <a:pt x="163" y="121"/>
                  </a:lnTo>
                  <a:lnTo>
                    <a:pt x="176" y="117"/>
                  </a:lnTo>
                  <a:lnTo>
                    <a:pt x="174" y="126"/>
                  </a:lnTo>
                  <a:lnTo>
                    <a:pt x="185" y="139"/>
                  </a:lnTo>
                  <a:lnTo>
                    <a:pt x="192" y="139"/>
                  </a:lnTo>
                  <a:lnTo>
                    <a:pt x="190" y="147"/>
                  </a:lnTo>
                  <a:lnTo>
                    <a:pt x="226" y="182"/>
                  </a:lnTo>
                  <a:lnTo>
                    <a:pt x="227" y="176"/>
                  </a:lnTo>
                  <a:lnTo>
                    <a:pt x="220" y="160"/>
                  </a:lnTo>
                  <a:lnTo>
                    <a:pt x="231" y="156"/>
                  </a:lnTo>
                  <a:lnTo>
                    <a:pt x="248" y="163"/>
                  </a:lnTo>
                  <a:lnTo>
                    <a:pt x="257" y="176"/>
                  </a:lnTo>
                  <a:lnTo>
                    <a:pt x="259" y="167"/>
                  </a:lnTo>
                  <a:lnTo>
                    <a:pt x="246" y="152"/>
                  </a:lnTo>
                  <a:lnTo>
                    <a:pt x="248" y="145"/>
                  </a:lnTo>
                  <a:lnTo>
                    <a:pt x="257" y="141"/>
                  </a:lnTo>
                  <a:lnTo>
                    <a:pt x="281" y="152"/>
                  </a:lnTo>
                  <a:lnTo>
                    <a:pt x="287" y="148"/>
                  </a:lnTo>
                  <a:lnTo>
                    <a:pt x="285" y="137"/>
                  </a:lnTo>
                  <a:lnTo>
                    <a:pt x="274" y="130"/>
                  </a:lnTo>
                  <a:lnTo>
                    <a:pt x="257" y="122"/>
                  </a:lnTo>
                  <a:lnTo>
                    <a:pt x="246" y="113"/>
                  </a:lnTo>
                  <a:lnTo>
                    <a:pt x="244" y="106"/>
                  </a:lnTo>
                  <a:lnTo>
                    <a:pt x="248" y="98"/>
                  </a:lnTo>
                  <a:lnTo>
                    <a:pt x="272" y="95"/>
                  </a:lnTo>
                  <a:lnTo>
                    <a:pt x="298" y="87"/>
                  </a:lnTo>
                  <a:lnTo>
                    <a:pt x="316" y="89"/>
                  </a:lnTo>
                  <a:lnTo>
                    <a:pt x="349" y="82"/>
                  </a:lnTo>
                  <a:lnTo>
                    <a:pt x="355" y="78"/>
                  </a:lnTo>
                  <a:lnTo>
                    <a:pt x="377" y="87"/>
                  </a:lnTo>
                  <a:lnTo>
                    <a:pt x="396" y="97"/>
                  </a:lnTo>
                  <a:lnTo>
                    <a:pt x="405" y="76"/>
                  </a:lnTo>
                  <a:lnTo>
                    <a:pt x="422" y="54"/>
                  </a:lnTo>
                  <a:lnTo>
                    <a:pt x="427" y="48"/>
                  </a:lnTo>
                  <a:lnTo>
                    <a:pt x="429" y="9"/>
                  </a:lnTo>
                  <a:lnTo>
                    <a:pt x="427" y="6"/>
                  </a:lnTo>
                  <a:lnTo>
                    <a:pt x="418" y="0"/>
                  </a:lnTo>
                  <a:lnTo>
                    <a:pt x="407" y="0"/>
                  </a:lnTo>
                  <a:lnTo>
                    <a:pt x="401" y="6"/>
                  </a:lnTo>
                  <a:lnTo>
                    <a:pt x="401" y="20"/>
                  </a:lnTo>
                  <a:lnTo>
                    <a:pt x="403" y="32"/>
                  </a:lnTo>
                  <a:lnTo>
                    <a:pt x="388" y="35"/>
                  </a:lnTo>
                  <a:lnTo>
                    <a:pt x="377" y="43"/>
                  </a:lnTo>
                  <a:lnTo>
                    <a:pt x="370" y="45"/>
                  </a:lnTo>
                  <a:lnTo>
                    <a:pt x="346" y="39"/>
                  </a:lnTo>
                  <a:lnTo>
                    <a:pt x="337" y="33"/>
                  </a:lnTo>
                  <a:lnTo>
                    <a:pt x="324" y="41"/>
                  </a:lnTo>
                  <a:lnTo>
                    <a:pt x="305" y="20"/>
                  </a:lnTo>
                  <a:lnTo>
                    <a:pt x="285" y="35"/>
                  </a:lnTo>
                  <a:lnTo>
                    <a:pt x="270" y="45"/>
                  </a:lnTo>
                  <a:lnTo>
                    <a:pt x="255" y="52"/>
                  </a:lnTo>
                  <a:lnTo>
                    <a:pt x="231" y="56"/>
                  </a:lnTo>
                  <a:lnTo>
                    <a:pt x="215" y="61"/>
                  </a:lnTo>
                  <a:lnTo>
                    <a:pt x="202" y="61"/>
                  </a:lnTo>
                  <a:lnTo>
                    <a:pt x="196" y="63"/>
                  </a:lnTo>
                  <a:lnTo>
                    <a:pt x="183" y="78"/>
                  </a:lnTo>
                  <a:lnTo>
                    <a:pt x="172" y="78"/>
                  </a:lnTo>
                  <a:lnTo>
                    <a:pt x="153" y="82"/>
                  </a:lnTo>
                  <a:lnTo>
                    <a:pt x="135" y="80"/>
                  </a:lnTo>
                  <a:lnTo>
                    <a:pt x="126" y="97"/>
                  </a:lnTo>
                  <a:lnTo>
                    <a:pt x="111" y="98"/>
                  </a:lnTo>
                  <a:lnTo>
                    <a:pt x="98" y="97"/>
                  </a:lnTo>
                  <a:lnTo>
                    <a:pt x="87" y="95"/>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5" name="Freeform 446"/>
            <p:cNvSpPr>
              <a:spLocks/>
            </p:cNvSpPr>
            <p:nvPr/>
          </p:nvSpPr>
          <p:spPr bwMode="auto">
            <a:xfrm>
              <a:off x="3442" y="1785"/>
              <a:ext cx="39" cy="87"/>
            </a:xfrm>
            <a:custGeom>
              <a:avLst/>
              <a:gdLst>
                <a:gd name="T0" fmla="*/ 37 w 37"/>
                <a:gd name="T1" fmla="*/ 0 h 92"/>
                <a:gd name="T2" fmla="*/ 35 w 37"/>
                <a:gd name="T3" fmla="*/ 31 h 92"/>
                <a:gd name="T4" fmla="*/ 24 w 37"/>
                <a:gd name="T5" fmla="*/ 55 h 92"/>
                <a:gd name="T6" fmla="*/ 7 w 37"/>
                <a:gd name="T7" fmla="*/ 70 h 92"/>
                <a:gd name="T8" fmla="*/ 11 w 37"/>
                <a:gd name="T9" fmla="*/ 86 h 92"/>
                <a:gd name="T10" fmla="*/ 4 w 37"/>
                <a:gd name="T11" fmla="*/ 92 h 92"/>
                <a:gd name="T12" fmla="*/ 0 w 37"/>
                <a:gd name="T13" fmla="*/ 72 h 92"/>
                <a:gd name="T14" fmla="*/ 6 w 37"/>
                <a:gd name="T15" fmla="*/ 57 h 92"/>
                <a:gd name="T16" fmla="*/ 11 w 37"/>
                <a:gd name="T17" fmla="*/ 40 h 92"/>
                <a:gd name="T18" fmla="*/ 37 w 37"/>
                <a:gd name="T1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92">
                  <a:moveTo>
                    <a:pt x="37" y="0"/>
                  </a:moveTo>
                  <a:lnTo>
                    <a:pt x="35" y="31"/>
                  </a:lnTo>
                  <a:lnTo>
                    <a:pt x="24" y="55"/>
                  </a:lnTo>
                  <a:lnTo>
                    <a:pt x="7" y="70"/>
                  </a:lnTo>
                  <a:lnTo>
                    <a:pt x="11" y="86"/>
                  </a:lnTo>
                  <a:lnTo>
                    <a:pt x="4" y="92"/>
                  </a:lnTo>
                  <a:lnTo>
                    <a:pt x="0" y="72"/>
                  </a:lnTo>
                  <a:lnTo>
                    <a:pt x="6" y="57"/>
                  </a:lnTo>
                  <a:lnTo>
                    <a:pt x="11" y="40"/>
                  </a:lnTo>
                  <a:lnTo>
                    <a:pt x="37"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6" name="Freeform 447"/>
            <p:cNvSpPr>
              <a:spLocks/>
            </p:cNvSpPr>
            <p:nvPr/>
          </p:nvSpPr>
          <p:spPr bwMode="auto">
            <a:xfrm>
              <a:off x="3530" y="1743"/>
              <a:ext cx="50" cy="72"/>
            </a:xfrm>
            <a:custGeom>
              <a:avLst/>
              <a:gdLst>
                <a:gd name="T0" fmla="*/ 39 w 50"/>
                <a:gd name="T1" fmla="*/ 0 h 73"/>
                <a:gd name="T2" fmla="*/ 50 w 50"/>
                <a:gd name="T3" fmla="*/ 0 h 73"/>
                <a:gd name="T4" fmla="*/ 37 w 50"/>
                <a:gd name="T5" fmla="*/ 15 h 73"/>
                <a:gd name="T6" fmla="*/ 35 w 50"/>
                <a:gd name="T7" fmla="*/ 26 h 73"/>
                <a:gd name="T8" fmla="*/ 39 w 50"/>
                <a:gd name="T9" fmla="*/ 41 h 73"/>
                <a:gd name="T10" fmla="*/ 26 w 50"/>
                <a:gd name="T11" fmla="*/ 56 h 73"/>
                <a:gd name="T12" fmla="*/ 9 w 50"/>
                <a:gd name="T13" fmla="*/ 73 h 73"/>
                <a:gd name="T14" fmla="*/ 6 w 50"/>
                <a:gd name="T15" fmla="*/ 56 h 73"/>
                <a:gd name="T16" fmla="*/ 0 w 50"/>
                <a:gd name="T17" fmla="*/ 49 h 73"/>
                <a:gd name="T18" fmla="*/ 0 w 50"/>
                <a:gd name="T19" fmla="*/ 36 h 73"/>
                <a:gd name="T20" fmla="*/ 15 w 50"/>
                <a:gd name="T21" fmla="*/ 22 h 73"/>
                <a:gd name="T22" fmla="*/ 39 w 50"/>
                <a:gd name="T2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3">
                  <a:moveTo>
                    <a:pt x="39" y="0"/>
                  </a:moveTo>
                  <a:lnTo>
                    <a:pt x="50" y="0"/>
                  </a:lnTo>
                  <a:lnTo>
                    <a:pt x="37" y="15"/>
                  </a:lnTo>
                  <a:lnTo>
                    <a:pt x="35" y="26"/>
                  </a:lnTo>
                  <a:lnTo>
                    <a:pt x="39" y="41"/>
                  </a:lnTo>
                  <a:lnTo>
                    <a:pt x="26" y="56"/>
                  </a:lnTo>
                  <a:lnTo>
                    <a:pt x="9" y="73"/>
                  </a:lnTo>
                  <a:lnTo>
                    <a:pt x="6" y="56"/>
                  </a:lnTo>
                  <a:lnTo>
                    <a:pt x="0" y="49"/>
                  </a:lnTo>
                  <a:lnTo>
                    <a:pt x="0" y="36"/>
                  </a:lnTo>
                  <a:lnTo>
                    <a:pt x="15" y="22"/>
                  </a:lnTo>
                  <a:lnTo>
                    <a:pt x="39"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7" name="Freeform 448"/>
            <p:cNvSpPr>
              <a:spLocks/>
            </p:cNvSpPr>
            <p:nvPr/>
          </p:nvSpPr>
          <p:spPr bwMode="auto">
            <a:xfrm>
              <a:off x="3214" y="1002"/>
              <a:ext cx="584" cy="935"/>
            </a:xfrm>
            <a:custGeom>
              <a:avLst/>
              <a:gdLst>
                <a:gd name="T0" fmla="*/ 564 w 584"/>
                <a:gd name="T1" fmla="*/ 30 h 935"/>
                <a:gd name="T2" fmla="*/ 584 w 584"/>
                <a:gd name="T3" fmla="*/ 72 h 935"/>
                <a:gd name="T4" fmla="*/ 510 w 584"/>
                <a:gd name="T5" fmla="*/ 76 h 935"/>
                <a:gd name="T6" fmla="*/ 494 w 584"/>
                <a:gd name="T7" fmla="*/ 107 h 935"/>
                <a:gd name="T8" fmla="*/ 471 w 584"/>
                <a:gd name="T9" fmla="*/ 150 h 935"/>
                <a:gd name="T10" fmla="*/ 475 w 584"/>
                <a:gd name="T11" fmla="*/ 191 h 935"/>
                <a:gd name="T12" fmla="*/ 447 w 584"/>
                <a:gd name="T13" fmla="*/ 226 h 935"/>
                <a:gd name="T14" fmla="*/ 400 w 584"/>
                <a:gd name="T15" fmla="*/ 265 h 935"/>
                <a:gd name="T16" fmla="*/ 361 w 584"/>
                <a:gd name="T17" fmla="*/ 292 h 935"/>
                <a:gd name="T18" fmla="*/ 317 w 584"/>
                <a:gd name="T19" fmla="*/ 335 h 935"/>
                <a:gd name="T20" fmla="*/ 305 w 584"/>
                <a:gd name="T21" fmla="*/ 366 h 935"/>
                <a:gd name="T22" fmla="*/ 289 w 584"/>
                <a:gd name="T23" fmla="*/ 421 h 935"/>
                <a:gd name="T24" fmla="*/ 297 w 584"/>
                <a:gd name="T25" fmla="*/ 502 h 935"/>
                <a:gd name="T26" fmla="*/ 349 w 584"/>
                <a:gd name="T27" fmla="*/ 565 h 935"/>
                <a:gd name="T28" fmla="*/ 333 w 584"/>
                <a:gd name="T29" fmla="*/ 604 h 935"/>
                <a:gd name="T30" fmla="*/ 297 w 584"/>
                <a:gd name="T31" fmla="*/ 594 h 935"/>
                <a:gd name="T32" fmla="*/ 233 w 584"/>
                <a:gd name="T33" fmla="*/ 599 h 935"/>
                <a:gd name="T34" fmla="*/ 281 w 584"/>
                <a:gd name="T35" fmla="*/ 607 h 935"/>
                <a:gd name="T36" fmla="*/ 329 w 584"/>
                <a:gd name="T37" fmla="*/ 632 h 935"/>
                <a:gd name="T38" fmla="*/ 297 w 584"/>
                <a:gd name="T39" fmla="*/ 642 h 935"/>
                <a:gd name="T40" fmla="*/ 269 w 584"/>
                <a:gd name="T41" fmla="*/ 680 h 935"/>
                <a:gd name="T42" fmla="*/ 258 w 584"/>
                <a:gd name="T43" fmla="*/ 705 h 935"/>
                <a:gd name="T44" fmla="*/ 243 w 584"/>
                <a:gd name="T45" fmla="*/ 758 h 935"/>
                <a:gd name="T46" fmla="*/ 226 w 584"/>
                <a:gd name="T47" fmla="*/ 824 h 935"/>
                <a:gd name="T48" fmla="*/ 194 w 584"/>
                <a:gd name="T49" fmla="*/ 880 h 935"/>
                <a:gd name="T50" fmla="*/ 137 w 584"/>
                <a:gd name="T51" fmla="*/ 887 h 935"/>
                <a:gd name="T52" fmla="*/ 117 w 584"/>
                <a:gd name="T53" fmla="*/ 906 h 935"/>
                <a:gd name="T54" fmla="*/ 82 w 584"/>
                <a:gd name="T55" fmla="*/ 925 h 935"/>
                <a:gd name="T56" fmla="*/ 39 w 584"/>
                <a:gd name="T57" fmla="*/ 925 h 935"/>
                <a:gd name="T58" fmla="*/ 34 w 584"/>
                <a:gd name="T59" fmla="*/ 869 h 935"/>
                <a:gd name="T60" fmla="*/ 39 w 584"/>
                <a:gd name="T61" fmla="*/ 848 h 935"/>
                <a:gd name="T62" fmla="*/ 51 w 584"/>
                <a:gd name="T63" fmla="*/ 827 h 935"/>
                <a:gd name="T64" fmla="*/ 23 w 584"/>
                <a:gd name="T65" fmla="*/ 786 h 935"/>
                <a:gd name="T66" fmla="*/ 5 w 584"/>
                <a:gd name="T67" fmla="*/ 737 h 935"/>
                <a:gd name="T68" fmla="*/ 5 w 584"/>
                <a:gd name="T69" fmla="*/ 667 h 935"/>
                <a:gd name="T70" fmla="*/ 7 w 584"/>
                <a:gd name="T71" fmla="*/ 618 h 935"/>
                <a:gd name="T72" fmla="*/ 31 w 584"/>
                <a:gd name="T73" fmla="*/ 561 h 935"/>
                <a:gd name="T74" fmla="*/ 74 w 584"/>
                <a:gd name="T75" fmla="*/ 526 h 935"/>
                <a:gd name="T76" fmla="*/ 62 w 584"/>
                <a:gd name="T77" fmla="*/ 450 h 935"/>
                <a:gd name="T78" fmla="*/ 90 w 584"/>
                <a:gd name="T79" fmla="*/ 421 h 935"/>
                <a:gd name="T80" fmla="*/ 67 w 584"/>
                <a:gd name="T81" fmla="*/ 356 h 935"/>
                <a:gd name="T82" fmla="*/ 86 w 584"/>
                <a:gd name="T83" fmla="*/ 292 h 935"/>
                <a:gd name="T84" fmla="*/ 117 w 584"/>
                <a:gd name="T85" fmla="*/ 226 h 935"/>
                <a:gd name="T86" fmla="*/ 176 w 584"/>
                <a:gd name="T87" fmla="*/ 226 h 935"/>
                <a:gd name="T88" fmla="*/ 168 w 584"/>
                <a:gd name="T89" fmla="*/ 166 h 935"/>
                <a:gd name="T90" fmla="*/ 180 w 584"/>
                <a:gd name="T91" fmla="*/ 142 h 935"/>
                <a:gd name="T92" fmla="*/ 194 w 584"/>
                <a:gd name="T93" fmla="*/ 80 h 935"/>
                <a:gd name="T94" fmla="*/ 230 w 584"/>
                <a:gd name="T95" fmla="*/ 30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4" h="935">
                  <a:moveTo>
                    <a:pt x="242" y="0"/>
                  </a:moveTo>
                  <a:lnTo>
                    <a:pt x="560" y="2"/>
                  </a:lnTo>
                  <a:lnTo>
                    <a:pt x="564" y="30"/>
                  </a:lnTo>
                  <a:lnTo>
                    <a:pt x="577" y="48"/>
                  </a:lnTo>
                  <a:lnTo>
                    <a:pt x="584" y="65"/>
                  </a:lnTo>
                  <a:lnTo>
                    <a:pt x="584" y="72"/>
                  </a:lnTo>
                  <a:lnTo>
                    <a:pt x="573" y="76"/>
                  </a:lnTo>
                  <a:lnTo>
                    <a:pt x="522" y="76"/>
                  </a:lnTo>
                  <a:lnTo>
                    <a:pt x="510" y="76"/>
                  </a:lnTo>
                  <a:lnTo>
                    <a:pt x="502" y="82"/>
                  </a:lnTo>
                  <a:lnTo>
                    <a:pt x="502" y="97"/>
                  </a:lnTo>
                  <a:lnTo>
                    <a:pt x="494" y="107"/>
                  </a:lnTo>
                  <a:lnTo>
                    <a:pt x="471" y="125"/>
                  </a:lnTo>
                  <a:lnTo>
                    <a:pt x="475" y="140"/>
                  </a:lnTo>
                  <a:lnTo>
                    <a:pt x="471" y="150"/>
                  </a:lnTo>
                  <a:lnTo>
                    <a:pt x="463" y="156"/>
                  </a:lnTo>
                  <a:lnTo>
                    <a:pt x="471" y="178"/>
                  </a:lnTo>
                  <a:lnTo>
                    <a:pt x="475" y="191"/>
                  </a:lnTo>
                  <a:lnTo>
                    <a:pt x="467" y="202"/>
                  </a:lnTo>
                  <a:lnTo>
                    <a:pt x="452" y="213"/>
                  </a:lnTo>
                  <a:lnTo>
                    <a:pt x="447" y="226"/>
                  </a:lnTo>
                  <a:lnTo>
                    <a:pt x="444" y="244"/>
                  </a:lnTo>
                  <a:lnTo>
                    <a:pt x="416" y="255"/>
                  </a:lnTo>
                  <a:lnTo>
                    <a:pt x="400" y="265"/>
                  </a:lnTo>
                  <a:lnTo>
                    <a:pt x="377" y="279"/>
                  </a:lnTo>
                  <a:lnTo>
                    <a:pt x="379" y="289"/>
                  </a:lnTo>
                  <a:lnTo>
                    <a:pt x="361" y="292"/>
                  </a:lnTo>
                  <a:lnTo>
                    <a:pt x="353" y="299"/>
                  </a:lnTo>
                  <a:lnTo>
                    <a:pt x="333" y="325"/>
                  </a:lnTo>
                  <a:lnTo>
                    <a:pt x="317" y="335"/>
                  </a:lnTo>
                  <a:lnTo>
                    <a:pt x="322" y="352"/>
                  </a:lnTo>
                  <a:lnTo>
                    <a:pt x="313" y="358"/>
                  </a:lnTo>
                  <a:lnTo>
                    <a:pt x="305" y="366"/>
                  </a:lnTo>
                  <a:lnTo>
                    <a:pt x="313" y="394"/>
                  </a:lnTo>
                  <a:lnTo>
                    <a:pt x="308" y="411"/>
                  </a:lnTo>
                  <a:lnTo>
                    <a:pt x="289" y="421"/>
                  </a:lnTo>
                  <a:lnTo>
                    <a:pt x="285" y="450"/>
                  </a:lnTo>
                  <a:lnTo>
                    <a:pt x="289" y="484"/>
                  </a:lnTo>
                  <a:lnTo>
                    <a:pt x="297" y="502"/>
                  </a:lnTo>
                  <a:lnTo>
                    <a:pt x="325" y="524"/>
                  </a:lnTo>
                  <a:lnTo>
                    <a:pt x="337" y="544"/>
                  </a:lnTo>
                  <a:lnTo>
                    <a:pt x="349" y="565"/>
                  </a:lnTo>
                  <a:lnTo>
                    <a:pt x="356" y="579"/>
                  </a:lnTo>
                  <a:lnTo>
                    <a:pt x="349" y="594"/>
                  </a:lnTo>
                  <a:lnTo>
                    <a:pt x="333" y="604"/>
                  </a:lnTo>
                  <a:lnTo>
                    <a:pt x="322" y="599"/>
                  </a:lnTo>
                  <a:lnTo>
                    <a:pt x="313" y="589"/>
                  </a:lnTo>
                  <a:lnTo>
                    <a:pt x="297" y="594"/>
                  </a:lnTo>
                  <a:lnTo>
                    <a:pt x="292" y="604"/>
                  </a:lnTo>
                  <a:lnTo>
                    <a:pt x="269" y="604"/>
                  </a:lnTo>
                  <a:lnTo>
                    <a:pt x="233" y="599"/>
                  </a:lnTo>
                  <a:lnTo>
                    <a:pt x="226" y="607"/>
                  </a:lnTo>
                  <a:lnTo>
                    <a:pt x="249" y="618"/>
                  </a:lnTo>
                  <a:lnTo>
                    <a:pt x="281" y="607"/>
                  </a:lnTo>
                  <a:lnTo>
                    <a:pt x="289" y="620"/>
                  </a:lnTo>
                  <a:lnTo>
                    <a:pt x="313" y="625"/>
                  </a:lnTo>
                  <a:lnTo>
                    <a:pt x="329" y="632"/>
                  </a:lnTo>
                  <a:lnTo>
                    <a:pt x="322" y="638"/>
                  </a:lnTo>
                  <a:lnTo>
                    <a:pt x="300" y="635"/>
                  </a:lnTo>
                  <a:lnTo>
                    <a:pt x="297" y="642"/>
                  </a:lnTo>
                  <a:lnTo>
                    <a:pt x="300" y="652"/>
                  </a:lnTo>
                  <a:lnTo>
                    <a:pt x="289" y="667"/>
                  </a:lnTo>
                  <a:lnTo>
                    <a:pt x="269" y="680"/>
                  </a:lnTo>
                  <a:lnTo>
                    <a:pt x="261" y="684"/>
                  </a:lnTo>
                  <a:lnTo>
                    <a:pt x="254" y="688"/>
                  </a:lnTo>
                  <a:lnTo>
                    <a:pt x="258" y="705"/>
                  </a:lnTo>
                  <a:lnTo>
                    <a:pt x="249" y="715"/>
                  </a:lnTo>
                  <a:lnTo>
                    <a:pt x="238" y="737"/>
                  </a:lnTo>
                  <a:lnTo>
                    <a:pt x="243" y="758"/>
                  </a:lnTo>
                  <a:lnTo>
                    <a:pt x="233" y="789"/>
                  </a:lnTo>
                  <a:lnTo>
                    <a:pt x="226" y="803"/>
                  </a:lnTo>
                  <a:lnTo>
                    <a:pt x="226" y="824"/>
                  </a:lnTo>
                  <a:lnTo>
                    <a:pt x="215" y="837"/>
                  </a:lnTo>
                  <a:lnTo>
                    <a:pt x="199" y="863"/>
                  </a:lnTo>
                  <a:lnTo>
                    <a:pt x="194" y="880"/>
                  </a:lnTo>
                  <a:lnTo>
                    <a:pt x="168" y="876"/>
                  </a:lnTo>
                  <a:lnTo>
                    <a:pt x="140" y="876"/>
                  </a:lnTo>
                  <a:lnTo>
                    <a:pt x="137" y="887"/>
                  </a:lnTo>
                  <a:lnTo>
                    <a:pt x="121" y="890"/>
                  </a:lnTo>
                  <a:lnTo>
                    <a:pt x="113" y="895"/>
                  </a:lnTo>
                  <a:lnTo>
                    <a:pt x="117" y="906"/>
                  </a:lnTo>
                  <a:lnTo>
                    <a:pt x="113" y="925"/>
                  </a:lnTo>
                  <a:lnTo>
                    <a:pt x="93" y="935"/>
                  </a:lnTo>
                  <a:lnTo>
                    <a:pt x="82" y="925"/>
                  </a:lnTo>
                  <a:lnTo>
                    <a:pt x="67" y="935"/>
                  </a:lnTo>
                  <a:lnTo>
                    <a:pt x="46" y="935"/>
                  </a:lnTo>
                  <a:lnTo>
                    <a:pt x="39" y="925"/>
                  </a:lnTo>
                  <a:lnTo>
                    <a:pt x="46" y="917"/>
                  </a:lnTo>
                  <a:lnTo>
                    <a:pt x="51" y="897"/>
                  </a:lnTo>
                  <a:lnTo>
                    <a:pt x="34" y="869"/>
                  </a:lnTo>
                  <a:lnTo>
                    <a:pt x="28" y="856"/>
                  </a:lnTo>
                  <a:lnTo>
                    <a:pt x="31" y="848"/>
                  </a:lnTo>
                  <a:lnTo>
                    <a:pt x="39" y="848"/>
                  </a:lnTo>
                  <a:lnTo>
                    <a:pt x="44" y="842"/>
                  </a:lnTo>
                  <a:lnTo>
                    <a:pt x="46" y="834"/>
                  </a:lnTo>
                  <a:lnTo>
                    <a:pt x="51" y="827"/>
                  </a:lnTo>
                  <a:lnTo>
                    <a:pt x="46" y="821"/>
                  </a:lnTo>
                  <a:lnTo>
                    <a:pt x="39" y="806"/>
                  </a:lnTo>
                  <a:lnTo>
                    <a:pt x="23" y="786"/>
                  </a:lnTo>
                  <a:lnTo>
                    <a:pt x="28" y="764"/>
                  </a:lnTo>
                  <a:lnTo>
                    <a:pt x="16" y="748"/>
                  </a:lnTo>
                  <a:lnTo>
                    <a:pt x="5" y="737"/>
                  </a:lnTo>
                  <a:lnTo>
                    <a:pt x="11" y="719"/>
                  </a:lnTo>
                  <a:lnTo>
                    <a:pt x="20" y="684"/>
                  </a:lnTo>
                  <a:lnTo>
                    <a:pt x="5" y="667"/>
                  </a:lnTo>
                  <a:lnTo>
                    <a:pt x="0" y="649"/>
                  </a:lnTo>
                  <a:lnTo>
                    <a:pt x="0" y="638"/>
                  </a:lnTo>
                  <a:lnTo>
                    <a:pt x="7" y="618"/>
                  </a:lnTo>
                  <a:lnTo>
                    <a:pt x="20" y="620"/>
                  </a:lnTo>
                  <a:lnTo>
                    <a:pt x="31" y="594"/>
                  </a:lnTo>
                  <a:lnTo>
                    <a:pt x="31" y="561"/>
                  </a:lnTo>
                  <a:lnTo>
                    <a:pt x="34" y="551"/>
                  </a:lnTo>
                  <a:lnTo>
                    <a:pt x="51" y="541"/>
                  </a:lnTo>
                  <a:lnTo>
                    <a:pt x="74" y="526"/>
                  </a:lnTo>
                  <a:lnTo>
                    <a:pt x="74" y="510"/>
                  </a:lnTo>
                  <a:lnTo>
                    <a:pt x="70" y="457"/>
                  </a:lnTo>
                  <a:lnTo>
                    <a:pt x="62" y="450"/>
                  </a:lnTo>
                  <a:lnTo>
                    <a:pt x="62" y="435"/>
                  </a:lnTo>
                  <a:lnTo>
                    <a:pt x="82" y="428"/>
                  </a:lnTo>
                  <a:lnTo>
                    <a:pt x="90" y="421"/>
                  </a:lnTo>
                  <a:lnTo>
                    <a:pt x="78" y="401"/>
                  </a:lnTo>
                  <a:lnTo>
                    <a:pt x="62" y="380"/>
                  </a:lnTo>
                  <a:lnTo>
                    <a:pt x="67" y="356"/>
                  </a:lnTo>
                  <a:lnTo>
                    <a:pt x="70" y="338"/>
                  </a:lnTo>
                  <a:lnTo>
                    <a:pt x="86" y="307"/>
                  </a:lnTo>
                  <a:lnTo>
                    <a:pt x="86" y="292"/>
                  </a:lnTo>
                  <a:lnTo>
                    <a:pt x="86" y="265"/>
                  </a:lnTo>
                  <a:lnTo>
                    <a:pt x="98" y="240"/>
                  </a:lnTo>
                  <a:lnTo>
                    <a:pt x="117" y="226"/>
                  </a:lnTo>
                  <a:lnTo>
                    <a:pt x="137" y="215"/>
                  </a:lnTo>
                  <a:lnTo>
                    <a:pt x="155" y="219"/>
                  </a:lnTo>
                  <a:lnTo>
                    <a:pt x="176" y="226"/>
                  </a:lnTo>
                  <a:lnTo>
                    <a:pt x="183" y="202"/>
                  </a:lnTo>
                  <a:lnTo>
                    <a:pt x="176" y="181"/>
                  </a:lnTo>
                  <a:lnTo>
                    <a:pt x="168" y="166"/>
                  </a:lnTo>
                  <a:lnTo>
                    <a:pt x="164" y="156"/>
                  </a:lnTo>
                  <a:lnTo>
                    <a:pt x="168" y="145"/>
                  </a:lnTo>
                  <a:lnTo>
                    <a:pt x="180" y="142"/>
                  </a:lnTo>
                  <a:lnTo>
                    <a:pt x="183" y="118"/>
                  </a:lnTo>
                  <a:lnTo>
                    <a:pt x="192" y="97"/>
                  </a:lnTo>
                  <a:lnTo>
                    <a:pt x="194" y="80"/>
                  </a:lnTo>
                  <a:lnTo>
                    <a:pt x="194" y="61"/>
                  </a:lnTo>
                  <a:lnTo>
                    <a:pt x="206" y="44"/>
                  </a:lnTo>
                  <a:lnTo>
                    <a:pt x="230" y="30"/>
                  </a:lnTo>
                  <a:lnTo>
                    <a:pt x="246" y="27"/>
                  </a:lnTo>
                  <a:lnTo>
                    <a:pt x="251" y="4"/>
                  </a:lnTo>
                </a:path>
              </a:pathLst>
            </a:custGeom>
            <a:solidFill>
              <a:schemeClr val="accent2">
                <a:lumMod val="60000"/>
                <a:lumOff val="40000"/>
              </a:schemeClr>
            </a:solidFill>
            <a:ln w="9525" cap="flat" cmpd="sng">
              <a:solidFill>
                <a:schemeClr val="accent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8" name="Freeform 449"/>
            <p:cNvSpPr>
              <a:spLocks/>
            </p:cNvSpPr>
            <p:nvPr/>
          </p:nvSpPr>
          <p:spPr bwMode="auto">
            <a:xfrm>
              <a:off x="1502" y="2732"/>
              <a:ext cx="324" cy="411"/>
            </a:xfrm>
            <a:custGeom>
              <a:avLst/>
              <a:gdLst>
                <a:gd name="T0" fmla="*/ 177 w 307"/>
                <a:gd name="T1" fmla="*/ 0 h 436"/>
                <a:gd name="T2" fmla="*/ 194 w 307"/>
                <a:gd name="T3" fmla="*/ 37 h 436"/>
                <a:gd name="T4" fmla="*/ 211 w 307"/>
                <a:gd name="T5" fmla="*/ 38 h 436"/>
                <a:gd name="T6" fmla="*/ 256 w 307"/>
                <a:gd name="T7" fmla="*/ 45 h 436"/>
                <a:gd name="T8" fmla="*/ 279 w 307"/>
                <a:gd name="T9" fmla="*/ 56 h 436"/>
                <a:gd name="T10" fmla="*/ 299 w 307"/>
                <a:gd name="T11" fmla="*/ 89 h 436"/>
                <a:gd name="T12" fmla="*/ 304 w 307"/>
                <a:gd name="T13" fmla="*/ 103 h 436"/>
                <a:gd name="T14" fmla="*/ 248 w 307"/>
                <a:gd name="T15" fmla="*/ 126 h 436"/>
                <a:gd name="T16" fmla="*/ 232 w 307"/>
                <a:gd name="T17" fmla="*/ 167 h 436"/>
                <a:gd name="T18" fmla="*/ 216 w 307"/>
                <a:gd name="T19" fmla="*/ 205 h 436"/>
                <a:gd name="T20" fmla="*/ 205 w 307"/>
                <a:gd name="T21" fmla="*/ 234 h 436"/>
                <a:gd name="T22" fmla="*/ 180 w 307"/>
                <a:gd name="T23" fmla="*/ 227 h 436"/>
                <a:gd name="T24" fmla="*/ 175 w 307"/>
                <a:gd name="T25" fmla="*/ 257 h 436"/>
                <a:gd name="T26" fmla="*/ 178 w 307"/>
                <a:gd name="T27" fmla="*/ 287 h 436"/>
                <a:gd name="T28" fmla="*/ 155 w 307"/>
                <a:gd name="T29" fmla="*/ 314 h 436"/>
                <a:gd name="T30" fmla="*/ 152 w 307"/>
                <a:gd name="T31" fmla="*/ 354 h 436"/>
                <a:gd name="T32" fmla="*/ 156 w 307"/>
                <a:gd name="T33" fmla="*/ 378 h 436"/>
                <a:gd name="T34" fmla="*/ 116 w 307"/>
                <a:gd name="T35" fmla="*/ 398 h 436"/>
                <a:gd name="T36" fmla="*/ 115 w 307"/>
                <a:gd name="T37" fmla="*/ 432 h 436"/>
                <a:gd name="T38" fmla="*/ 59 w 307"/>
                <a:gd name="T39" fmla="*/ 436 h 436"/>
                <a:gd name="T40" fmla="*/ 19 w 307"/>
                <a:gd name="T41" fmla="*/ 406 h 436"/>
                <a:gd name="T42" fmla="*/ 0 w 307"/>
                <a:gd name="T43" fmla="*/ 395 h 436"/>
                <a:gd name="T44" fmla="*/ 22 w 307"/>
                <a:gd name="T45" fmla="*/ 362 h 436"/>
                <a:gd name="T46" fmla="*/ 48 w 307"/>
                <a:gd name="T47" fmla="*/ 314 h 436"/>
                <a:gd name="T48" fmla="*/ 44 w 307"/>
                <a:gd name="T49" fmla="*/ 288 h 436"/>
                <a:gd name="T50" fmla="*/ 30 w 307"/>
                <a:gd name="T51" fmla="*/ 272 h 436"/>
                <a:gd name="T52" fmla="*/ 52 w 307"/>
                <a:gd name="T53" fmla="*/ 252 h 436"/>
                <a:gd name="T54" fmla="*/ 22 w 307"/>
                <a:gd name="T55" fmla="*/ 256 h 436"/>
                <a:gd name="T56" fmla="*/ 30 w 307"/>
                <a:gd name="T57" fmla="*/ 226 h 436"/>
                <a:gd name="T58" fmla="*/ 41 w 307"/>
                <a:gd name="T59" fmla="*/ 200 h 436"/>
                <a:gd name="T60" fmla="*/ 52 w 307"/>
                <a:gd name="T61" fmla="*/ 186 h 436"/>
                <a:gd name="T62" fmla="*/ 82 w 307"/>
                <a:gd name="T63" fmla="*/ 167 h 436"/>
                <a:gd name="T64" fmla="*/ 122 w 307"/>
                <a:gd name="T65" fmla="*/ 115 h 436"/>
                <a:gd name="T66" fmla="*/ 137 w 307"/>
                <a:gd name="T67" fmla="*/ 78 h 436"/>
                <a:gd name="T68" fmla="*/ 148 w 307"/>
                <a:gd name="T69" fmla="*/ 3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 h="436">
                  <a:moveTo>
                    <a:pt x="155" y="4"/>
                  </a:moveTo>
                  <a:lnTo>
                    <a:pt x="177" y="0"/>
                  </a:lnTo>
                  <a:lnTo>
                    <a:pt x="192" y="17"/>
                  </a:lnTo>
                  <a:lnTo>
                    <a:pt x="194" y="37"/>
                  </a:lnTo>
                  <a:lnTo>
                    <a:pt x="200" y="41"/>
                  </a:lnTo>
                  <a:lnTo>
                    <a:pt x="211" y="38"/>
                  </a:lnTo>
                  <a:lnTo>
                    <a:pt x="246" y="52"/>
                  </a:lnTo>
                  <a:lnTo>
                    <a:pt x="256" y="45"/>
                  </a:lnTo>
                  <a:lnTo>
                    <a:pt x="270" y="44"/>
                  </a:lnTo>
                  <a:lnTo>
                    <a:pt x="279" y="56"/>
                  </a:lnTo>
                  <a:lnTo>
                    <a:pt x="287" y="76"/>
                  </a:lnTo>
                  <a:lnTo>
                    <a:pt x="299" y="89"/>
                  </a:lnTo>
                  <a:lnTo>
                    <a:pt x="307" y="96"/>
                  </a:lnTo>
                  <a:lnTo>
                    <a:pt x="304" y="103"/>
                  </a:lnTo>
                  <a:lnTo>
                    <a:pt x="277" y="110"/>
                  </a:lnTo>
                  <a:lnTo>
                    <a:pt x="248" y="126"/>
                  </a:lnTo>
                  <a:lnTo>
                    <a:pt x="249" y="153"/>
                  </a:lnTo>
                  <a:lnTo>
                    <a:pt x="232" y="167"/>
                  </a:lnTo>
                  <a:lnTo>
                    <a:pt x="218" y="179"/>
                  </a:lnTo>
                  <a:lnTo>
                    <a:pt x="216" y="205"/>
                  </a:lnTo>
                  <a:lnTo>
                    <a:pt x="216" y="222"/>
                  </a:lnTo>
                  <a:lnTo>
                    <a:pt x="205" y="234"/>
                  </a:lnTo>
                  <a:lnTo>
                    <a:pt x="196" y="222"/>
                  </a:lnTo>
                  <a:lnTo>
                    <a:pt x="180" y="227"/>
                  </a:lnTo>
                  <a:lnTo>
                    <a:pt x="178" y="235"/>
                  </a:lnTo>
                  <a:lnTo>
                    <a:pt x="175" y="257"/>
                  </a:lnTo>
                  <a:lnTo>
                    <a:pt x="181" y="265"/>
                  </a:lnTo>
                  <a:lnTo>
                    <a:pt x="178" y="287"/>
                  </a:lnTo>
                  <a:lnTo>
                    <a:pt x="168" y="297"/>
                  </a:lnTo>
                  <a:lnTo>
                    <a:pt x="155" y="314"/>
                  </a:lnTo>
                  <a:lnTo>
                    <a:pt x="149" y="328"/>
                  </a:lnTo>
                  <a:lnTo>
                    <a:pt x="152" y="354"/>
                  </a:lnTo>
                  <a:lnTo>
                    <a:pt x="163" y="369"/>
                  </a:lnTo>
                  <a:lnTo>
                    <a:pt x="156" y="378"/>
                  </a:lnTo>
                  <a:lnTo>
                    <a:pt x="127" y="387"/>
                  </a:lnTo>
                  <a:lnTo>
                    <a:pt x="116" y="398"/>
                  </a:lnTo>
                  <a:lnTo>
                    <a:pt x="115" y="410"/>
                  </a:lnTo>
                  <a:lnTo>
                    <a:pt x="115" y="432"/>
                  </a:lnTo>
                  <a:lnTo>
                    <a:pt x="82" y="432"/>
                  </a:lnTo>
                  <a:lnTo>
                    <a:pt x="59" y="436"/>
                  </a:lnTo>
                  <a:lnTo>
                    <a:pt x="33" y="406"/>
                  </a:lnTo>
                  <a:lnTo>
                    <a:pt x="19" y="406"/>
                  </a:lnTo>
                  <a:lnTo>
                    <a:pt x="7" y="406"/>
                  </a:lnTo>
                  <a:lnTo>
                    <a:pt x="0" y="395"/>
                  </a:lnTo>
                  <a:lnTo>
                    <a:pt x="7" y="384"/>
                  </a:lnTo>
                  <a:lnTo>
                    <a:pt x="22" y="362"/>
                  </a:lnTo>
                  <a:lnTo>
                    <a:pt x="30" y="340"/>
                  </a:lnTo>
                  <a:lnTo>
                    <a:pt x="48" y="314"/>
                  </a:lnTo>
                  <a:lnTo>
                    <a:pt x="52" y="299"/>
                  </a:lnTo>
                  <a:lnTo>
                    <a:pt x="44" y="288"/>
                  </a:lnTo>
                  <a:lnTo>
                    <a:pt x="33" y="278"/>
                  </a:lnTo>
                  <a:lnTo>
                    <a:pt x="30" y="272"/>
                  </a:lnTo>
                  <a:lnTo>
                    <a:pt x="44" y="267"/>
                  </a:lnTo>
                  <a:lnTo>
                    <a:pt x="52" y="252"/>
                  </a:lnTo>
                  <a:lnTo>
                    <a:pt x="37" y="248"/>
                  </a:lnTo>
                  <a:lnTo>
                    <a:pt x="22" y="256"/>
                  </a:lnTo>
                  <a:lnTo>
                    <a:pt x="22" y="237"/>
                  </a:lnTo>
                  <a:lnTo>
                    <a:pt x="30" y="226"/>
                  </a:lnTo>
                  <a:lnTo>
                    <a:pt x="37" y="215"/>
                  </a:lnTo>
                  <a:lnTo>
                    <a:pt x="41" y="200"/>
                  </a:lnTo>
                  <a:lnTo>
                    <a:pt x="44" y="189"/>
                  </a:lnTo>
                  <a:lnTo>
                    <a:pt x="52" y="186"/>
                  </a:lnTo>
                  <a:lnTo>
                    <a:pt x="63" y="193"/>
                  </a:lnTo>
                  <a:lnTo>
                    <a:pt x="82" y="167"/>
                  </a:lnTo>
                  <a:lnTo>
                    <a:pt x="93" y="149"/>
                  </a:lnTo>
                  <a:lnTo>
                    <a:pt x="122" y="115"/>
                  </a:lnTo>
                  <a:lnTo>
                    <a:pt x="122" y="101"/>
                  </a:lnTo>
                  <a:lnTo>
                    <a:pt x="137" y="78"/>
                  </a:lnTo>
                  <a:lnTo>
                    <a:pt x="141" y="52"/>
                  </a:lnTo>
                  <a:lnTo>
                    <a:pt x="148" y="38"/>
                  </a:lnTo>
                  <a:lnTo>
                    <a:pt x="155" y="4"/>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49" name="Freeform 450"/>
            <p:cNvSpPr>
              <a:spLocks/>
            </p:cNvSpPr>
            <p:nvPr/>
          </p:nvSpPr>
          <p:spPr bwMode="auto">
            <a:xfrm>
              <a:off x="1623" y="2603"/>
              <a:ext cx="850" cy="676"/>
            </a:xfrm>
            <a:custGeom>
              <a:avLst/>
              <a:gdLst>
                <a:gd name="T0" fmla="*/ 39 w 850"/>
                <a:gd name="T1" fmla="*/ 122 h 676"/>
                <a:gd name="T2" fmla="*/ 66 w 850"/>
                <a:gd name="T3" fmla="*/ 73 h 676"/>
                <a:gd name="T4" fmla="*/ 59 w 850"/>
                <a:gd name="T5" fmla="*/ 56 h 676"/>
                <a:gd name="T6" fmla="*/ 46 w 850"/>
                <a:gd name="T7" fmla="*/ 39 h 676"/>
                <a:gd name="T8" fmla="*/ 93 w 850"/>
                <a:gd name="T9" fmla="*/ 18 h 676"/>
                <a:gd name="T10" fmla="*/ 128 w 850"/>
                <a:gd name="T11" fmla="*/ 10 h 676"/>
                <a:gd name="T12" fmla="*/ 164 w 850"/>
                <a:gd name="T13" fmla="*/ 4 h 676"/>
                <a:gd name="T14" fmla="*/ 234 w 850"/>
                <a:gd name="T15" fmla="*/ 53 h 676"/>
                <a:gd name="T16" fmla="*/ 283 w 850"/>
                <a:gd name="T17" fmla="*/ 56 h 676"/>
                <a:gd name="T18" fmla="*/ 418 w 850"/>
                <a:gd name="T19" fmla="*/ 112 h 676"/>
                <a:gd name="T20" fmla="*/ 476 w 850"/>
                <a:gd name="T21" fmla="*/ 125 h 676"/>
                <a:gd name="T22" fmla="*/ 516 w 850"/>
                <a:gd name="T23" fmla="*/ 153 h 676"/>
                <a:gd name="T24" fmla="*/ 554 w 850"/>
                <a:gd name="T25" fmla="*/ 157 h 676"/>
                <a:gd name="T26" fmla="*/ 554 w 850"/>
                <a:gd name="T27" fmla="*/ 174 h 676"/>
                <a:gd name="T28" fmla="*/ 616 w 850"/>
                <a:gd name="T29" fmla="*/ 227 h 676"/>
                <a:gd name="T30" fmla="*/ 667 w 850"/>
                <a:gd name="T31" fmla="*/ 248 h 676"/>
                <a:gd name="T32" fmla="*/ 744 w 850"/>
                <a:gd name="T33" fmla="*/ 268 h 676"/>
                <a:gd name="T34" fmla="*/ 760 w 850"/>
                <a:gd name="T35" fmla="*/ 293 h 676"/>
                <a:gd name="T36" fmla="*/ 807 w 850"/>
                <a:gd name="T37" fmla="*/ 303 h 676"/>
                <a:gd name="T38" fmla="*/ 838 w 850"/>
                <a:gd name="T39" fmla="*/ 307 h 676"/>
                <a:gd name="T40" fmla="*/ 850 w 850"/>
                <a:gd name="T41" fmla="*/ 317 h 676"/>
                <a:gd name="T42" fmla="*/ 838 w 850"/>
                <a:gd name="T43" fmla="*/ 346 h 676"/>
                <a:gd name="T44" fmla="*/ 748 w 850"/>
                <a:gd name="T45" fmla="*/ 387 h 676"/>
                <a:gd name="T46" fmla="*/ 644 w 850"/>
                <a:gd name="T47" fmla="*/ 408 h 676"/>
                <a:gd name="T48" fmla="*/ 628 w 850"/>
                <a:gd name="T49" fmla="*/ 428 h 676"/>
                <a:gd name="T50" fmla="*/ 596 w 850"/>
                <a:gd name="T51" fmla="*/ 457 h 676"/>
                <a:gd name="T52" fmla="*/ 562 w 850"/>
                <a:gd name="T53" fmla="*/ 474 h 676"/>
                <a:gd name="T54" fmla="*/ 546 w 850"/>
                <a:gd name="T55" fmla="*/ 516 h 676"/>
                <a:gd name="T56" fmla="*/ 562 w 850"/>
                <a:gd name="T57" fmla="*/ 539 h 676"/>
                <a:gd name="T58" fmla="*/ 558 w 850"/>
                <a:gd name="T59" fmla="*/ 564 h 676"/>
                <a:gd name="T60" fmla="*/ 519 w 850"/>
                <a:gd name="T61" fmla="*/ 586 h 676"/>
                <a:gd name="T62" fmla="*/ 476 w 850"/>
                <a:gd name="T63" fmla="*/ 620 h 676"/>
                <a:gd name="T64" fmla="*/ 468 w 850"/>
                <a:gd name="T65" fmla="*/ 637 h 676"/>
                <a:gd name="T66" fmla="*/ 414 w 850"/>
                <a:gd name="T67" fmla="*/ 641 h 676"/>
                <a:gd name="T68" fmla="*/ 391 w 850"/>
                <a:gd name="T69" fmla="*/ 652 h 676"/>
                <a:gd name="T70" fmla="*/ 359 w 850"/>
                <a:gd name="T71" fmla="*/ 672 h 676"/>
                <a:gd name="T72" fmla="*/ 325 w 850"/>
                <a:gd name="T73" fmla="*/ 669 h 676"/>
                <a:gd name="T74" fmla="*/ 218 w 850"/>
                <a:gd name="T75" fmla="*/ 641 h 676"/>
                <a:gd name="T76" fmla="*/ 164 w 850"/>
                <a:gd name="T77" fmla="*/ 645 h 676"/>
                <a:gd name="T78" fmla="*/ 121 w 850"/>
                <a:gd name="T79" fmla="*/ 658 h 676"/>
                <a:gd name="T80" fmla="*/ 89 w 850"/>
                <a:gd name="T81" fmla="*/ 676 h 676"/>
                <a:gd name="T82" fmla="*/ 46 w 850"/>
                <a:gd name="T83" fmla="*/ 575 h 676"/>
                <a:gd name="T84" fmla="*/ 4 w 850"/>
                <a:gd name="T85" fmla="*/ 537 h 676"/>
                <a:gd name="T86" fmla="*/ 0 w 850"/>
                <a:gd name="T87" fmla="*/ 505 h 676"/>
                <a:gd name="T88" fmla="*/ 43 w 850"/>
                <a:gd name="T89" fmla="*/ 484 h 676"/>
                <a:gd name="T90" fmla="*/ 39 w 850"/>
                <a:gd name="T91" fmla="*/ 463 h 676"/>
                <a:gd name="T92" fmla="*/ 46 w 850"/>
                <a:gd name="T93" fmla="*/ 418 h 676"/>
                <a:gd name="T94" fmla="*/ 70 w 850"/>
                <a:gd name="T95" fmla="*/ 380 h 676"/>
                <a:gd name="T96" fmla="*/ 70 w 850"/>
                <a:gd name="T97" fmla="*/ 342 h 676"/>
                <a:gd name="T98" fmla="*/ 85 w 850"/>
                <a:gd name="T99" fmla="*/ 339 h 676"/>
                <a:gd name="T100" fmla="*/ 105 w 850"/>
                <a:gd name="T101" fmla="*/ 335 h 676"/>
                <a:gd name="T102" fmla="*/ 139 w 850"/>
                <a:gd name="T103" fmla="*/ 272 h 676"/>
                <a:gd name="T104" fmla="*/ 139 w 850"/>
                <a:gd name="T105" fmla="*/ 248 h 676"/>
                <a:gd name="T106" fmla="*/ 195 w 850"/>
                <a:gd name="T107" fmla="*/ 227 h 676"/>
                <a:gd name="T108" fmla="*/ 183 w 850"/>
                <a:gd name="T109" fmla="*/ 202 h 676"/>
                <a:gd name="T110" fmla="*/ 159 w 850"/>
                <a:gd name="T111" fmla="*/ 168 h 676"/>
                <a:gd name="T112" fmla="*/ 121 w 850"/>
                <a:gd name="T113" fmla="*/ 171 h 676"/>
                <a:gd name="T114" fmla="*/ 89 w 850"/>
                <a:gd name="T115" fmla="*/ 168 h 676"/>
                <a:gd name="T116" fmla="*/ 82 w 850"/>
                <a:gd name="T117" fmla="*/ 147 h 676"/>
                <a:gd name="T118" fmla="*/ 62 w 850"/>
                <a:gd name="T119" fmla="*/ 129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0" h="676">
                  <a:moveTo>
                    <a:pt x="43" y="133"/>
                  </a:moveTo>
                  <a:lnTo>
                    <a:pt x="39" y="122"/>
                  </a:lnTo>
                  <a:lnTo>
                    <a:pt x="43" y="108"/>
                  </a:lnTo>
                  <a:lnTo>
                    <a:pt x="66" y="73"/>
                  </a:lnTo>
                  <a:lnTo>
                    <a:pt x="55" y="66"/>
                  </a:lnTo>
                  <a:lnTo>
                    <a:pt x="59" y="56"/>
                  </a:lnTo>
                  <a:lnTo>
                    <a:pt x="46" y="53"/>
                  </a:lnTo>
                  <a:lnTo>
                    <a:pt x="46" y="39"/>
                  </a:lnTo>
                  <a:lnTo>
                    <a:pt x="55" y="28"/>
                  </a:lnTo>
                  <a:lnTo>
                    <a:pt x="93" y="18"/>
                  </a:lnTo>
                  <a:lnTo>
                    <a:pt x="125" y="21"/>
                  </a:lnTo>
                  <a:lnTo>
                    <a:pt x="128" y="10"/>
                  </a:lnTo>
                  <a:lnTo>
                    <a:pt x="151" y="0"/>
                  </a:lnTo>
                  <a:lnTo>
                    <a:pt x="164" y="4"/>
                  </a:lnTo>
                  <a:lnTo>
                    <a:pt x="191" y="35"/>
                  </a:lnTo>
                  <a:lnTo>
                    <a:pt x="234" y="53"/>
                  </a:lnTo>
                  <a:lnTo>
                    <a:pt x="273" y="53"/>
                  </a:lnTo>
                  <a:lnTo>
                    <a:pt x="283" y="56"/>
                  </a:lnTo>
                  <a:lnTo>
                    <a:pt x="387" y="108"/>
                  </a:lnTo>
                  <a:lnTo>
                    <a:pt x="418" y="112"/>
                  </a:lnTo>
                  <a:lnTo>
                    <a:pt x="441" y="133"/>
                  </a:lnTo>
                  <a:lnTo>
                    <a:pt x="476" y="125"/>
                  </a:lnTo>
                  <a:lnTo>
                    <a:pt x="496" y="137"/>
                  </a:lnTo>
                  <a:lnTo>
                    <a:pt x="516" y="153"/>
                  </a:lnTo>
                  <a:lnTo>
                    <a:pt x="539" y="153"/>
                  </a:lnTo>
                  <a:lnTo>
                    <a:pt x="554" y="157"/>
                  </a:lnTo>
                  <a:lnTo>
                    <a:pt x="562" y="164"/>
                  </a:lnTo>
                  <a:lnTo>
                    <a:pt x="554" y="174"/>
                  </a:lnTo>
                  <a:lnTo>
                    <a:pt x="554" y="188"/>
                  </a:lnTo>
                  <a:lnTo>
                    <a:pt x="616" y="227"/>
                  </a:lnTo>
                  <a:lnTo>
                    <a:pt x="651" y="251"/>
                  </a:lnTo>
                  <a:lnTo>
                    <a:pt x="667" y="248"/>
                  </a:lnTo>
                  <a:lnTo>
                    <a:pt x="685" y="244"/>
                  </a:lnTo>
                  <a:lnTo>
                    <a:pt x="744" y="268"/>
                  </a:lnTo>
                  <a:lnTo>
                    <a:pt x="751" y="286"/>
                  </a:lnTo>
                  <a:lnTo>
                    <a:pt x="760" y="293"/>
                  </a:lnTo>
                  <a:lnTo>
                    <a:pt x="779" y="291"/>
                  </a:lnTo>
                  <a:lnTo>
                    <a:pt x="807" y="303"/>
                  </a:lnTo>
                  <a:lnTo>
                    <a:pt x="823" y="303"/>
                  </a:lnTo>
                  <a:lnTo>
                    <a:pt x="838" y="307"/>
                  </a:lnTo>
                  <a:lnTo>
                    <a:pt x="843" y="303"/>
                  </a:lnTo>
                  <a:lnTo>
                    <a:pt x="850" y="317"/>
                  </a:lnTo>
                  <a:lnTo>
                    <a:pt x="850" y="335"/>
                  </a:lnTo>
                  <a:lnTo>
                    <a:pt x="838" y="346"/>
                  </a:lnTo>
                  <a:lnTo>
                    <a:pt x="776" y="387"/>
                  </a:lnTo>
                  <a:lnTo>
                    <a:pt x="748" y="387"/>
                  </a:lnTo>
                  <a:lnTo>
                    <a:pt x="671" y="404"/>
                  </a:lnTo>
                  <a:lnTo>
                    <a:pt x="644" y="408"/>
                  </a:lnTo>
                  <a:lnTo>
                    <a:pt x="644" y="428"/>
                  </a:lnTo>
                  <a:lnTo>
                    <a:pt x="628" y="428"/>
                  </a:lnTo>
                  <a:lnTo>
                    <a:pt x="612" y="439"/>
                  </a:lnTo>
                  <a:lnTo>
                    <a:pt x="596" y="457"/>
                  </a:lnTo>
                  <a:lnTo>
                    <a:pt x="581" y="470"/>
                  </a:lnTo>
                  <a:lnTo>
                    <a:pt x="562" y="474"/>
                  </a:lnTo>
                  <a:lnTo>
                    <a:pt x="546" y="491"/>
                  </a:lnTo>
                  <a:lnTo>
                    <a:pt x="546" y="516"/>
                  </a:lnTo>
                  <a:lnTo>
                    <a:pt x="558" y="529"/>
                  </a:lnTo>
                  <a:lnTo>
                    <a:pt x="562" y="539"/>
                  </a:lnTo>
                  <a:lnTo>
                    <a:pt x="562" y="557"/>
                  </a:lnTo>
                  <a:lnTo>
                    <a:pt x="558" y="564"/>
                  </a:lnTo>
                  <a:lnTo>
                    <a:pt x="542" y="568"/>
                  </a:lnTo>
                  <a:lnTo>
                    <a:pt x="519" y="586"/>
                  </a:lnTo>
                  <a:lnTo>
                    <a:pt x="488" y="610"/>
                  </a:lnTo>
                  <a:lnTo>
                    <a:pt x="476" y="620"/>
                  </a:lnTo>
                  <a:lnTo>
                    <a:pt x="468" y="627"/>
                  </a:lnTo>
                  <a:lnTo>
                    <a:pt x="468" y="637"/>
                  </a:lnTo>
                  <a:lnTo>
                    <a:pt x="434" y="637"/>
                  </a:lnTo>
                  <a:lnTo>
                    <a:pt x="414" y="641"/>
                  </a:lnTo>
                  <a:lnTo>
                    <a:pt x="398" y="645"/>
                  </a:lnTo>
                  <a:lnTo>
                    <a:pt x="391" y="652"/>
                  </a:lnTo>
                  <a:lnTo>
                    <a:pt x="379" y="666"/>
                  </a:lnTo>
                  <a:lnTo>
                    <a:pt x="359" y="672"/>
                  </a:lnTo>
                  <a:lnTo>
                    <a:pt x="348" y="672"/>
                  </a:lnTo>
                  <a:lnTo>
                    <a:pt x="325" y="669"/>
                  </a:lnTo>
                  <a:lnTo>
                    <a:pt x="286" y="666"/>
                  </a:lnTo>
                  <a:lnTo>
                    <a:pt x="218" y="641"/>
                  </a:lnTo>
                  <a:lnTo>
                    <a:pt x="191" y="637"/>
                  </a:lnTo>
                  <a:lnTo>
                    <a:pt x="164" y="645"/>
                  </a:lnTo>
                  <a:lnTo>
                    <a:pt x="144" y="655"/>
                  </a:lnTo>
                  <a:lnTo>
                    <a:pt x="121" y="658"/>
                  </a:lnTo>
                  <a:lnTo>
                    <a:pt x="101" y="669"/>
                  </a:lnTo>
                  <a:lnTo>
                    <a:pt x="89" y="676"/>
                  </a:lnTo>
                  <a:lnTo>
                    <a:pt x="46" y="635"/>
                  </a:lnTo>
                  <a:lnTo>
                    <a:pt x="46" y="575"/>
                  </a:lnTo>
                  <a:lnTo>
                    <a:pt x="27" y="554"/>
                  </a:lnTo>
                  <a:lnTo>
                    <a:pt x="4" y="537"/>
                  </a:lnTo>
                  <a:lnTo>
                    <a:pt x="0" y="526"/>
                  </a:lnTo>
                  <a:lnTo>
                    <a:pt x="0" y="505"/>
                  </a:lnTo>
                  <a:lnTo>
                    <a:pt x="12" y="494"/>
                  </a:lnTo>
                  <a:lnTo>
                    <a:pt x="43" y="484"/>
                  </a:lnTo>
                  <a:lnTo>
                    <a:pt x="50" y="477"/>
                  </a:lnTo>
                  <a:lnTo>
                    <a:pt x="39" y="463"/>
                  </a:lnTo>
                  <a:lnTo>
                    <a:pt x="35" y="439"/>
                  </a:lnTo>
                  <a:lnTo>
                    <a:pt x="46" y="418"/>
                  </a:lnTo>
                  <a:lnTo>
                    <a:pt x="70" y="397"/>
                  </a:lnTo>
                  <a:lnTo>
                    <a:pt x="70" y="380"/>
                  </a:lnTo>
                  <a:lnTo>
                    <a:pt x="62" y="366"/>
                  </a:lnTo>
                  <a:lnTo>
                    <a:pt x="70" y="342"/>
                  </a:lnTo>
                  <a:lnTo>
                    <a:pt x="73" y="339"/>
                  </a:lnTo>
                  <a:lnTo>
                    <a:pt x="85" y="339"/>
                  </a:lnTo>
                  <a:lnTo>
                    <a:pt x="93" y="349"/>
                  </a:lnTo>
                  <a:lnTo>
                    <a:pt x="105" y="335"/>
                  </a:lnTo>
                  <a:lnTo>
                    <a:pt x="109" y="297"/>
                  </a:lnTo>
                  <a:lnTo>
                    <a:pt x="139" y="272"/>
                  </a:lnTo>
                  <a:lnTo>
                    <a:pt x="139" y="258"/>
                  </a:lnTo>
                  <a:lnTo>
                    <a:pt x="139" y="248"/>
                  </a:lnTo>
                  <a:lnTo>
                    <a:pt x="171" y="231"/>
                  </a:lnTo>
                  <a:lnTo>
                    <a:pt x="195" y="227"/>
                  </a:lnTo>
                  <a:lnTo>
                    <a:pt x="203" y="219"/>
                  </a:lnTo>
                  <a:lnTo>
                    <a:pt x="183" y="202"/>
                  </a:lnTo>
                  <a:lnTo>
                    <a:pt x="167" y="174"/>
                  </a:lnTo>
                  <a:lnTo>
                    <a:pt x="159" y="168"/>
                  </a:lnTo>
                  <a:lnTo>
                    <a:pt x="136" y="178"/>
                  </a:lnTo>
                  <a:lnTo>
                    <a:pt x="121" y="171"/>
                  </a:lnTo>
                  <a:lnTo>
                    <a:pt x="97" y="164"/>
                  </a:lnTo>
                  <a:lnTo>
                    <a:pt x="89" y="168"/>
                  </a:lnTo>
                  <a:lnTo>
                    <a:pt x="82" y="160"/>
                  </a:lnTo>
                  <a:lnTo>
                    <a:pt x="82" y="147"/>
                  </a:lnTo>
                  <a:lnTo>
                    <a:pt x="70" y="133"/>
                  </a:lnTo>
                  <a:lnTo>
                    <a:pt x="62" y="129"/>
                  </a:lnTo>
                  <a:lnTo>
                    <a:pt x="43" y="133"/>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50" name="Freeform 451"/>
            <p:cNvSpPr>
              <a:spLocks/>
            </p:cNvSpPr>
            <p:nvPr/>
          </p:nvSpPr>
          <p:spPr bwMode="auto">
            <a:xfrm>
              <a:off x="2760" y="2621"/>
              <a:ext cx="771" cy="786"/>
            </a:xfrm>
            <a:custGeom>
              <a:avLst/>
              <a:gdLst>
                <a:gd name="T0" fmla="*/ 564 w 736"/>
                <a:gd name="T1" fmla="*/ 819 h 830"/>
                <a:gd name="T2" fmla="*/ 608 w 736"/>
                <a:gd name="T3" fmla="*/ 741 h 830"/>
                <a:gd name="T4" fmla="*/ 627 w 736"/>
                <a:gd name="T5" fmla="*/ 715 h 830"/>
                <a:gd name="T6" fmla="*/ 612 w 736"/>
                <a:gd name="T7" fmla="*/ 678 h 830"/>
                <a:gd name="T8" fmla="*/ 594 w 736"/>
                <a:gd name="T9" fmla="*/ 674 h 830"/>
                <a:gd name="T10" fmla="*/ 608 w 736"/>
                <a:gd name="T11" fmla="*/ 645 h 830"/>
                <a:gd name="T12" fmla="*/ 631 w 736"/>
                <a:gd name="T13" fmla="*/ 604 h 830"/>
                <a:gd name="T14" fmla="*/ 701 w 736"/>
                <a:gd name="T15" fmla="*/ 652 h 830"/>
                <a:gd name="T16" fmla="*/ 730 w 736"/>
                <a:gd name="T17" fmla="*/ 652 h 830"/>
                <a:gd name="T18" fmla="*/ 708 w 736"/>
                <a:gd name="T19" fmla="*/ 596 h 830"/>
                <a:gd name="T20" fmla="*/ 686 w 736"/>
                <a:gd name="T21" fmla="*/ 593 h 830"/>
                <a:gd name="T22" fmla="*/ 608 w 736"/>
                <a:gd name="T23" fmla="*/ 530 h 830"/>
                <a:gd name="T24" fmla="*/ 560 w 736"/>
                <a:gd name="T25" fmla="*/ 496 h 830"/>
                <a:gd name="T26" fmla="*/ 564 w 736"/>
                <a:gd name="T27" fmla="*/ 474 h 830"/>
                <a:gd name="T28" fmla="*/ 490 w 736"/>
                <a:gd name="T29" fmla="*/ 440 h 830"/>
                <a:gd name="T30" fmla="*/ 457 w 736"/>
                <a:gd name="T31" fmla="*/ 411 h 830"/>
                <a:gd name="T32" fmla="*/ 379 w 736"/>
                <a:gd name="T33" fmla="*/ 293 h 830"/>
                <a:gd name="T34" fmla="*/ 364 w 736"/>
                <a:gd name="T35" fmla="*/ 200 h 830"/>
                <a:gd name="T36" fmla="*/ 342 w 736"/>
                <a:gd name="T37" fmla="*/ 163 h 830"/>
                <a:gd name="T38" fmla="*/ 405 w 736"/>
                <a:gd name="T39" fmla="*/ 134 h 830"/>
                <a:gd name="T40" fmla="*/ 434 w 736"/>
                <a:gd name="T41" fmla="*/ 70 h 830"/>
                <a:gd name="T42" fmla="*/ 368 w 736"/>
                <a:gd name="T43" fmla="*/ 41 h 830"/>
                <a:gd name="T44" fmla="*/ 357 w 736"/>
                <a:gd name="T45" fmla="*/ 15 h 830"/>
                <a:gd name="T46" fmla="*/ 264 w 736"/>
                <a:gd name="T47" fmla="*/ 4 h 830"/>
                <a:gd name="T48" fmla="*/ 219 w 736"/>
                <a:gd name="T49" fmla="*/ 52 h 830"/>
                <a:gd name="T50" fmla="*/ 181 w 736"/>
                <a:gd name="T51" fmla="*/ 48 h 830"/>
                <a:gd name="T52" fmla="*/ 133 w 736"/>
                <a:gd name="T53" fmla="*/ 63 h 830"/>
                <a:gd name="T54" fmla="*/ 115 w 736"/>
                <a:gd name="T55" fmla="*/ 30 h 830"/>
                <a:gd name="T56" fmla="*/ 89 w 736"/>
                <a:gd name="T57" fmla="*/ 59 h 830"/>
                <a:gd name="T58" fmla="*/ 22 w 736"/>
                <a:gd name="T59" fmla="*/ 85 h 830"/>
                <a:gd name="T60" fmla="*/ 7 w 736"/>
                <a:gd name="T61" fmla="*/ 137 h 830"/>
                <a:gd name="T62" fmla="*/ 0 w 736"/>
                <a:gd name="T63" fmla="*/ 189 h 830"/>
                <a:gd name="T64" fmla="*/ 30 w 736"/>
                <a:gd name="T65" fmla="*/ 208 h 830"/>
                <a:gd name="T66" fmla="*/ 52 w 736"/>
                <a:gd name="T67" fmla="*/ 249 h 830"/>
                <a:gd name="T68" fmla="*/ 122 w 736"/>
                <a:gd name="T69" fmla="*/ 211 h 830"/>
                <a:gd name="T70" fmla="*/ 189 w 736"/>
                <a:gd name="T71" fmla="*/ 271 h 830"/>
                <a:gd name="T72" fmla="*/ 219 w 736"/>
                <a:gd name="T73" fmla="*/ 352 h 830"/>
                <a:gd name="T74" fmla="*/ 271 w 736"/>
                <a:gd name="T75" fmla="*/ 397 h 830"/>
                <a:gd name="T76" fmla="*/ 338 w 736"/>
                <a:gd name="T77" fmla="*/ 478 h 830"/>
                <a:gd name="T78" fmla="*/ 442 w 736"/>
                <a:gd name="T79" fmla="*/ 555 h 830"/>
                <a:gd name="T80" fmla="*/ 475 w 736"/>
                <a:gd name="T81" fmla="*/ 578 h 830"/>
                <a:gd name="T82" fmla="*/ 501 w 736"/>
                <a:gd name="T83" fmla="*/ 630 h 830"/>
                <a:gd name="T84" fmla="*/ 542 w 736"/>
                <a:gd name="T85" fmla="*/ 645 h 830"/>
                <a:gd name="T86" fmla="*/ 557 w 736"/>
                <a:gd name="T87" fmla="*/ 711 h 830"/>
                <a:gd name="T88" fmla="*/ 545 w 736"/>
                <a:gd name="T89" fmla="*/ 760 h 830"/>
                <a:gd name="T90" fmla="*/ 534 w 736"/>
                <a:gd name="T91" fmla="*/ 81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6" h="830">
                  <a:moveTo>
                    <a:pt x="534" y="819"/>
                  </a:moveTo>
                  <a:lnTo>
                    <a:pt x="545" y="830"/>
                  </a:lnTo>
                  <a:lnTo>
                    <a:pt x="564" y="819"/>
                  </a:lnTo>
                  <a:lnTo>
                    <a:pt x="586" y="789"/>
                  </a:lnTo>
                  <a:lnTo>
                    <a:pt x="597" y="745"/>
                  </a:lnTo>
                  <a:lnTo>
                    <a:pt x="608" y="741"/>
                  </a:lnTo>
                  <a:lnTo>
                    <a:pt x="616" y="748"/>
                  </a:lnTo>
                  <a:lnTo>
                    <a:pt x="631" y="734"/>
                  </a:lnTo>
                  <a:lnTo>
                    <a:pt x="627" y="715"/>
                  </a:lnTo>
                  <a:lnTo>
                    <a:pt x="634" y="700"/>
                  </a:lnTo>
                  <a:lnTo>
                    <a:pt x="631" y="693"/>
                  </a:lnTo>
                  <a:lnTo>
                    <a:pt x="612" y="678"/>
                  </a:lnTo>
                  <a:lnTo>
                    <a:pt x="605" y="678"/>
                  </a:lnTo>
                  <a:lnTo>
                    <a:pt x="608" y="670"/>
                  </a:lnTo>
                  <a:lnTo>
                    <a:pt x="594" y="674"/>
                  </a:lnTo>
                  <a:lnTo>
                    <a:pt x="586" y="667"/>
                  </a:lnTo>
                  <a:lnTo>
                    <a:pt x="586" y="659"/>
                  </a:lnTo>
                  <a:lnTo>
                    <a:pt x="608" y="645"/>
                  </a:lnTo>
                  <a:lnTo>
                    <a:pt x="619" y="630"/>
                  </a:lnTo>
                  <a:lnTo>
                    <a:pt x="619" y="607"/>
                  </a:lnTo>
                  <a:lnTo>
                    <a:pt x="631" y="604"/>
                  </a:lnTo>
                  <a:lnTo>
                    <a:pt x="668" y="622"/>
                  </a:lnTo>
                  <a:lnTo>
                    <a:pt x="682" y="626"/>
                  </a:lnTo>
                  <a:lnTo>
                    <a:pt x="701" y="652"/>
                  </a:lnTo>
                  <a:lnTo>
                    <a:pt x="708" y="667"/>
                  </a:lnTo>
                  <a:lnTo>
                    <a:pt x="719" y="667"/>
                  </a:lnTo>
                  <a:lnTo>
                    <a:pt x="730" y="652"/>
                  </a:lnTo>
                  <a:lnTo>
                    <a:pt x="736" y="637"/>
                  </a:lnTo>
                  <a:lnTo>
                    <a:pt x="723" y="611"/>
                  </a:lnTo>
                  <a:lnTo>
                    <a:pt x="708" y="596"/>
                  </a:lnTo>
                  <a:lnTo>
                    <a:pt x="694" y="596"/>
                  </a:lnTo>
                  <a:lnTo>
                    <a:pt x="694" y="593"/>
                  </a:lnTo>
                  <a:lnTo>
                    <a:pt x="686" y="593"/>
                  </a:lnTo>
                  <a:lnTo>
                    <a:pt x="649" y="555"/>
                  </a:lnTo>
                  <a:lnTo>
                    <a:pt x="631" y="559"/>
                  </a:lnTo>
                  <a:lnTo>
                    <a:pt x="608" y="530"/>
                  </a:lnTo>
                  <a:lnTo>
                    <a:pt x="594" y="526"/>
                  </a:lnTo>
                  <a:lnTo>
                    <a:pt x="571" y="504"/>
                  </a:lnTo>
                  <a:lnTo>
                    <a:pt x="560" y="496"/>
                  </a:lnTo>
                  <a:lnTo>
                    <a:pt x="568" y="489"/>
                  </a:lnTo>
                  <a:lnTo>
                    <a:pt x="579" y="485"/>
                  </a:lnTo>
                  <a:lnTo>
                    <a:pt x="564" y="474"/>
                  </a:lnTo>
                  <a:lnTo>
                    <a:pt x="545" y="481"/>
                  </a:lnTo>
                  <a:lnTo>
                    <a:pt x="531" y="474"/>
                  </a:lnTo>
                  <a:lnTo>
                    <a:pt x="490" y="440"/>
                  </a:lnTo>
                  <a:lnTo>
                    <a:pt x="486" y="426"/>
                  </a:lnTo>
                  <a:lnTo>
                    <a:pt x="471" y="422"/>
                  </a:lnTo>
                  <a:lnTo>
                    <a:pt x="457" y="411"/>
                  </a:lnTo>
                  <a:lnTo>
                    <a:pt x="419" y="330"/>
                  </a:lnTo>
                  <a:lnTo>
                    <a:pt x="408" y="319"/>
                  </a:lnTo>
                  <a:lnTo>
                    <a:pt x="379" y="293"/>
                  </a:lnTo>
                  <a:lnTo>
                    <a:pt x="345" y="241"/>
                  </a:lnTo>
                  <a:lnTo>
                    <a:pt x="345" y="211"/>
                  </a:lnTo>
                  <a:lnTo>
                    <a:pt x="364" y="200"/>
                  </a:lnTo>
                  <a:lnTo>
                    <a:pt x="364" y="185"/>
                  </a:lnTo>
                  <a:lnTo>
                    <a:pt x="349" y="171"/>
                  </a:lnTo>
                  <a:lnTo>
                    <a:pt x="342" y="163"/>
                  </a:lnTo>
                  <a:lnTo>
                    <a:pt x="345" y="152"/>
                  </a:lnTo>
                  <a:lnTo>
                    <a:pt x="360" y="145"/>
                  </a:lnTo>
                  <a:lnTo>
                    <a:pt x="405" y="134"/>
                  </a:lnTo>
                  <a:lnTo>
                    <a:pt x="423" y="122"/>
                  </a:lnTo>
                  <a:lnTo>
                    <a:pt x="438" y="108"/>
                  </a:lnTo>
                  <a:lnTo>
                    <a:pt x="434" y="70"/>
                  </a:lnTo>
                  <a:lnTo>
                    <a:pt x="438" y="56"/>
                  </a:lnTo>
                  <a:lnTo>
                    <a:pt x="416" y="52"/>
                  </a:lnTo>
                  <a:lnTo>
                    <a:pt x="368" y="41"/>
                  </a:lnTo>
                  <a:lnTo>
                    <a:pt x="360" y="30"/>
                  </a:lnTo>
                  <a:lnTo>
                    <a:pt x="357" y="26"/>
                  </a:lnTo>
                  <a:lnTo>
                    <a:pt x="357" y="15"/>
                  </a:lnTo>
                  <a:lnTo>
                    <a:pt x="353" y="4"/>
                  </a:lnTo>
                  <a:lnTo>
                    <a:pt x="327" y="0"/>
                  </a:lnTo>
                  <a:lnTo>
                    <a:pt x="264" y="4"/>
                  </a:lnTo>
                  <a:lnTo>
                    <a:pt x="257" y="19"/>
                  </a:lnTo>
                  <a:lnTo>
                    <a:pt x="233" y="22"/>
                  </a:lnTo>
                  <a:lnTo>
                    <a:pt x="219" y="52"/>
                  </a:lnTo>
                  <a:lnTo>
                    <a:pt x="219" y="63"/>
                  </a:lnTo>
                  <a:lnTo>
                    <a:pt x="204" y="52"/>
                  </a:lnTo>
                  <a:lnTo>
                    <a:pt x="181" y="48"/>
                  </a:lnTo>
                  <a:lnTo>
                    <a:pt x="167" y="56"/>
                  </a:lnTo>
                  <a:lnTo>
                    <a:pt x="156" y="78"/>
                  </a:lnTo>
                  <a:lnTo>
                    <a:pt x="133" y="63"/>
                  </a:lnTo>
                  <a:lnTo>
                    <a:pt x="137" y="41"/>
                  </a:lnTo>
                  <a:lnTo>
                    <a:pt x="130" y="26"/>
                  </a:lnTo>
                  <a:lnTo>
                    <a:pt x="115" y="30"/>
                  </a:lnTo>
                  <a:lnTo>
                    <a:pt x="111" y="48"/>
                  </a:lnTo>
                  <a:lnTo>
                    <a:pt x="100" y="59"/>
                  </a:lnTo>
                  <a:lnTo>
                    <a:pt x="89" y="59"/>
                  </a:lnTo>
                  <a:lnTo>
                    <a:pt x="37" y="52"/>
                  </a:lnTo>
                  <a:lnTo>
                    <a:pt x="19" y="67"/>
                  </a:lnTo>
                  <a:lnTo>
                    <a:pt x="22" y="85"/>
                  </a:lnTo>
                  <a:lnTo>
                    <a:pt x="26" y="100"/>
                  </a:lnTo>
                  <a:lnTo>
                    <a:pt x="0" y="122"/>
                  </a:lnTo>
                  <a:lnTo>
                    <a:pt x="7" y="137"/>
                  </a:lnTo>
                  <a:lnTo>
                    <a:pt x="15" y="145"/>
                  </a:lnTo>
                  <a:lnTo>
                    <a:pt x="0" y="163"/>
                  </a:lnTo>
                  <a:lnTo>
                    <a:pt x="0" y="189"/>
                  </a:lnTo>
                  <a:lnTo>
                    <a:pt x="7" y="200"/>
                  </a:lnTo>
                  <a:lnTo>
                    <a:pt x="22" y="200"/>
                  </a:lnTo>
                  <a:lnTo>
                    <a:pt x="30" y="208"/>
                  </a:lnTo>
                  <a:lnTo>
                    <a:pt x="37" y="226"/>
                  </a:lnTo>
                  <a:lnTo>
                    <a:pt x="37" y="245"/>
                  </a:lnTo>
                  <a:lnTo>
                    <a:pt x="52" y="249"/>
                  </a:lnTo>
                  <a:lnTo>
                    <a:pt x="63" y="245"/>
                  </a:lnTo>
                  <a:lnTo>
                    <a:pt x="104" y="204"/>
                  </a:lnTo>
                  <a:lnTo>
                    <a:pt x="122" y="211"/>
                  </a:lnTo>
                  <a:lnTo>
                    <a:pt x="159" y="230"/>
                  </a:lnTo>
                  <a:lnTo>
                    <a:pt x="185" y="249"/>
                  </a:lnTo>
                  <a:lnTo>
                    <a:pt x="189" y="271"/>
                  </a:lnTo>
                  <a:lnTo>
                    <a:pt x="204" y="286"/>
                  </a:lnTo>
                  <a:lnTo>
                    <a:pt x="211" y="312"/>
                  </a:lnTo>
                  <a:lnTo>
                    <a:pt x="219" y="352"/>
                  </a:lnTo>
                  <a:lnTo>
                    <a:pt x="230" y="371"/>
                  </a:lnTo>
                  <a:lnTo>
                    <a:pt x="244" y="387"/>
                  </a:lnTo>
                  <a:lnTo>
                    <a:pt x="271" y="397"/>
                  </a:lnTo>
                  <a:lnTo>
                    <a:pt x="294" y="433"/>
                  </a:lnTo>
                  <a:lnTo>
                    <a:pt x="316" y="463"/>
                  </a:lnTo>
                  <a:lnTo>
                    <a:pt x="338" y="478"/>
                  </a:lnTo>
                  <a:lnTo>
                    <a:pt x="379" y="526"/>
                  </a:lnTo>
                  <a:lnTo>
                    <a:pt x="408" y="526"/>
                  </a:lnTo>
                  <a:lnTo>
                    <a:pt x="442" y="555"/>
                  </a:lnTo>
                  <a:lnTo>
                    <a:pt x="442" y="585"/>
                  </a:lnTo>
                  <a:lnTo>
                    <a:pt x="453" y="593"/>
                  </a:lnTo>
                  <a:lnTo>
                    <a:pt x="475" y="578"/>
                  </a:lnTo>
                  <a:lnTo>
                    <a:pt x="479" y="593"/>
                  </a:lnTo>
                  <a:lnTo>
                    <a:pt x="479" y="611"/>
                  </a:lnTo>
                  <a:lnTo>
                    <a:pt x="501" y="630"/>
                  </a:lnTo>
                  <a:lnTo>
                    <a:pt x="508" y="641"/>
                  </a:lnTo>
                  <a:lnTo>
                    <a:pt x="538" y="633"/>
                  </a:lnTo>
                  <a:lnTo>
                    <a:pt x="542" y="645"/>
                  </a:lnTo>
                  <a:lnTo>
                    <a:pt x="538" y="670"/>
                  </a:lnTo>
                  <a:lnTo>
                    <a:pt x="553" y="693"/>
                  </a:lnTo>
                  <a:lnTo>
                    <a:pt x="557" y="711"/>
                  </a:lnTo>
                  <a:lnTo>
                    <a:pt x="564" y="730"/>
                  </a:lnTo>
                  <a:lnTo>
                    <a:pt x="560" y="745"/>
                  </a:lnTo>
                  <a:lnTo>
                    <a:pt x="545" y="760"/>
                  </a:lnTo>
                  <a:lnTo>
                    <a:pt x="542" y="778"/>
                  </a:lnTo>
                  <a:lnTo>
                    <a:pt x="531" y="800"/>
                  </a:lnTo>
                  <a:lnTo>
                    <a:pt x="534" y="819"/>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51" name="Freeform 452"/>
            <p:cNvSpPr>
              <a:spLocks/>
            </p:cNvSpPr>
            <p:nvPr/>
          </p:nvSpPr>
          <p:spPr bwMode="auto">
            <a:xfrm>
              <a:off x="1930" y="1710"/>
              <a:ext cx="317" cy="264"/>
            </a:xfrm>
            <a:custGeom>
              <a:avLst/>
              <a:gdLst>
                <a:gd name="T0" fmla="*/ 108 w 303"/>
                <a:gd name="T1" fmla="*/ 115 h 277"/>
                <a:gd name="T2" fmla="*/ 106 w 303"/>
                <a:gd name="T3" fmla="*/ 139 h 277"/>
                <a:gd name="T4" fmla="*/ 86 w 303"/>
                <a:gd name="T5" fmla="*/ 135 h 277"/>
                <a:gd name="T6" fmla="*/ 63 w 303"/>
                <a:gd name="T7" fmla="*/ 167 h 277"/>
                <a:gd name="T8" fmla="*/ 33 w 303"/>
                <a:gd name="T9" fmla="*/ 191 h 277"/>
                <a:gd name="T10" fmla="*/ 13 w 303"/>
                <a:gd name="T11" fmla="*/ 195 h 277"/>
                <a:gd name="T12" fmla="*/ 6 w 303"/>
                <a:gd name="T13" fmla="*/ 201 h 277"/>
                <a:gd name="T14" fmla="*/ 11 w 303"/>
                <a:gd name="T15" fmla="*/ 221 h 277"/>
                <a:gd name="T16" fmla="*/ 4 w 303"/>
                <a:gd name="T17" fmla="*/ 245 h 277"/>
                <a:gd name="T18" fmla="*/ 17 w 303"/>
                <a:gd name="T19" fmla="*/ 245 h 277"/>
                <a:gd name="T20" fmla="*/ 30 w 303"/>
                <a:gd name="T21" fmla="*/ 244 h 277"/>
                <a:gd name="T22" fmla="*/ 24 w 303"/>
                <a:gd name="T23" fmla="*/ 262 h 277"/>
                <a:gd name="T24" fmla="*/ 54 w 303"/>
                <a:gd name="T25" fmla="*/ 268 h 277"/>
                <a:gd name="T26" fmla="*/ 80 w 303"/>
                <a:gd name="T27" fmla="*/ 277 h 277"/>
                <a:gd name="T28" fmla="*/ 108 w 303"/>
                <a:gd name="T29" fmla="*/ 262 h 277"/>
                <a:gd name="T30" fmla="*/ 186 w 303"/>
                <a:gd name="T31" fmla="*/ 268 h 277"/>
                <a:gd name="T32" fmla="*/ 227 w 303"/>
                <a:gd name="T33" fmla="*/ 242 h 277"/>
                <a:gd name="T34" fmla="*/ 249 w 303"/>
                <a:gd name="T35" fmla="*/ 221 h 277"/>
                <a:gd name="T36" fmla="*/ 268 w 303"/>
                <a:gd name="T37" fmla="*/ 195 h 277"/>
                <a:gd name="T38" fmla="*/ 277 w 303"/>
                <a:gd name="T39" fmla="*/ 135 h 277"/>
                <a:gd name="T40" fmla="*/ 288 w 303"/>
                <a:gd name="T41" fmla="*/ 107 h 277"/>
                <a:gd name="T42" fmla="*/ 273 w 303"/>
                <a:gd name="T43" fmla="*/ 76 h 277"/>
                <a:gd name="T44" fmla="*/ 251 w 303"/>
                <a:gd name="T45" fmla="*/ 70 h 277"/>
                <a:gd name="T46" fmla="*/ 240 w 303"/>
                <a:gd name="T47" fmla="*/ 41 h 277"/>
                <a:gd name="T48" fmla="*/ 271 w 303"/>
                <a:gd name="T49" fmla="*/ 0 h 277"/>
                <a:gd name="T50" fmla="*/ 223 w 303"/>
                <a:gd name="T51" fmla="*/ 4 h 277"/>
                <a:gd name="T52" fmla="*/ 201 w 303"/>
                <a:gd name="T53" fmla="*/ 19 h 277"/>
                <a:gd name="T54" fmla="*/ 180 w 303"/>
                <a:gd name="T55" fmla="*/ 22 h 277"/>
                <a:gd name="T56" fmla="*/ 204 w 303"/>
                <a:gd name="T57" fmla="*/ 44 h 277"/>
                <a:gd name="T58" fmla="*/ 158 w 303"/>
                <a:gd name="T59" fmla="*/ 50 h 277"/>
                <a:gd name="T60" fmla="*/ 113 w 303"/>
                <a:gd name="T61" fmla="*/ 32 h 277"/>
                <a:gd name="T62" fmla="*/ 100 w 303"/>
                <a:gd name="T63" fmla="*/ 54 h 277"/>
                <a:gd name="T64" fmla="*/ 99 w 303"/>
                <a:gd name="T65" fmla="*/ 67 h 277"/>
                <a:gd name="T66" fmla="*/ 87 w 303"/>
                <a:gd name="T67" fmla="*/ 89 h 277"/>
                <a:gd name="T68" fmla="*/ 72 w 303"/>
                <a:gd name="T69" fmla="*/ 111 h 277"/>
                <a:gd name="T70" fmla="*/ 89 w 303"/>
                <a:gd name="T71" fmla="*/ 12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277">
                  <a:moveTo>
                    <a:pt x="112" y="104"/>
                  </a:moveTo>
                  <a:lnTo>
                    <a:pt x="108" y="115"/>
                  </a:lnTo>
                  <a:lnTo>
                    <a:pt x="112" y="130"/>
                  </a:lnTo>
                  <a:lnTo>
                    <a:pt x="106" y="139"/>
                  </a:lnTo>
                  <a:lnTo>
                    <a:pt x="97" y="133"/>
                  </a:lnTo>
                  <a:lnTo>
                    <a:pt x="86" y="135"/>
                  </a:lnTo>
                  <a:lnTo>
                    <a:pt x="86" y="146"/>
                  </a:lnTo>
                  <a:lnTo>
                    <a:pt x="63" y="167"/>
                  </a:lnTo>
                  <a:lnTo>
                    <a:pt x="50" y="172"/>
                  </a:lnTo>
                  <a:lnTo>
                    <a:pt x="33" y="191"/>
                  </a:lnTo>
                  <a:lnTo>
                    <a:pt x="22" y="196"/>
                  </a:lnTo>
                  <a:lnTo>
                    <a:pt x="13" y="195"/>
                  </a:lnTo>
                  <a:lnTo>
                    <a:pt x="9" y="198"/>
                  </a:lnTo>
                  <a:lnTo>
                    <a:pt x="6" y="201"/>
                  </a:lnTo>
                  <a:lnTo>
                    <a:pt x="11" y="208"/>
                  </a:lnTo>
                  <a:lnTo>
                    <a:pt x="11" y="221"/>
                  </a:lnTo>
                  <a:lnTo>
                    <a:pt x="0" y="233"/>
                  </a:lnTo>
                  <a:lnTo>
                    <a:pt x="4" y="245"/>
                  </a:lnTo>
                  <a:lnTo>
                    <a:pt x="4" y="245"/>
                  </a:lnTo>
                  <a:lnTo>
                    <a:pt x="17" y="245"/>
                  </a:lnTo>
                  <a:lnTo>
                    <a:pt x="22" y="236"/>
                  </a:lnTo>
                  <a:lnTo>
                    <a:pt x="30" y="244"/>
                  </a:lnTo>
                  <a:lnTo>
                    <a:pt x="20" y="251"/>
                  </a:lnTo>
                  <a:lnTo>
                    <a:pt x="24" y="262"/>
                  </a:lnTo>
                  <a:lnTo>
                    <a:pt x="30" y="264"/>
                  </a:lnTo>
                  <a:lnTo>
                    <a:pt x="54" y="268"/>
                  </a:lnTo>
                  <a:lnTo>
                    <a:pt x="58" y="270"/>
                  </a:lnTo>
                  <a:lnTo>
                    <a:pt x="80" y="277"/>
                  </a:lnTo>
                  <a:lnTo>
                    <a:pt x="89" y="273"/>
                  </a:lnTo>
                  <a:lnTo>
                    <a:pt x="108" y="262"/>
                  </a:lnTo>
                  <a:lnTo>
                    <a:pt x="136" y="268"/>
                  </a:lnTo>
                  <a:lnTo>
                    <a:pt x="186" y="268"/>
                  </a:lnTo>
                  <a:lnTo>
                    <a:pt x="214" y="262"/>
                  </a:lnTo>
                  <a:lnTo>
                    <a:pt x="227" y="242"/>
                  </a:lnTo>
                  <a:lnTo>
                    <a:pt x="244" y="233"/>
                  </a:lnTo>
                  <a:lnTo>
                    <a:pt x="249" y="221"/>
                  </a:lnTo>
                  <a:lnTo>
                    <a:pt x="255" y="205"/>
                  </a:lnTo>
                  <a:lnTo>
                    <a:pt x="268" y="195"/>
                  </a:lnTo>
                  <a:lnTo>
                    <a:pt x="279" y="167"/>
                  </a:lnTo>
                  <a:lnTo>
                    <a:pt x="277" y="135"/>
                  </a:lnTo>
                  <a:lnTo>
                    <a:pt x="303" y="120"/>
                  </a:lnTo>
                  <a:lnTo>
                    <a:pt x="288" y="107"/>
                  </a:lnTo>
                  <a:lnTo>
                    <a:pt x="283" y="85"/>
                  </a:lnTo>
                  <a:lnTo>
                    <a:pt x="273" y="76"/>
                  </a:lnTo>
                  <a:lnTo>
                    <a:pt x="262" y="76"/>
                  </a:lnTo>
                  <a:lnTo>
                    <a:pt x="251" y="70"/>
                  </a:lnTo>
                  <a:lnTo>
                    <a:pt x="231" y="46"/>
                  </a:lnTo>
                  <a:lnTo>
                    <a:pt x="240" y="41"/>
                  </a:lnTo>
                  <a:lnTo>
                    <a:pt x="275" y="9"/>
                  </a:lnTo>
                  <a:lnTo>
                    <a:pt x="271" y="0"/>
                  </a:lnTo>
                  <a:lnTo>
                    <a:pt x="260" y="2"/>
                  </a:lnTo>
                  <a:lnTo>
                    <a:pt x="223" y="4"/>
                  </a:lnTo>
                  <a:lnTo>
                    <a:pt x="210" y="13"/>
                  </a:lnTo>
                  <a:lnTo>
                    <a:pt x="201" y="19"/>
                  </a:lnTo>
                  <a:lnTo>
                    <a:pt x="188" y="17"/>
                  </a:lnTo>
                  <a:lnTo>
                    <a:pt x="180" y="22"/>
                  </a:lnTo>
                  <a:lnTo>
                    <a:pt x="186" y="32"/>
                  </a:lnTo>
                  <a:lnTo>
                    <a:pt x="204" y="44"/>
                  </a:lnTo>
                  <a:lnTo>
                    <a:pt x="191" y="46"/>
                  </a:lnTo>
                  <a:lnTo>
                    <a:pt x="158" y="50"/>
                  </a:lnTo>
                  <a:lnTo>
                    <a:pt x="136" y="41"/>
                  </a:lnTo>
                  <a:lnTo>
                    <a:pt x="113" y="32"/>
                  </a:lnTo>
                  <a:lnTo>
                    <a:pt x="106" y="37"/>
                  </a:lnTo>
                  <a:lnTo>
                    <a:pt x="100" y="54"/>
                  </a:lnTo>
                  <a:lnTo>
                    <a:pt x="102" y="63"/>
                  </a:lnTo>
                  <a:lnTo>
                    <a:pt x="99" y="67"/>
                  </a:lnTo>
                  <a:lnTo>
                    <a:pt x="86" y="72"/>
                  </a:lnTo>
                  <a:lnTo>
                    <a:pt x="87" y="89"/>
                  </a:lnTo>
                  <a:lnTo>
                    <a:pt x="86" y="93"/>
                  </a:lnTo>
                  <a:lnTo>
                    <a:pt x="72" y="111"/>
                  </a:lnTo>
                  <a:lnTo>
                    <a:pt x="84" y="128"/>
                  </a:lnTo>
                  <a:lnTo>
                    <a:pt x="89" y="126"/>
                  </a:lnTo>
                  <a:lnTo>
                    <a:pt x="112" y="104"/>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52" name="Freeform 453"/>
            <p:cNvSpPr>
              <a:spLocks/>
            </p:cNvSpPr>
            <p:nvPr/>
          </p:nvSpPr>
          <p:spPr bwMode="auto">
            <a:xfrm>
              <a:off x="2810" y="1935"/>
              <a:ext cx="535" cy="650"/>
            </a:xfrm>
            <a:custGeom>
              <a:avLst/>
              <a:gdLst>
                <a:gd name="T0" fmla="*/ 210 w 535"/>
                <a:gd name="T1" fmla="*/ 14 h 650"/>
                <a:gd name="T2" fmla="*/ 216 w 535"/>
                <a:gd name="T3" fmla="*/ 46 h 650"/>
                <a:gd name="T4" fmla="*/ 212 w 535"/>
                <a:gd name="T5" fmla="*/ 68 h 650"/>
                <a:gd name="T6" fmla="*/ 241 w 535"/>
                <a:gd name="T7" fmla="*/ 102 h 650"/>
                <a:gd name="T8" fmla="*/ 197 w 535"/>
                <a:gd name="T9" fmla="*/ 91 h 650"/>
                <a:gd name="T10" fmla="*/ 164 w 535"/>
                <a:gd name="T11" fmla="*/ 116 h 650"/>
                <a:gd name="T12" fmla="*/ 141 w 535"/>
                <a:gd name="T13" fmla="*/ 95 h 650"/>
                <a:gd name="T14" fmla="*/ 98 w 535"/>
                <a:gd name="T15" fmla="*/ 116 h 650"/>
                <a:gd name="T16" fmla="*/ 107 w 535"/>
                <a:gd name="T17" fmla="*/ 149 h 650"/>
                <a:gd name="T18" fmla="*/ 85 w 535"/>
                <a:gd name="T19" fmla="*/ 167 h 650"/>
                <a:gd name="T20" fmla="*/ 89 w 535"/>
                <a:gd name="T21" fmla="*/ 199 h 650"/>
                <a:gd name="T22" fmla="*/ 60 w 535"/>
                <a:gd name="T23" fmla="*/ 232 h 650"/>
                <a:gd name="T24" fmla="*/ 29 w 535"/>
                <a:gd name="T25" fmla="*/ 258 h 650"/>
                <a:gd name="T26" fmla="*/ 20 w 535"/>
                <a:gd name="T27" fmla="*/ 310 h 650"/>
                <a:gd name="T28" fmla="*/ 16 w 535"/>
                <a:gd name="T29" fmla="*/ 333 h 650"/>
                <a:gd name="T30" fmla="*/ 2 w 535"/>
                <a:gd name="T31" fmla="*/ 380 h 650"/>
                <a:gd name="T32" fmla="*/ 20 w 535"/>
                <a:gd name="T33" fmla="*/ 403 h 650"/>
                <a:gd name="T34" fmla="*/ 0 w 535"/>
                <a:gd name="T35" fmla="*/ 432 h 650"/>
                <a:gd name="T36" fmla="*/ 29 w 535"/>
                <a:gd name="T37" fmla="*/ 465 h 650"/>
                <a:gd name="T38" fmla="*/ 84 w 535"/>
                <a:gd name="T39" fmla="*/ 471 h 650"/>
                <a:gd name="T40" fmla="*/ 93 w 535"/>
                <a:gd name="T41" fmla="*/ 494 h 650"/>
                <a:gd name="T42" fmla="*/ 68 w 535"/>
                <a:gd name="T43" fmla="*/ 526 h 650"/>
                <a:gd name="T44" fmla="*/ 46 w 535"/>
                <a:gd name="T45" fmla="*/ 578 h 650"/>
                <a:gd name="T46" fmla="*/ 75 w 535"/>
                <a:gd name="T47" fmla="*/ 609 h 650"/>
                <a:gd name="T48" fmla="*/ 102 w 535"/>
                <a:gd name="T49" fmla="*/ 597 h 650"/>
                <a:gd name="T50" fmla="*/ 126 w 535"/>
                <a:gd name="T51" fmla="*/ 609 h 650"/>
                <a:gd name="T52" fmla="*/ 155 w 535"/>
                <a:gd name="T53" fmla="*/ 627 h 650"/>
                <a:gd name="T54" fmla="*/ 205 w 535"/>
                <a:gd name="T55" fmla="*/ 634 h 650"/>
                <a:gd name="T56" fmla="*/ 239 w 535"/>
                <a:gd name="T57" fmla="*/ 640 h 650"/>
                <a:gd name="T58" fmla="*/ 289 w 535"/>
                <a:gd name="T59" fmla="*/ 640 h 650"/>
                <a:gd name="T60" fmla="*/ 322 w 535"/>
                <a:gd name="T61" fmla="*/ 636 h 650"/>
                <a:gd name="T62" fmla="*/ 357 w 535"/>
                <a:gd name="T63" fmla="*/ 636 h 650"/>
                <a:gd name="T64" fmla="*/ 399 w 535"/>
                <a:gd name="T65" fmla="*/ 644 h 650"/>
                <a:gd name="T66" fmla="*/ 390 w 535"/>
                <a:gd name="T67" fmla="*/ 617 h 650"/>
                <a:gd name="T68" fmla="*/ 451 w 535"/>
                <a:gd name="T69" fmla="*/ 564 h 650"/>
                <a:gd name="T70" fmla="*/ 421 w 535"/>
                <a:gd name="T71" fmla="*/ 539 h 650"/>
                <a:gd name="T72" fmla="*/ 363 w 535"/>
                <a:gd name="T73" fmla="*/ 486 h 650"/>
                <a:gd name="T74" fmla="*/ 348 w 535"/>
                <a:gd name="T75" fmla="*/ 438 h 650"/>
                <a:gd name="T76" fmla="*/ 368 w 535"/>
                <a:gd name="T77" fmla="*/ 427 h 650"/>
                <a:gd name="T78" fmla="*/ 484 w 535"/>
                <a:gd name="T79" fmla="*/ 380 h 650"/>
                <a:gd name="T80" fmla="*/ 526 w 535"/>
                <a:gd name="T81" fmla="*/ 377 h 650"/>
                <a:gd name="T82" fmla="*/ 535 w 535"/>
                <a:gd name="T83" fmla="*/ 345 h 650"/>
                <a:gd name="T84" fmla="*/ 524 w 535"/>
                <a:gd name="T85" fmla="*/ 285 h 650"/>
                <a:gd name="T86" fmla="*/ 514 w 535"/>
                <a:gd name="T87" fmla="*/ 243 h 650"/>
                <a:gd name="T88" fmla="*/ 501 w 535"/>
                <a:gd name="T89" fmla="*/ 197 h 650"/>
                <a:gd name="T90" fmla="*/ 479 w 535"/>
                <a:gd name="T91" fmla="*/ 124 h 650"/>
                <a:gd name="T92" fmla="*/ 433 w 535"/>
                <a:gd name="T93" fmla="*/ 81 h 650"/>
                <a:gd name="T94" fmla="*/ 396 w 535"/>
                <a:gd name="T95" fmla="*/ 79 h 650"/>
                <a:gd name="T96" fmla="*/ 333 w 535"/>
                <a:gd name="T97" fmla="*/ 101 h 650"/>
                <a:gd name="T98" fmla="*/ 328 w 535"/>
                <a:gd name="T99" fmla="*/ 83 h 650"/>
                <a:gd name="T100" fmla="*/ 297 w 535"/>
                <a:gd name="T101" fmla="*/ 56 h 650"/>
                <a:gd name="T102" fmla="*/ 272 w 535"/>
                <a:gd name="T103" fmla="*/ 14 h 650"/>
                <a:gd name="T104" fmla="*/ 235 w 535"/>
                <a:gd name="T105" fmla="*/ 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5" h="650">
                  <a:moveTo>
                    <a:pt x="222" y="0"/>
                  </a:moveTo>
                  <a:lnTo>
                    <a:pt x="210" y="7"/>
                  </a:lnTo>
                  <a:lnTo>
                    <a:pt x="210" y="14"/>
                  </a:lnTo>
                  <a:lnTo>
                    <a:pt x="212" y="21"/>
                  </a:lnTo>
                  <a:lnTo>
                    <a:pt x="214" y="31"/>
                  </a:lnTo>
                  <a:lnTo>
                    <a:pt x="216" y="46"/>
                  </a:lnTo>
                  <a:lnTo>
                    <a:pt x="210" y="51"/>
                  </a:lnTo>
                  <a:lnTo>
                    <a:pt x="210" y="60"/>
                  </a:lnTo>
                  <a:lnTo>
                    <a:pt x="212" y="68"/>
                  </a:lnTo>
                  <a:lnTo>
                    <a:pt x="228" y="81"/>
                  </a:lnTo>
                  <a:lnTo>
                    <a:pt x="237" y="83"/>
                  </a:lnTo>
                  <a:lnTo>
                    <a:pt x="241" y="102"/>
                  </a:lnTo>
                  <a:lnTo>
                    <a:pt x="219" y="97"/>
                  </a:lnTo>
                  <a:lnTo>
                    <a:pt x="207" y="86"/>
                  </a:lnTo>
                  <a:lnTo>
                    <a:pt x="197" y="91"/>
                  </a:lnTo>
                  <a:lnTo>
                    <a:pt x="180" y="111"/>
                  </a:lnTo>
                  <a:lnTo>
                    <a:pt x="172" y="118"/>
                  </a:lnTo>
                  <a:lnTo>
                    <a:pt x="164" y="116"/>
                  </a:lnTo>
                  <a:lnTo>
                    <a:pt x="163" y="107"/>
                  </a:lnTo>
                  <a:lnTo>
                    <a:pt x="157" y="101"/>
                  </a:lnTo>
                  <a:lnTo>
                    <a:pt x="141" y="95"/>
                  </a:lnTo>
                  <a:lnTo>
                    <a:pt x="118" y="95"/>
                  </a:lnTo>
                  <a:lnTo>
                    <a:pt x="111" y="104"/>
                  </a:lnTo>
                  <a:lnTo>
                    <a:pt x="98" y="116"/>
                  </a:lnTo>
                  <a:lnTo>
                    <a:pt x="109" y="124"/>
                  </a:lnTo>
                  <a:lnTo>
                    <a:pt x="109" y="141"/>
                  </a:lnTo>
                  <a:lnTo>
                    <a:pt x="107" y="149"/>
                  </a:lnTo>
                  <a:lnTo>
                    <a:pt x="102" y="157"/>
                  </a:lnTo>
                  <a:lnTo>
                    <a:pt x="89" y="165"/>
                  </a:lnTo>
                  <a:lnTo>
                    <a:pt x="85" y="167"/>
                  </a:lnTo>
                  <a:lnTo>
                    <a:pt x="87" y="180"/>
                  </a:lnTo>
                  <a:lnTo>
                    <a:pt x="93" y="188"/>
                  </a:lnTo>
                  <a:lnTo>
                    <a:pt x="89" y="199"/>
                  </a:lnTo>
                  <a:lnTo>
                    <a:pt x="79" y="211"/>
                  </a:lnTo>
                  <a:lnTo>
                    <a:pt x="68" y="223"/>
                  </a:lnTo>
                  <a:lnTo>
                    <a:pt x="60" y="232"/>
                  </a:lnTo>
                  <a:lnTo>
                    <a:pt x="46" y="241"/>
                  </a:lnTo>
                  <a:lnTo>
                    <a:pt x="37" y="244"/>
                  </a:lnTo>
                  <a:lnTo>
                    <a:pt x="29" y="258"/>
                  </a:lnTo>
                  <a:lnTo>
                    <a:pt x="27" y="279"/>
                  </a:lnTo>
                  <a:lnTo>
                    <a:pt x="20" y="290"/>
                  </a:lnTo>
                  <a:lnTo>
                    <a:pt x="20" y="310"/>
                  </a:lnTo>
                  <a:lnTo>
                    <a:pt x="11" y="318"/>
                  </a:lnTo>
                  <a:lnTo>
                    <a:pt x="9" y="324"/>
                  </a:lnTo>
                  <a:lnTo>
                    <a:pt x="16" y="333"/>
                  </a:lnTo>
                  <a:lnTo>
                    <a:pt x="20" y="347"/>
                  </a:lnTo>
                  <a:lnTo>
                    <a:pt x="29" y="359"/>
                  </a:lnTo>
                  <a:lnTo>
                    <a:pt x="2" y="380"/>
                  </a:lnTo>
                  <a:lnTo>
                    <a:pt x="7" y="392"/>
                  </a:lnTo>
                  <a:lnTo>
                    <a:pt x="18" y="401"/>
                  </a:lnTo>
                  <a:lnTo>
                    <a:pt x="20" y="403"/>
                  </a:lnTo>
                  <a:lnTo>
                    <a:pt x="20" y="411"/>
                  </a:lnTo>
                  <a:lnTo>
                    <a:pt x="6" y="420"/>
                  </a:lnTo>
                  <a:lnTo>
                    <a:pt x="0" y="432"/>
                  </a:lnTo>
                  <a:lnTo>
                    <a:pt x="6" y="449"/>
                  </a:lnTo>
                  <a:lnTo>
                    <a:pt x="14" y="459"/>
                  </a:lnTo>
                  <a:lnTo>
                    <a:pt x="29" y="465"/>
                  </a:lnTo>
                  <a:lnTo>
                    <a:pt x="48" y="468"/>
                  </a:lnTo>
                  <a:lnTo>
                    <a:pt x="68" y="469"/>
                  </a:lnTo>
                  <a:lnTo>
                    <a:pt x="84" y="471"/>
                  </a:lnTo>
                  <a:lnTo>
                    <a:pt x="95" y="479"/>
                  </a:lnTo>
                  <a:lnTo>
                    <a:pt x="107" y="488"/>
                  </a:lnTo>
                  <a:lnTo>
                    <a:pt x="93" y="494"/>
                  </a:lnTo>
                  <a:lnTo>
                    <a:pt x="82" y="505"/>
                  </a:lnTo>
                  <a:lnTo>
                    <a:pt x="70" y="514"/>
                  </a:lnTo>
                  <a:lnTo>
                    <a:pt x="68" y="526"/>
                  </a:lnTo>
                  <a:lnTo>
                    <a:pt x="62" y="551"/>
                  </a:lnTo>
                  <a:lnTo>
                    <a:pt x="52" y="567"/>
                  </a:lnTo>
                  <a:lnTo>
                    <a:pt x="46" y="578"/>
                  </a:lnTo>
                  <a:lnTo>
                    <a:pt x="62" y="597"/>
                  </a:lnTo>
                  <a:lnTo>
                    <a:pt x="66" y="602"/>
                  </a:lnTo>
                  <a:lnTo>
                    <a:pt x="75" y="609"/>
                  </a:lnTo>
                  <a:lnTo>
                    <a:pt x="85" y="608"/>
                  </a:lnTo>
                  <a:lnTo>
                    <a:pt x="97" y="602"/>
                  </a:lnTo>
                  <a:lnTo>
                    <a:pt x="102" y="597"/>
                  </a:lnTo>
                  <a:lnTo>
                    <a:pt x="104" y="594"/>
                  </a:lnTo>
                  <a:lnTo>
                    <a:pt x="118" y="595"/>
                  </a:lnTo>
                  <a:lnTo>
                    <a:pt x="126" y="609"/>
                  </a:lnTo>
                  <a:lnTo>
                    <a:pt x="136" y="617"/>
                  </a:lnTo>
                  <a:lnTo>
                    <a:pt x="143" y="625"/>
                  </a:lnTo>
                  <a:lnTo>
                    <a:pt x="155" y="627"/>
                  </a:lnTo>
                  <a:lnTo>
                    <a:pt x="178" y="625"/>
                  </a:lnTo>
                  <a:lnTo>
                    <a:pt x="189" y="623"/>
                  </a:lnTo>
                  <a:lnTo>
                    <a:pt x="205" y="634"/>
                  </a:lnTo>
                  <a:lnTo>
                    <a:pt x="217" y="629"/>
                  </a:lnTo>
                  <a:lnTo>
                    <a:pt x="229" y="632"/>
                  </a:lnTo>
                  <a:lnTo>
                    <a:pt x="239" y="640"/>
                  </a:lnTo>
                  <a:lnTo>
                    <a:pt x="258" y="632"/>
                  </a:lnTo>
                  <a:lnTo>
                    <a:pt x="276" y="632"/>
                  </a:lnTo>
                  <a:lnTo>
                    <a:pt x="289" y="640"/>
                  </a:lnTo>
                  <a:lnTo>
                    <a:pt x="299" y="643"/>
                  </a:lnTo>
                  <a:lnTo>
                    <a:pt x="310" y="636"/>
                  </a:lnTo>
                  <a:lnTo>
                    <a:pt x="322" y="636"/>
                  </a:lnTo>
                  <a:lnTo>
                    <a:pt x="342" y="632"/>
                  </a:lnTo>
                  <a:lnTo>
                    <a:pt x="355" y="640"/>
                  </a:lnTo>
                  <a:lnTo>
                    <a:pt x="357" y="636"/>
                  </a:lnTo>
                  <a:lnTo>
                    <a:pt x="372" y="644"/>
                  </a:lnTo>
                  <a:lnTo>
                    <a:pt x="385" y="650"/>
                  </a:lnTo>
                  <a:lnTo>
                    <a:pt x="399" y="644"/>
                  </a:lnTo>
                  <a:lnTo>
                    <a:pt x="401" y="636"/>
                  </a:lnTo>
                  <a:lnTo>
                    <a:pt x="392" y="623"/>
                  </a:lnTo>
                  <a:lnTo>
                    <a:pt x="390" y="617"/>
                  </a:lnTo>
                  <a:lnTo>
                    <a:pt x="385" y="596"/>
                  </a:lnTo>
                  <a:lnTo>
                    <a:pt x="438" y="564"/>
                  </a:lnTo>
                  <a:lnTo>
                    <a:pt x="451" y="564"/>
                  </a:lnTo>
                  <a:lnTo>
                    <a:pt x="453" y="559"/>
                  </a:lnTo>
                  <a:lnTo>
                    <a:pt x="435" y="552"/>
                  </a:lnTo>
                  <a:lnTo>
                    <a:pt x="421" y="539"/>
                  </a:lnTo>
                  <a:lnTo>
                    <a:pt x="387" y="511"/>
                  </a:lnTo>
                  <a:lnTo>
                    <a:pt x="382" y="489"/>
                  </a:lnTo>
                  <a:lnTo>
                    <a:pt x="363" y="486"/>
                  </a:lnTo>
                  <a:lnTo>
                    <a:pt x="360" y="465"/>
                  </a:lnTo>
                  <a:lnTo>
                    <a:pt x="356" y="447"/>
                  </a:lnTo>
                  <a:lnTo>
                    <a:pt x="348" y="438"/>
                  </a:lnTo>
                  <a:lnTo>
                    <a:pt x="353" y="430"/>
                  </a:lnTo>
                  <a:lnTo>
                    <a:pt x="357" y="426"/>
                  </a:lnTo>
                  <a:lnTo>
                    <a:pt x="368" y="427"/>
                  </a:lnTo>
                  <a:lnTo>
                    <a:pt x="400" y="418"/>
                  </a:lnTo>
                  <a:lnTo>
                    <a:pt x="469" y="386"/>
                  </a:lnTo>
                  <a:lnTo>
                    <a:pt x="484" y="380"/>
                  </a:lnTo>
                  <a:lnTo>
                    <a:pt x="498" y="372"/>
                  </a:lnTo>
                  <a:lnTo>
                    <a:pt x="510" y="383"/>
                  </a:lnTo>
                  <a:lnTo>
                    <a:pt x="526" y="377"/>
                  </a:lnTo>
                  <a:lnTo>
                    <a:pt x="530" y="363"/>
                  </a:lnTo>
                  <a:lnTo>
                    <a:pt x="529" y="354"/>
                  </a:lnTo>
                  <a:lnTo>
                    <a:pt x="535" y="345"/>
                  </a:lnTo>
                  <a:lnTo>
                    <a:pt x="527" y="334"/>
                  </a:lnTo>
                  <a:lnTo>
                    <a:pt x="520" y="315"/>
                  </a:lnTo>
                  <a:lnTo>
                    <a:pt x="524" y="285"/>
                  </a:lnTo>
                  <a:lnTo>
                    <a:pt x="513" y="271"/>
                  </a:lnTo>
                  <a:lnTo>
                    <a:pt x="509" y="257"/>
                  </a:lnTo>
                  <a:lnTo>
                    <a:pt x="514" y="243"/>
                  </a:lnTo>
                  <a:lnTo>
                    <a:pt x="511" y="232"/>
                  </a:lnTo>
                  <a:lnTo>
                    <a:pt x="489" y="210"/>
                  </a:lnTo>
                  <a:lnTo>
                    <a:pt x="501" y="197"/>
                  </a:lnTo>
                  <a:lnTo>
                    <a:pt x="501" y="174"/>
                  </a:lnTo>
                  <a:lnTo>
                    <a:pt x="503" y="147"/>
                  </a:lnTo>
                  <a:lnTo>
                    <a:pt x="479" y="124"/>
                  </a:lnTo>
                  <a:lnTo>
                    <a:pt x="467" y="109"/>
                  </a:lnTo>
                  <a:lnTo>
                    <a:pt x="453" y="97"/>
                  </a:lnTo>
                  <a:lnTo>
                    <a:pt x="433" y="81"/>
                  </a:lnTo>
                  <a:lnTo>
                    <a:pt x="419" y="72"/>
                  </a:lnTo>
                  <a:lnTo>
                    <a:pt x="410" y="70"/>
                  </a:lnTo>
                  <a:lnTo>
                    <a:pt x="396" y="79"/>
                  </a:lnTo>
                  <a:lnTo>
                    <a:pt x="386" y="85"/>
                  </a:lnTo>
                  <a:lnTo>
                    <a:pt x="355" y="105"/>
                  </a:lnTo>
                  <a:lnTo>
                    <a:pt x="333" y="101"/>
                  </a:lnTo>
                  <a:lnTo>
                    <a:pt x="324" y="101"/>
                  </a:lnTo>
                  <a:lnTo>
                    <a:pt x="324" y="93"/>
                  </a:lnTo>
                  <a:lnTo>
                    <a:pt x="328" y="83"/>
                  </a:lnTo>
                  <a:lnTo>
                    <a:pt x="333" y="74"/>
                  </a:lnTo>
                  <a:lnTo>
                    <a:pt x="305" y="58"/>
                  </a:lnTo>
                  <a:lnTo>
                    <a:pt x="297" y="56"/>
                  </a:lnTo>
                  <a:lnTo>
                    <a:pt x="283" y="46"/>
                  </a:lnTo>
                  <a:lnTo>
                    <a:pt x="278" y="27"/>
                  </a:lnTo>
                  <a:lnTo>
                    <a:pt x="272" y="14"/>
                  </a:lnTo>
                  <a:lnTo>
                    <a:pt x="262" y="16"/>
                  </a:lnTo>
                  <a:lnTo>
                    <a:pt x="251" y="4"/>
                  </a:lnTo>
                  <a:lnTo>
                    <a:pt x="235" y="2"/>
                  </a:lnTo>
                  <a:lnTo>
                    <a:pt x="222"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53" name="Freeform 454"/>
            <p:cNvSpPr>
              <a:spLocks/>
            </p:cNvSpPr>
            <p:nvPr/>
          </p:nvSpPr>
          <p:spPr bwMode="auto">
            <a:xfrm>
              <a:off x="2117" y="2203"/>
              <a:ext cx="800" cy="706"/>
            </a:xfrm>
            <a:custGeom>
              <a:avLst/>
              <a:gdLst>
                <a:gd name="T0" fmla="*/ 11 w 763"/>
                <a:gd name="T1" fmla="*/ 145 h 746"/>
                <a:gd name="T2" fmla="*/ 13 w 763"/>
                <a:gd name="T3" fmla="*/ 174 h 746"/>
                <a:gd name="T4" fmla="*/ 74 w 763"/>
                <a:gd name="T5" fmla="*/ 221 h 746"/>
                <a:gd name="T6" fmla="*/ 122 w 763"/>
                <a:gd name="T7" fmla="*/ 250 h 746"/>
                <a:gd name="T8" fmla="*/ 117 w 763"/>
                <a:gd name="T9" fmla="*/ 290 h 746"/>
                <a:gd name="T10" fmla="*/ 145 w 763"/>
                <a:gd name="T11" fmla="*/ 349 h 746"/>
                <a:gd name="T12" fmla="*/ 158 w 763"/>
                <a:gd name="T13" fmla="*/ 429 h 746"/>
                <a:gd name="T14" fmla="*/ 132 w 763"/>
                <a:gd name="T15" fmla="*/ 429 h 746"/>
                <a:gd name="T16" fmla="*/ 115 w 763"/>
                <a:gd name="T17" fmla="*/ 470 h 746"/>
                <a:gd name="T18" fmla="*/ 98 w 763"/>
                <a:gd name="T19" fmla="*/ 511 h 746"/>
                <a:gd name="T20" fmla="*/ 57 w 763"/>
                <a:gd name="T21" fmla="*/ 583 h 746"/>
                <a:gd name="T22" fmla="*/ 59 w 763"/>
                <a:gd name="T23" fmla="*/ 618 h 746"/>
                <a:gd name="T24" fmla="*/ 161 w 763"/>
                <a:gd name="T25" fmla="*/ 685 h 746"/>
                <a:gd name="T26" fmla="*/ 248 w 763"/>
                <a:gd name="T27" fmla="*/ 726 h 746"/>
                <a:gd name="T28" fmla="*/ 325 w 763"/>
                <a:gd name="T29" fmla="*/ 746 h 746"/>
                <a:gd name="T30" fmla="*/ 353 w 763"/>
                <a:gd name="T31" fmla="*/ 689 h 746"/>
                <a:gd name="T32" fmla="*/ 422 w 763"/>
                <a:gd name="T33" fmla="*/ 664 h 746"/>
                <a:gd name="T34" fmla="*/ 472 w 763"/>
                <a:gd name="T35" fmla="*/ 690 h 746"/>
                <a:gd name="T36" fmla="*/ 541 w 763"/>
                <a:gd name="T37" fmla="*/ 726 h 746"/>
                <a:gd name="T38" fmla="*/ 604 w 763"/>
                <a:gd name="T39" fmla="*/ 711 h 746"/>
                <a:gd name="T40" fmla="*/ 650 w 763"/>
                <a:gd name="T41" fmla="*/ 663 h 746"/>
                <a:gd name="T42" fmla="*/ 622 w 763"/>
                <a:gd name="T43" fmla="*/ 642 h 746"/>
                <a:gd name="T44" fmla="*/ 617 w 763"/>
                <a:gd name="T45" fmla="*/ 574 h 746"/>
                <a:gd name="T46" fmla="*/ 635 w 763"/>
                <a:gd name="T47" fmla="*/ 511 h 746"/>
                <a:gd name="T48" fmla="*/ 635 w 763"/>
                <a:gd name="T49" fmla="*/ 453 h 746"/>
                <a:gd name="T50" fmla="*/ 602 w 763"/>
                <a:gd name="T51" fmla="*/ 455 h 746"/>
                <a:gd name="T52" fmla="*/ 587 w 763"/>
                <a:gd name="T53" fmla="*/ 446 h 746"/>
                <a:gd name="T54" fmla="*/ 622 w 763"/>
                <a:gd name="T55" fmla="*/ 405 h 746"/>
                <a:gd name="T56" fmla="*/ 676 w 763"/>
                <a:gd name="T57" fmla="*/ 353 h 746"/>
                <a:gd name="T58" fmla="*/ 704 w 763"/>
                <a:gd name="T59" fmla="*/ 327 h 746"/>
                <a:gd name="T60" fmla="*/ 726 w 763"/>
                <a:gd name="T61" fmla="*/ 277 h 746"/>
                <a:gd name="T62" fmla="*/ 763 w 763"/>
                <a:gd name="T63" fmla="*/ 234 h 746"/>
                <a:gd name="T64" fmla="*/ 719 w 763"/>
                <a:gd name="T65" fmla="*/ 213 h 746"/>
                <a:gd name="T66" fmla="*/ 667 w 763"/>
                <a:gd name="T67" fmla="*/ 195 h 746"/>
                <a:gd name="T68" fmla="*/ 631 w 763"/>
                <a:gd name="T69" fmla="*/ 163 h 746"/>
                <a:gd name="T70" fmla="*/ 581 w 763"/>
                <a:gd name="T71" fmla="*/ 119 h 746"/>
                <a:gd name="T72" fmla="*/ 539 w 763"/>
                <a:gd name="T73" fmla="*/ 76 h 746"/>
                <a:gd name="T74" fmla="*/ 509 w 763"/>
                <a:gd name="T75" fmla="*/ 30 h 746"/>
                <a:gd name="T76" fmla="*/ 444 w 763"/>
                <a:gd name="T77" fmla="*/ 2 h 746"/>
                <a:gd name="T78" fmla="*/ 416 w 763"/>
                <a:gd name="T79" fmla="*/ 35 h 746"/>
                <a:gd name="T80" fmla="*/ 318 w 763"/>
                <a:gd name="T81" fmla="*/ 87 h 746"/>
                <a:gd name="T82" fmla="*/ 265 w 763"/>
                <a:gd name="T83" fmla="*/ 104 h 746"/>
                <a:gd name="T84" fmla="*/ 219 w 763"/>
                <a:gd name="T85" fmla="*/ 78 h 746"/>
                <a:gd name="T86" fmla="*/ 198 w 763"/>
                <a:gd name="T87" fmla="*/ 56 h 746"/>
                <a:gd name="T88" fmla="*/ 204 w 763"/>
                <a:gd name="T89" fmla="*/ 83 h 746"/>
                <a:gd name="T90" fmla="*/ 197 w 763"/>
                <a:gd name="T91" fmla="*/ 113 h 746"/>
                <a:gd name="T92" fmla="*/ 182 w 763"/>
                <a:gd name="T93" fmla="*/ 137 h 746"/>
                <a:gd name="T94" fmla="*/ 141 w 763"/>
                <a:gd name="T95" fmla="*/ 126 h 746"/>
                <a:gd name="T96" fmla="*/ 93 w 763"/>
                <a:gd name="T97" fmla="*/ 96 h 746"/>
                <a:gd name="T98" fmla="*/ 59 w 763"/>
                <a:gd name="T99" fmla="*/ 108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3" h="746">
                  <a:moveTo>
                    <a:pt x="13" y="106"/>
                  </a:moveTo>
                  <a:lnTo>
                    <a:pt x="20" y="124"/>
                  </a:lnTo>
                  <a:lnTo>
                    <a:pt x="13" y="139"/>
                  </a:lnTo>
                  <a:lnTo>
                    <a:pt x="11" y="145"/>
                  </a:lnTo>
                  <a:lnTo>
                    <a:pt x="0" y="141"/>
                  </a:lnTo>
                  <a:lnTo>
                    <a:pt x="4" y="150"/>
                  </a:lnTo>
                  <a:lnTo>
                    <a:pt x="4" y="159"/>
                  </a:lnTo>
                  <a:lnTo>
                    <a:pt x="13" y="174"/>
                  </a:lnTo>
                  <a:lnTo>
                    <a:pt x="30" y="169"/>
                  </a:lnTo>
                  <a:lnTo>
                    <a:pt x="52" y="193"/>
                  </a:lnTo>
                  <a:lnTo>
                    <a:pt x="61" y="209"/>
                  </a:lnTo>
                  <a:lnTo>
                    <a:pt x="74" y="221"/>
                  </a:lnTo>
                  <a:lnTo>
                    <a:pt x="91" y="221"/>
                  </a:lnTo>
                  <a:lnTo>
                    <a:pt x="98" y="235"/>
                  </a:lnTo>
                  <a:lnTo>
                    <a:pt x="113" y="248"/>
                  </a:lnTo>
                  <a:lnTo>
                    <a:pt x="122" y="250"/>
                  </a:lnTo>
                  <a:lnTo>
                    <a:pt x="124" y="256"/>
                  </a:lnTo>
                  <a:lnTo>
                    <a:pt x="119" y="268"/>
                  </a:lnTo>
                  <a:lnTo>
                    <a:pt x="119" y="279"/>
                  </a:lnTo>
                  <a:lnTo>
                    <a:pt x="117" y="290"/>
                  </a:lnTo>
                  <a:lnTo>
                    <a:pt x="113" y="309"/>
                  </a:lnTo>
                  <a:lnTo>
                    <a:pt x="128" y="327"/>
                  </a:lnTo>
                  <a:lnTo>
                    <a:pt x="145" y="340"/>
                  </a:lnTo>
                  <a:lnTo>
                    <a:pt x="145" y="349"/>
                  </a:lnTo>
                  <a:lnTo>
                    <a:pt x="143" y="381"/>
                  </a:lnTo>
                  <a:lnTo>
                    <a:pt x="139" y="407"/>
                  </a:lnTo>
                  <a:lnTo>
                    <a:pt x="143" y="418"/>
                  </a:lnTo>
                  <a:lnTo>
                    <a:pt x="158" y="429"/>
                  </a:lnTo>
                  <a:lnTo>
                    <a:pt x="158" y="451"/>
                  </a:lnTo>
                  <a:lnTo>
                    <a:pt x="158" y="466"/>
                  </a:lnTo>
                  <a:lnTo>
                    <a:pt x="141" y="444"/>
                  </a:lnTo>
                  <a:lnTo>
                    <a:pt x="132" y="429"/>
                  </a:lnTo>
                  <a:lnTo>
                    <a:pt x="126" y="433"/>
                  </a:lnTo>
                  <a:lnTo>
                    <a:pt x="130" y="444"/>
                  </a:lnTo>
                  <a:lnTo>
                    <a:pt x="124" y="457"/>
                  </a:lnTo>
                  <a:lnTo>
                    <a:pt x="115" y="470"/>
                  </a:lnTo>
                  <a:lnTo>
                    <a:pt x="109" y="479"/>
                  </a:lnTo>
                  <a:lnTo>
                    <a:pt x="117" y="488"/>
                  </a:lnTo>
                  <a:lnTo>
                    <a:pt x="111" y="498"/>
                  </a:lnTo>
                  <a:lnTo>
                    <a:pt x="98" y="511"/>
                  </a:lnTo>
                  <a:lnTo>
                    <a:pt x="96" y="522"/>
                  </a:lnTo>
                  <a:lnTo>
                    <a:pt x="89" y="535"/>
                  </a:lnTo>
                  <a:lnTo>
                    <a:pt x="69" y="559"/>
                  </a:lnTo>
                  <a:lnTo>
                    <a:pt x="57" y="583"/>
                  </a:lnTo>
                  <a:lnTo>
                    <a:pt x="57" y="587"/>
                  </a:lnTo>
                  <a:lnTo>
                    <a:pt x="63" y="594"/>
                  </a:lnTo>
                  <a:lnTo>
                    <a:pt x="56" y="605"/>
                  </a:lnTo>
                  <a:lnTo>
                    <a:pt x="59" y="618"/>
                  </a:lnTo>
                  <a:lnTo>
                    <a:pt x="70" y="635"/>
                  </a:lnTo>
                  <a:lnTo>
                    <a:pt x="117" y="661"/>
                  </a:lnTo>
                  <a:lnTo>
                    <a:pt x="150" y="689"/>
                  </a:lnTo>
                  <a:lnTo>
                    <a:pt x="161" y="685"/>
                  </a:lnTo>
                  <a:lnTo>
                    <a:pt x="178" y="679"/>
                  </a:lnTo>
                  <a:lnTo>
                    <a:pt x="235" y="703"/>
                  </a:lnTo>
                  <a:lnTo>
                    <a:pt x="243" y="711"/>
                  </a:lnTo>
                  <a:lnTo>
                    <a:pt x="248" y="726"/>
                  </a:lnTo>
                  <a:lnTo>
                    <a:pt x="258" y="731"/>
                  </a:lnTo>
                  <a:lnTo>
                    <a:pt x="271" y="733"/>
                  </a:lnTo>
                  <a:lnTo>
                    <a:pt x="292" y="744"/>
                  </a:lnTo>
                  <a:lnTo>
                    <a:pt x="325" y="746"/>
                  </a:lnTo>
                  <a:lnTo>
                    <a:pt x="335" y="733"/>
                  </a:lnTo>
                  <a:lnTo>
                    <a:pt x="338" y="718"/>
                  </a:lnTo>
                  <a:lnTo>
                    <a:pt x="338" y="702"/>
                  </a:lnTo>
                  <a:lnTo>
                    <a:pt x="353" y="689"/>
                  </a:lnTo>
                  <a:lnTo>
                    <a:pt x="381" y="674"/>
                  </a:lnTo>
                  <a:lnTo>
                    <a:pt x="394" y="672"/>
                  </a:lnTo>
                  <a:lnTo>
                    <a:pt x="409" y="664"/>
                  </a:lnTo>
                  <a:lnTo>
                    <a:pt x="422" y="664"/>
                  </a:lnTo>
                  <a:lnTo>
                    <a:pt x="437" y="674"/>
                  </a:lnTo>
                  <a:lnTo>
                    <a:pt x="448" y="687"/>
                  </a:lnTo>
                  <a:lnTo>
                    <a:pt x="461" y="687"/>
                  </a:lnTo>
                  <a:lnTo>
                    <a:pt x="472" y="690"/>
                  </a:lnTo>
                  <a:lnTo>
                    <a:pt x="494" y="692"/>
                  </a:lnTo>
                  <a:lnTo>
                    <a:pt x="509" y="711"/>
                  </a:lnTo>
                  <a:lnTo>
                    <a:pt x="522" y="720"/>
                  </a:lnTo>
                  <a:lnTo>
                    <a:pt x="541" y="726"/>
                  </a:lnTo>
                  <a:lnTo>
                    <a:pt x="557" y="735"/>
                  </a:lnTo>
                  <a:lnTo>
                    <a:pt x="566" y="737"/>
                  </a:lnTo>
                  <a:lnTo>
                    <a:pt x="589" y="714"/>
                  </a:lnTo>
                  <a:lnTo>
                    <a:pt x="604" y="711"/>
                  </a:lnTo>
                  <a:lnTo>
                    <a:pt x="615" y="702"/>
                  </a:lnTo>
                  <a:lnTo>
                    <a:pt x="631" y="690"/>
                  </a:lnTo>
                  <a:lnTo>
                    <a:pt x="652" y="689"/>
                  </a:lnTo>
                  <a:lnTo>
                    <a:pt x="650" y="663"/>
                  </a:lnTo>
                  <a:lnTo>
                    <a:pt x="646" y="655"/>
                  </a:lnTo>
                  <a:lnTo>
                    <a:pt x="637" y="642"/>
                  </a:lnTo>
                  <a:lnTo>
                    <a:pt x="630" y="644"/>
                  </a:lnTo>
                  <a:lnTo>
                    <a:pt x="622" y="642"/>
                  </a:lnTo>
                  <a:lnTo>
                    <a:pt x="615" y="631"/>
                  </a:lnTo>
                  <a:lnTo>
                    <a:pt x="613" y="605"/>
                  </a:lnTo>
                  <a:lnTo>
                    <a:pt x="628" y="588"/>
                  </a:lnTo>
                  <a:lnTo>
                    <a:pt x="617" y="574"/>
                  </a:lnTo>
                  <a:lnTo>
                    <a:pt x="617" y="568"/>
                  </a:lnTo>
                  <a:lnTo>
                    <a:pt x="639" y="546"/>
                  </a:lnTo>
                  <a:lnTo>
                    <a:pt x="639" y="538"/>
                  </a:lnTo>
                  <a:lnTo>
                    <a:pt x="635" y="511"/>
                  </a:lnTo>
                  <a:lnTo>
                    <a:pt x="648" y="498"/>
                  </a:lnTo>
                  <a:lnTo>
                    <a:pt x="637" y="483"/>
                  </a:lnTo>
                  <a:lnTo>
                    <a:pt x="637" y="472"/>
                  </a:lnTo>
                  <a:lnTo>
                    <a:pt x="635" y="453"/>
                  </a:lnTo>
                  <a:lnTo>
                    <a:pt x="630" y="448"/>
                  </a:lnTo>
                  <a:lnTo>
                    <a:pt x="617" y="448"/>
                  </a:lnTo>
                  <a:lnTo>
                    <a:pt x="605" y="451"/>
                  </a:lnTo>
                  <a:lnTo>
                    <a:pt x="602" y="455"/>
                  </a:lnTo>
                  <a:lnTo>
                    <a:pt x="594" y="462"/>
                  </a:lnTo>
                  <a:lnTo>
                    <a:pt x="583" y="466"/>
                  </a:lnTo>
                  <a:lnTo>
                    <a:pt x="579" y="455"/>
                  </a:lnTo>
                  <a:lnTo>
                    <a:pt x="587" y="446"/>
                  </a:lnTo>
                  <a:lnTo>
                    <a:pt x="591" y="438"/>
                  </a:lnTo>
                  <a:lnTo>
                    <a:pt x="591" y="429"/>
                  </a:lnTo>
                  <a:lnTo>
                    <a:pt x="611" y="409"/>
                  </a:lnTo>
                  <a:lnTo>
                    <a:pt x="622" y="405"/>
                  </a:lnTo>
                  <a:lnTo>
                    <a:pt x="624" y="390"/>
                  </a:lnTo>
                  <a:lnTo>
                    <a:pt x="635" y="377"/>
                  </a:lnTo>
                  <a:lnTo>
                    <a:pt x="667" y="353"/>
                  </a:lnTo>
                  <a:lnTo>
                    <a:pt x="676" y="353"/>
                  </a:lnTo>
                  <a:lnTo>
                    <a:pt x="680" y="344"/>
                  </a:lnTo>
                  <a:lnTo>
                    <a:pt x="691" y="333"/>
                  </a:lnTo>
                  <a:lnTo>
                    <a:pt x="700" y="333"/>
                  </a:lnTo>
                  <a:lnTo>
                    <a:pt x="704" y="327"/>
                  </a:lnTo>
                  <a:lnTo>
                    <a:pt x="709" y="323"/>
                  </a:lnTo>
                  <a:lnTo>
                    <a:pt x="717" y="310"/>
                  </a:lnTo>
                  <a:lnTo>
                    <a:pt x="724" y="290"/>
                  </a:lnTo>
                  <a:lnTo>
                    <a:pt x="726" y="277"/>
                  </a:lnTo>
                  <a:lnTo>
                    <a:pt x="726" y="266"/>
                  </a:lnTo>
                  <a:lnTo>
                    <a:pt x="737" y="252"/>
                  </a:lnTo>
                  <a:lnTo>
                    <a:pt x="754" y="243"/>
                  </a:lnTo>
                  <a:lnTo>
                    <a:pt x="763" y="234"/>
                  </a:lnTo>
                  <a:lnTo>
                    <a:pt x="763" y="230"/>
                  </a:lnTo>
                  <a:lnTo>
                    <a:pt x="748" y="219"/>
                  </a:lnTo>
                  <a:lnTo>
                    <a:pt x="741" y="215"/>
                  </a:lnTo>
                  <a:lnTo>
                    <a:pt x="719" y="213"/>
                  </a:lnTo>
                  <a:lnTo>
                    <a:pt x="694" y="209"/>
                  </a:lnTo>
                  <a:lnTo>
                    <a:pt x="685" y="208"/>
                  </a:lnTo>
                  <a:lnTo>
                    <a:pt x="676" y="204"/>
                  </a:lnTo>
                  <a:lnTo>
                    <a:pt x="667" y="195"/>
                  </a:lnTo>
                  <a:lnTo>
                    <a:pt x="659" y="180"/>
                  </a:lnTo>
                  <a:lnTo>
                    <a:pt x="652" y="171"/>
                  </a:lnTo>
                  <a:lnTo>
                    <a:pt x="642" y="167"/>
                  </a:lnTo>
                  <a:lnTo>
                    <a:pt x="631" y="163"/>
                  </a:lnTo>
                  <a:lnTo>
                    <a:pt x="626" y="161"/>
                  </a:lnTo>
                  <a:lnTo>
                    <a:pt x="611" y="148"/>
                  </a:lnTo>
                  <a:lnTo>
                    <a:pt x="592" y="133"/>
                  </a:lnTo>
                  <a:lnTo>
                    <a:pt x="581" y="119"/>
                  </a:lnTo>
                  <a:lnTo>
                    <a:pt x="568" y="115"/>
                  </a:lnTo>
                  <a:lnTo>
                    <a:pt x="561" y="109"/>
                  </a:lnTo>
                  <a:lnTo>
                    <a:pt x="555" y="95"/>
                  </a:lnTo>
                  <a:lnTo>
                    <a:pt x="539" y="76"/>
                  </a:lnTo>
                  <a:lnTo>
                    <a:pt x="535" y="63"/>
                  </a:lnTo>
                  <a:lnTo>
                    <a:pt x="522" y="50"/>
                  </a:lnTo>
                  <a:lnTo>
                    <a:pt x="516" y="39"/>
                  </a:lnTo>
                  <a:lnTo>
                    <a:pt x="509" y="30"/>
                  </a:lnTo>
                  <a:lnTo>
                    <a:pt x="496" y="20"/>
                  </a:lnTo>
                  <a:lnTo>
                    <a:pt x="483" y="6"/>
                  </a:lnTo>
                  <a:lnTo>
                    <a:pt x="472" y="0"/>
                  </a:lnTo>
                  <a:lnTo>
                    <a:pt x="444" y="2"/>
                  </a:lnTo>
                  <a:lnTo>
                    <a:pt x="433" y="2"/>
                  </a:lnTo>
                  <a:lnTo>
                    <a:pt x="418" y="13"/>
                  </a:lnTo>
                  <a:lnTo>
                    <a:pt x="427" y="22"/>
                  </a:lnTo>
                  <a:lnTo>
                    <a:pt x="416" y="35"/>
                  </a:lnTo>
                  <a:lnTo>
                    <a:pt x="388" y="70"/>
                  </a:lnTo>
                  <a:lnTo>
                    <a:pt x="374" y="78"/>
                  </a:lnTo>
                  <a:lnTo>
                    <a:pt x="335" y="82"/>
                  </a:lnTo>
                  <a:lnTo>
                    <a:pt x="318" y="87"/>
                  </a:lnTo>
                  <a:lnTo>
                    <a:pt x="309" y="96"/>
                  </a:lnTo>
                  <a:lnTo>
                    <a:pt x="305" y="104"/>
                  </a:lnTo>
                  <a:lnTo>
                    <a:pt x="290" y="100"/>
                  </a:lnTo>
                  <a:lnTo>
                    <a:pt x="265" y="104"/>
                  </a:lnTo>
                  <a:lnTo>
                    <a:pt x="250" y="102"/>
                  </a:lnTo>
                  <a:lnTo>
                    <a:pt x="237" y="93"/>
                  </a:lnTo>
                  <a:lnTo>
                    <a:pt x="228" y="82"/>
                  </a:lnTo>
                  <a:lnTo>
                    <a:pt x="219" y="78"/>
                  </a:lnTo>
                  <a:lnTo>
                    <a:pt x="226" y="69"/>
                  </a:lnTo>
                  <a:lnTo>
                    <a:pt x="215" y="59"/>
                  </a:lnTo>
                  <a:lnTo>
                    <a:pt x="206" y="57"/>
                  </a:lnTo>
                  <a:lnTo>
                    <a:pt x="198" y="56"/>
                  </a:lnTo>
                  <a:lnTo>
                    <a:pt x="197" y="59"/>
                  </a:lnTo>
                  <a:lnTo>
                    <a:pt x="204" y="67"/>
                  </a:lnTo>
                  <a:lnTo>
                    <a:pt x="200" y="72"/>
                  </a:lnTo>
                  <a:lnTo>
                    <a:pt x="204" y="83"/>
                  </a:lnTo>
                  <a:lnTo>
                    <a:pt x="206" y="96"/>
                  </a:lnTo>
                  <a:lnTo>
                    <a:pt x="206" y="106"/>
                  </a:lnTo>
                  <a:lnTo>
                    <a:pt x="204" y="108"/>
                  </a:lnTo>
                  <a:lnTo>
                    <a:pt x="197" y="113"/>
                  </a:lnTo>
                  <a:lnTo>
                    <a:pt x="195" y="122"/>
                  </a:lnTo>
                  <a:lnTo>
                    <a:pt x="195" y="132"/>
                  </a:lnTo>
                  <a:lnTo>
                    <a:pt x="193" y="139"/>
                  </a:lnTo>
                  <a:lnTo>
                    <a:pt x="182" y="137"/>
                  </a:lnTo>
                  <a:lnTo>
                    <a:pt x="169" y="130"/>
                  </a:lnTo>
                  <a:lnTo>
                    <a:pt x="161" y="137"/>
                  </a:lnTo>
                  <a:lnTo>
                    <a:pt x="148" y="128"/>
                  </a:lnTo>
                  <a:lnTo>
                    <a:pt x="141" y="126"/>
                  </a:lnTo>
                  <a:lnTo>
                    <a:pt x="132" y="133"/>
                  </a:lnTo>
                  <a:lnTo>
                    <a:pt x="124" y="132"/>
                  </a:lnTo>
                  <a:lnTo>
                    <a:pt x="124" y="126"/>
                  </a:lnTo>
                  <a:lnTo>
                    <a:pt x="93" y="96"/>
                  </a:lnTo>
                  <a:lnTo>
                    <a:pt x="85" y="95"/>
                  </a:lnTo>
                  <a:lnTo>
                    <a:pt x="80" y="100"/>
                  </a:lnTo>
                  <a:lnTo>
                    <a:pt x="67" y="106"/>
                  </a:lnTo>
                  <a:lnTo>
                    <a:pt x="59" y="108"/>
                  </a:lnTo>
                  <a:lnTo>
                    <a:pt x="50" y="98"/>
                  </a:lnTo>
                  <a:lnTo>
                    <a:pt x="28" y="98"/>
                  </a:lnTo>
                  <a:lnTo>
                    <a:pt x="13" y="106"/>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54" name="Freeform 455"/>
            <p:cNvSpPr>
              <a:spLocks/>
            </p:cNvSpPr>
            <p:nvPr/>
          </p:nvSpPr>
          <p:spPr bwMode="auto">
            <a:xfrm>
              <a:off x="2126" y="1493"/>
              <a:ext cx="472" cy="702"/>
            </a:xfrm>
            <a:custGeom>
              <a:avLst/>
              <a:gdLst>
                <a:gd name="T0" fmla="*/ 147 w 452"/>
                <a:gd name="T1" fmla="*/ 515 h 745"/>
                <a:gd name="T2" fmla="*/ 97 w 452"/>
                <a:gd name="T3" fmla="*/ 549 h 745"/>
                <a:gd name="T4" fmla="*/ 84 w 452"/>
                <a:gd name="T5" fmla="*/ 580 h 745"/>
                <a:gd name="T6" fmla="*/ 113 w 452"/>
                <a:gd name="T7" fmla="*/ 597 h 745"/>
                <a:gd name="T8" fmla="*/ 137 w 452"/>
                <a:gd name="T9" fmla="*/ 608 h 745"/>
                <a:gd name="T10" fmla="*/ 180 w 452"/>
                <a:gd name="T11" fmla="*/ 617 h 745"/>
                <a:gd name="T12" fmla="*/ 152 w 452"/>
                <a:gd name="T13" fmla="*/ 651 h 745"/>
                <a:gd name="T14" fmla="*/ 87 w 452"/>
                <a:gd name="T15" fmla="*/ 632 h 745"/>
                <a:gd name="T16" fmla="*/ 41 w 452"/>
                <a:gd name="T17" fmla="*/ 671 h 745"/>
                <a:gd name="T18" fmla="*/ 2 w 452"/>
                <a:gd name="T19" fmla="*/ 691 h 745"/>
                <a:gd name="T20" fmla="*/ 22 w 452"/>
                <a:gd name="T21" fmla="*/ 708 h 745"/>
                <a:gd name="T22" fmla="*/ 59 w 452"/>
                <a:gd name="T23" fmla="*/ 702 h 745"/>
                <a:gd name="T24" fmla="*/ 110 w 452"/>
                <a:gd name="T25" fmla="*/ 723 h 745"/>
                <a:gd name="T26" fmla="*/ 148 w 452"/>
                <a:gd name="T27" fmla="*/ 689 h 745"/>
                <a:gd name="T28" fmla="*/ 182 w 452"/>
                <a:gd name="T29" fmla="*/ 710 h 745"/>
                <a:gd name="T30" fmla="*/ 230 w 452"/>
                <a:gd name="T31" fmla="*/ 717 h 745"/>
                <a:gd name="T32" fmla="*/ 265 w 452"/>
                <a:gd name="T33" fmla="*/ 714 h 745"/>
                <a:gd name="T34" fmla="*/ 315 w 452"/>
                <a:gd name="T35" fmla="*/ 734 h 745"/>
                <a:gd name="T36" fmla="*/ 357 w 452"/>
                <a:gd name="T37" fmla="*/ 738 h 745"/>
                <a:gd name="T38" fmla="*/ 398 w 452"/>
                <a:gd name="T39" fmla="*/ 723 h 745"/>
                <a:gd name="T40" fmla="*/ 381 w 452"/>
                <a:gd name="T41" fmla="*/ 689 h 745"/>
                <a:gd name="T42" fmla="*/ 383 w 452"/>
                <a:gd name="T43" fmla="*/ 667 h 745"/>
                <a:gd name="T44" fmla="*/ 437 w 452"/>
                <a:gd name="T45" fmla="*/ 632 h 745"/>
                <a:gd name="T46" fmla="*/ 452 w 452"/>
                <a:gd name="T47" fmla="*/ 584 h 745"/>
                <a:gd name="T48" fmla="*/ 413 w 452"/>
                <a:gd name="T49" fmla="*/ 558 h 745"/>
                <a:gd name="T50" fmla="*/ 385 w 452"/>
                <a:gd name="T51" fmla="*/ 556 h 745"/>
                <a:gd name="T52" fmla="*/ 394 w 452"/>
                <a:gd name="T53" fmla="*/ 510 h 745"/>
                <a:gd name="T54" fmla="*/ 394 w 452"/>
                <a:gd name="T55" fmla="*/ 447 h 745"/>
                <a:gd name="T56" fmla="*/ 354 w 452"/>
                <a:gd name="T57" fmla="*/ 374 h 745"/>
                <a:gd name="T58" fmla="*/ 354 w 452"/>
                <a:gd name="T59" fmla="*/ 317 h 745"/>
                <a:gd name="T60" fmla="*/ 341 w 452"/>
                <a:gd name="T61" fmla="*/ 272 h 745"/>
                <a:gd name="T62" fmla="*/ 298 w 452"/>
                <a:gd name="T63" fmla="*/ 248 h 745"/>
                <a:gd name="T64" fmla="*/ 294 w 452"/>
                <a:gd name="T65" fmla="*/ 230 h 745"/>
                <a:gd name="T66" fmla="*/ 331 w 452"/>
                <a:gd name="T67" fmla="*/ 235 h 745"/>
                <a:gd name="T68" fmla="*/ 389 w 452"/>
                <a:gd name="T69" fmla="*/ 165 h 745"/>
                <a:gd name="T70" fmla="*/ 385 w 452"/>
                <a:gd name="T71" fmla="*/ 120 h 745"/>
                <a:gd name="T72" fmla="*/ 331 w 452"/>
                <a:gd name="T73" fmla="*/ 98 h 745"/>
                <a:gd name="T74" fmla="*/ 302 w 452"/>
                <a:gd name="T75" fmla="*/ 100 h 745"/>
                <a:gd name="T76" fmla="*/ 318 w 452"/>
                <a:gd name="T77" fmla="*/ 72 h 745"/>
                <a:gd name="T78" fmla="*/ 376 w 452"/>
                <a:gd name="T79" fmla="*/ 37 h 745"/>
                <a:gd name="T80" fmla="*/ 339 w 452"/>
                <a:gd name="T81" fmla="*/ 13 h 745"/>
                <a:gd name="T82" fmla="*/ 278 w 452"/>
                <a:gd name="T83" fmla="*/ 22 h 745"/>
                <a:gd name="T84" fmla="*/ 249 w 452"/>
                <a:gd name="T85" fmla="*/ 48 h 745"/>
                <a:gd name="T86" fmla="*/ 230 w 452"/>
                <a:gd name="T87" fmla="*/ 83 h 745"/>
                <a:gd name="T88" fmla="*/ 182 w 452"/>
                <a:gd name="T89" fmla="*/ 143 h 745"/>
                <a:gd name="T90" fmla="*/ 213 w 452"/>
                <a:gd name="T91" fmla="*/ 155 h 745"/>
                <a:gd name="T92" fmla="*/ 169 w 452"/>
                <a:gd name="T93" fmla="*/ 230 h 745"/>
                <a:gd name="T94" fmla="*/ 184 w 452"/>
                <a:gd name="T95" fmla="*/ 241 h 745"/>
                <a:gd name="T96" fmla="*/ 212 w 452"/>
                <a:gd name="T97" fmla="*/ 257 h 745"/>
                <a:gd name="T98" fmla="*/ 180 w 452"/>
                <a:gd name="T99" fmla="*/ 302 h 745"/>
                <a:gd name="T100" fmla="*/ 225 w 452"/>
                <a:gd name="T101" fmla="*/ 331 h 745"/>
                <a:gd name="T102" fmla="*/ 252 w 452"/>
                <a:gd name="T103" fmla="*/ 341 h 745"/>
                <a:gd name="T104" fmla="*/ 243 w 452"/>
                <a:gd name="T105" fmla="*/ 405 h 745"/>
                <a:gd name="T106" fmla="*/ 241 w 452"/>
                <a:gd name="T107" fmla="*/ 449 h 745"/>
                <a:gd name="T108" fmla="*/ 221 w 452"/>
                <a:gd name="T109" fmla="*/ 46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745">
                  <a:moveTo>
                    <a:pt x="135" y="478"/>
                  </a:moveTo>
                  <a:lnTo>
                    <a:pt x="156" y="497"/>
                  </a:lnTo>
                  <a:lnTo>
                    <a:pt x="147" y="515"/>
                  </a:lnTo>
                  <a:lnTo>
                    <a:pt x="134" y="530"/>
                  </a:lnTo>
                  <a:lnTo>
                    <a:pt x="113" y="540"/>
                  </a:lnTo>
                  <a:lnTo>
                    <a:pt x="97" y="549"/>
                  </a:lnTo>
                  <a:lnTo>
                    <a:pt x="80" y="551"/>
                  </a:lnTo>
                  <a:lnTo>
                    <a:pt x="71" y="558"/>
                  </a:lnTo>
                  <a:lnTo>
                    <a:pt x="84" y="580"/>
                  </a:lnTo>
                  <a:lnTo>
                    <a:pt x="104" y="580"/>
                  </a:lnTo>
                  <a:lnTo>
                    <a:pt x="113" y="582"/>
                  </a:lnTo>
                  <a:lnTo>
                    <a:pt x="113" y="597"/>
                  </a:lnTo>
                  <a:lnTo>
                    <a:pt x="124" y="597"/>
                  </a:lnTo>
                  <a:lnTo>
                    <a:pt x="132" y="593"/>
                  </a:lnTo>
                  <a:lnTo>
                    <a:pt x="137" y="608"/>
                  </a:lnTo>
                  <a:lnTo>
                    <a:pt x="148" y="621"/>
                  </a:lnTo>
                  <a:lnTo>
                    <a:pt x="167" y="621"/>
                  </a:lnTo>
                  <a:lnTo>
                    <a:pt x="180" y="617"/>
                  </a:lnTo>
                  <a:lnTo>
                    <a:pt x="191" y="621"/>
                  </a:lnTo>
                  <a:lnTo>
                    <a:pt x="163" y="645"/>
                  </a:lnTo>
                  <a:lnTo>
                    <a:pt x="152" y="651"/>
                  </a:lnTo>
                  <a:lnTo>
                    <a:pt x="137" y="645"/>
                  </a:lnTo>
                  <a:lnTo>
                    <a:pt x="104" y="632"/>
                  </a:lnTo>
                  <a:lnTo>
                    <a:pt x="87" y="632"/>
                  </a:lnTo>
                  <a:lnTo>
                    <a:pt x="72" y="645"/>
                  </a:lnTo>
                  <a:lnTo>
                    <a:pt x="52" y="662"/>
                  </a:lnTo>
                  <a:lnTo>
                    <a:pt x="41" y="671"/>
                  </a:lnTo>
                  <a:lnTo>
                    <a:pt x="28" y="675"/>
                  </a:lnTo>
                  <a:lnTo>
                    <a:pt x="13" y="682"/>
                  </a:lnTo>
                  <a:lnTo>
                    <a:pt x="2" y="691"/>
                  </a:lnTo>
                  <a:lnTo>
                    <a:pt x="0" y="697"/>
                  </a:lnTo>
                  <a:lnTo>
                    <a:pt x="13" y="699"/>
                  </a:lnTo>
                  <a:lnTo>
                    <a:pt x="22" y="708"/>
                  </a:lnTo>
                  <a:lnTo>
                    <a:pt x="35" y="714"/>
                  </a:lnTo>
                  <a:lnTo>
                    <a:pt x="48" y="708"/>
                  </a:lnTo>
                  <a:lnTo>
                    <a:pt x="59" y="702"/>
                  </a:lnTo>
                  <a:lnTo>
                    <a:pt x="72" y="704"/>
                  </a:lnTo>
                  <a:lnTo>
                    <a:pt x="91" y="715"/>
                  </a:lnTo>
                  <a:lnTo>
                    <a:pt x="110" y="723"/>
                  </a:lnTo>
                  <a:lnTo>
                    <a:pt x="122" y="715"/>
                  </a:lnTo>
                  <a:lnTo>
                    <a:pt x="128" y="701"/>
                  </a:lnTo>
                  <a:lnTo>
                    <a:pt x="148" y="689"/>
                  </a:lnTo>
                  <a:lnTo>
                    <a:pt x="161" y="689"/>
                  </a:lnTo>
                  <a:lnTo>
                    <a:pt x="173" y="702"/>
                  </a:lnTo>
                  <a:lnTo>
                    <a:pt x="182" y="710"/>
                  </a:lnTo>
                  <a:lnTo>
                    <a:pt x="197" y="710"/>
                  </a:lnTo>
                  <a:lnTo>
                    <a:pt x="217" y="712"/>
                  </a:lnTo>
                  <a:lnTo>
                    <a:pt x="230" y="717"/>
                  </a:lnTo>
                  <a:lnTo>
                    <a:pt x="243" y="708"/>
                  </a:lnTo>
                  <a:lnTo>
                    <a:pt x="254" y="708"/>
                  </a:lnTo>
                  <a:lnTo>
                    <a:pt x="265" y="714"/>
                  </a:lnTo>
                  <a:lnTo>
                    <a:pt x="279" y="728"/>
                  </a:lnTo>
                  <a:lnTo>
                    <a:pt x="296" y="730"/>
                  </a:lnTo>
                  <a:lnTo>
                    <a:pt x="315" y="734"/>
                  </a:lnTo>
                  <a:lnTo>
                    <a:pt x="328" y="741"/>
                  </a:lnTo>
                  <a:lnTo>
                    <a:pt x="344" y="745"/>
                  </a:lnTo>
                  <a:lnTo>
                    <a:pt x="357" y="738"/>
                  </a:lnTo>
                  <a:lnTo>
                    <a:pt x="374" y="728"/>
                  </a:lnTo>
                  <a:lnTo>
                    <a:pt x="385" y="726"/>
                  </a:lnTo>
                  <a:lnTo>
                    <a:pt x="398" y="723"/>
                  </a:lnTo>
                  <a:lnTo>
                    <a:pt x="411" y="712"/>
                  </a:lnTo>
                  <a:lnTo>
                    <a:pt x="402" y="701"/>
                  </a:lnTo>
                  <a:lnTo>
                    <a:pt x="381" y="689"/>
                  </a:lnTo>
                  <a:lnTo>
                    <a:pt x="374" y="682"/>
                  </a:lnTo>
                  <a:lnTo>
                    <a:pt x="374" y="675"/>
                  </a:lnTo>
                  <a:lnTo>
                    <a:pt x="383" y="667"/>
                  </a:lnTo>
                  <a:lnTo>
                    <a:pt x="398" y="665"/>
                  </a:lnTo>
                  <a:lnTo>
                    <a:pt x="413" y="658"/>
                  </a:lnTo>
                  <a:lnTo>
                    <a:pt x="437" y="632"/>
                  </a:lnTo>
                  <a:lnTo>
                    <a:pt x="448" y="619"/>
                  </a:lnTo>
                  <a:lnTo>
                    <a:pt x="452" y="597"/>
                  </a:lnTo>
                  <a:lnTo>
                    <a:pt x="452" y="584"/>
                  </a:lnTo>
                  <a:lnTo>
                    <a:pt x="441" y="575"/>
                  </a:lnTo>
                  <a:lnTo>
                    <a:pt x="426" y="564"/>
                  </a:lnTo>
                  <a:lnTo>
                    <a:pt x="413" y="558"/>
                  </a:lnTo>
                  <a:lnTo>
                    <a:pt x="398" y="560"/>
                  </a:lnTo>
                  <a:lnTo>
                    <a:pt x="389" y="565"/>
                  </a:lnTo>
                  <a:lnTo>
                    <a:pt x="385" y="556"/>
                  </a:lnTo>
                  <a:lnTo>
                    <a:pt x="393" y="541"/>
                  </a:lnTo>
                  <a:lnTo>
                    <a:pt x="396" y="530"/>
                  </a:lnTo>
                  <a:lnTo>
                    <a:pt x="394" y="510"/>
                  </a:lnTo>
                  <a:lnTo>
                    <a:pt x="393" y="482"/>
                  </a:lnTo>
                  <a:lnTo>
                    <a:pt x="398" y="460"/>
                  </a:lnTo>
                  <a:lnTo>
                    <a:pt x="394" y="447"/>
                  </a:lnTo>
                  <a:lnTo>
                    <a:pt x="385" y="431"/>
                  </a:lnTo>
                  <a:lnTo>
                    <a:pt x="363" y="392"/>
                  </a:lnTo>
                  <a:lnTo>
                    <a:pt x="354" y="374"/>
                  </a:lnTo>
                  <a:lnTo>
                    <a:pt x="350" y="352"/>
                  </a:lnTo>
                  <a:lnTo>
                    <a:pt x="348" y="339"/>
                  </a:lnTo>
                  <a:lnTo>
                    <a:pt x="354" y="317"/>
                  </a:lnTo>
                  <a:lnTo>
                    <a:pt x="354" y="300"/>
                  </a:lnTo>
                  <a:lnTo>
                    <a:pt x="350" y="281"/>
                  </a:lnTo>
                  <a:lnTo>
                    <a:pt x="341" y="272"/>
                  </a:lnTo>
                  <a:lnTo>
                    <a:pt x="324" y="255"/>
                  </a:lnTo>
                  <a:lnTo>
                    <a:pt x="311" y="250"/>
                  </a:lnTo>
                  <a:lnTo>
                    <a:pt x="298" y="248"/>
                  </a:lnTo>
                  <a:lnTo>
                    <a:pt x="289" y="246"/>
                  </a:lnTo>
                  <a:lnTo>
                    <a:pt x="289" y="237"/>
                  </a:lnTo>
                  <a:lnTo>
                    <a:pt x="294" y="230"/>
                  </a:lnTo>
                  <a:lnTo>
                    <a:pt x="309" y="228"/>
                  </a:lnTo>
                  <a:lnTo>
                    <a:pt x="322" y="233"/>
                  </a:lnTo>
                  <a:lnTo>
                    <a:pt x="331" y="235"/>
                  </a:lnTo>
                  <a:lnTo>
                    <a:pt x="337" y="226"/>
                  </a:lnTo>
                  <a:lnTo>
                    <a:pt x="335" y="215"/>
                  </a:lnTo>
                  <a:lnTo>
                    <a:pt x="389" y="165"/>
                  </a:lnTo>
                  <a:lnTo>
                    <a:pt x="398" y="154"/>
                  </a:lnTo>
                  <a:lnTo>
                    <a:pt x="398" y="131"/>
                  </a:lnTo>
                  <a:lnTo>
                    <a:pt x="385" y="120"/>
                  </a:lnTo>
                  <a:lnTo>
                    <a:pt x="370" y="118"/>
                  </a:lnTo>
                  <a:lnTo>
                    <a:pt x="357" y="98"/>
                  </a:lnTo>
                  <a:lnTo>
                    <a:pt x="331" y="98"/>
                  </a:lnTo>
                  <a:lnTo>
                    <a:pt x="331" y="98"/>
                  </a:lnTo>
                  <a:lnTo>
                    <a:pt x="307" y="102"/>
                  </a:lnTo>
                  <a:lnTo>
                    <a:pt x="302" y="100"/>
                  </a:lnTo>
                  <a:lnTo>
                    <a:pt x="296" y="91"/>
                  </a:lnTo>
                  <a:lnTo>
                    <a:pt x="307" y="83"/>
                  </a:lnTo>
                  <a:lnTo>
                    <a:pt x="318" y="72"/>
                  </a:lnTo>
                  <a:lnTo>
                    <a:pt x="341" y="52"/>
                  </a:lnTo>
                  <a:lnTo>
                    <a:pt x="359" y="50"/>
                  </a:lnTo>
                  <a:lnTo>
                    <a:pt x="376" y="37"/>
                  </a:lnTo>
                  <a:lnTo>
                    <a:pt x="393" y="24"/>
                  </a:lnTo>
                  <a:lnTo>
                    <a:pt x="355" y="15"/>
                  </a:lnTo>
                  <a:lnTo>
                    <a:pt x="339" y="13"/>
                  </a:lnTo>
                  <a:lnTo>
                    <a:pt x="320" y="11"/>
                  </a:lnTo>
                  <a:lnTo>
                    <a:pt x="298" y="0"/>
                  </a:lnTo>
                  <a:lnTo>
                    <a:pt x="278" y="22"/>
                  </a:lnTo>
                  <a:lnTo>
                    <a:pt x="279" y="33"/>
                  </a:lnTo>
                  <a:lnTo>
                    <a:pt x="267" y="37"/>
                  </a:lnTo>
                  <a:lnTo>
                    <a:pt x="249" y="48"/>
                  </a:lnTo>
                  <a:lnTo>
                    <a:pt x="232" y="54"/>
                  </a:lnTo>
                  <a:lnTo>
                    <a:pt x="232" y="70"/>
                  </a:lnTo>
                  <a:lnTo>
                    <a:pt x="230" y="83"/>
                  </a:lnTo>
                  <a:lnTo>
                    <a:pt x="215" y="104"/>
                  </a:lnTo>
                  <a:lnTo>
                    <a:pt x="191" y="130"/>
                  </a:lnTo>
                  <a:lnTo>
                    <a:pt x="182" y="143"/>
                  </a:lnTo>
                  <a:lnTo>
                    <a:pt x="187" y="152"/>
                  </a:lnTo>
                  <a:lnTo>
                    <a:pt x="212" y="150"/>
                  </a:lnTo>
                  <a:lnTo>
                    <a:pt x="213" y="155"/>
                  </a:lnTo>
                  <a:lnTo>
                    <a:pt x="213" y="165"/>
                  </a:lnTo>
                  <a:lnTo>
                    <a:pt x="180" y="207"/>
                  </a:lnTo>
                  <a:lnTo>
                    <a:pt x="169" y="230"/>
                  </a:lnTo>
                  <a:lnTo>
                    <a:pt x="161" y="250"/>
                  </a:lnTo>
                  <a:lnTo>
                    <a:pt x="169" y="259"/>
                  </a:lnTo>
                  <a:lnTo>
                    <a:pt x="184" y="241"/>
                  </a:lnTo>
                  <a:lnTo>
                    <a:pt x="199" y="220"/>
                  </a:lnTo>
                  <a:lnTo>
                    <a:pt x="210" y="226"/>
                  </a:lnTo>
                  <a:lnTo>
                    <a:pt x="212" y="257"/>
                  </a:lnTo>
                  <a:lnTo>
                    <a:pt x="213" y="278"/>
                  </a:lnTo>
                  <a:lnTo>
                    <a:pt x="193" y="289"/>
                  </a:lnTo>
                  <a:lnTo>
                    <a:pt x="180" y="302"/>
                  </a:lnTo>
                  <a:lnTo>
                    <a:pt x="176" y="313"/>
                  </a:lnTo>
                  <a:lnTo>
                    <a:pt x="202" y="335"/>
                  </a:lnTo>
                  <a:lnTo>
                    <a:pt x="225" y="331"/>
                  </a:lnTo>
                  <a:lnTo>
                    <a:pt x="230" y="344"/>
                  </a:lnTo>
                  <a:lnTo>
                    <a:pt x="254" y="329"/>
                  </a:lnTo>
                  <a:lnTo>
                    <a:pt x="252" y="341"/>
                  </a:lnTo>
                  <a:lnTo>
                    <a:pt x="232" y="365"/>
                  </a:lnTo>
                  <a:lnTo>
                    <a:pt x="241" y="391"/>
                  </a:lnTo>
                  <a:lnTo>
                    <a:pt x="243" y="405"/>
                  </a:lnTo>
                  <a:lnTo>
                    <a:pt x="264" y="407"/>
                  </a:lnTo>
                  <a:lnTo>
                    <a:pt x="265" y="420"/>
                  </a:lnTo>
                  <a:lnTo>
                    <a:pt x="241" y="449"/>
                  </a:lnTo>
                  <a:lnTo>
                    <a:pt x="232" y="445"/>
                  </a:lnTo>
                  <a:lnTo>
                    <a:pt x="223" y="454"/>
                  </a:lnTo>
                  <a:lnTo>
                    <a:pt x="221" y="469"/>
                  </a:lnTo>
                  <a:lnTo>
                    <a:pt x="197" y="456"/>
                  </a:lnTo>
                  <a:lnTo>
                    <a:pt x="135" y="478"/>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55" name="Freeform 456"/>
            <p:cNvSpPr>
              <a:spLocks/>
            </p:cNvSpPr>
            <p:nvPr/>
          </p:nvSpPr>
          <p:spPr bwMode="auto">
            <a:xfrm>
              <a:off x="2695" y="2047"/>
              <a:ext cx="225" cy="215"/>
            </a:xfrm>
            <a:custGeom>
              <a:avLst/>
              <a:gdLst>
                <a:gd name="T0" fmla="*/ 89 w 214"/>
                <a:gd name="T1" fmla="*/ 6 h 227"/>
                <a:gd name="T2" fmla="*/ 67 w 214"/>
                <a:gd name="T3" fmla="*/ 33 h 227"/>
                <a:gd name="T4" fmla="*/ 67 w 214"/>
                <a:gd name="T5" fmla="*/ 41 h 227"/>
                <a:gd name="T6" fmla="*/ 54 w 214"/>
                <a:gd name="T7" fmla="*/ 54 h 227"/>
                <a:gd name="T8" fmla="*/ 56 w 214"/>
                <a:gd name="T9" fmla="*/ 57 h 227"/>
                <a:gd name="T10" fmla="*/ 52 w 214"/>
                <a:gd name="T11" fmla="*/ 66 h 227"/>
                <a:gd name="T12" fmla="*/ 39 w 214"/>
                <a:gd name="T13" fmla="*/ 79 h 227"/>
                <a:gd name="T14" fmla="*/ 26 w 214"/>
                <a:gd name="T15" fmla="*/ 94 h 227"/>
                <a:gd name="T16" fmla="*/ 21 w 214"/>
                <a:gd name="T17" fmla="*/ 102 h 227"/>
                <a:gd name="T18" fmla="*/ 26 w 214"/>
                <a:gd name="T19" fmla="*/ 109 h 227"/>
                <a:gd name="T20" fmla="*/ 22 w 214"/>
                <a:gd name="T21" fmla="*/ 120 h 227"/>
                <a:gd name="T22" fmla="*/ 15 w 214"/>
                <a:gd name="T23" fmla="*/ 129 h 227"/>
                <a:gd name="T24" fmla="*/ 9 w 214"/>
                <a:gd name="T25" fmla="*/ 133 h 227"/>
                <a:gd name="T26" fmla="*/ 0 w 214"/>
                <a:gd name="T27" fmla="*/ 144 h 227"/>
                <a:gd name="T28" fmla="*/ 1 w 214"/>
                <a:gd name="T29" fmla="*/ 155 h 227"/>
                <a:gd name="T30" fmla="*/ 11 w 214"/>
                <a:gd name="T31" fmla="*/ 161 h 227"/>
                <a:gd name="T32" fmla="*/ 35 w 214"/>
                <a:gd name="T33" fmla="*/ 161 h 227"/>
                <a:gd name="T34" fmla="*/ 49 w 214"/>
                <a:gd name="T35" fmla="*/ 153 h 227"/>
                <a:gd name="T36" fmla="*/ 63 w 214"/>
                <a:gd name="T37" fmla="*/ 151 h 227"/>
                <a:gd name="T38" fmla="*/ 74 w 214"/>
                <a:gd name="T39" fmla="*/ 161 h 227"/>
                <a:gd name="T40" fmla="*/ 85 w 214"/>
                <a:gd name="T41" fmla="*/ 166 h 227"/>
                <a:gd name="T42" fmla="*/ 100 w 214"/>
                <a:gd name="T43" fmla="*/ 168 h 227"/>
                <a:gd name="T44" fmla="*/ 96 w 214"/>
                <a:gd name="T45" fmla="*/ 185 h 227"/>
                <a:gd name="T46" fmla="*/ 101 w 214"/>
                <a:gd name="T47" fmla="*/ 227 h 227"/>
                <a:gd name="T48" fmla="*/ 114 w 214"/>
                <a:gd name="T49" fmla="*/ 226 h 227"/>
                <a:gd name="T50" fmla="*/ 122 w 214"/>
                <a:gd name="T51" fmla="*/ 225 h 227"/>
                <a:gd name="T52" fmla="*/ 125 w 214"/>
                <a:gd name="T53" fmla="*/ 213 h 227"/>
                <a:gd name="T54" fmla="*/ 127 w 214"/>
                <a:gd name="T55" fmla="*/ 188 h 227"/>
                <a:gd name="T56" fmla="*/ 137 w 214"/>
                <a:gd name="T57" fmla="*/ 175 h 227"/>
                <a:gd name="T58" fmla="*/ 137 w 214"/>
                <a:gd name="T59" fmla="*/ 153 h 227"/>
                <a:gd name="T60" fmla="*/ 145 w 214"/>
                <a:gd name="T61" fmla="*/ 140 h 227"/>
                <a:gd name="T62" fmla="*/ 161 w 214"/>
                <a:gd name="T63" fmla="*/ 133 h 227"/>
                <a:gd name="T64" fmla="*/ 192 w 214"/>
                <a:gd name="T65" fmla="*/ 98 h 227"/>
                <a:gd name="T66" fmla="*/ 196 w 214"/>
                <a:gd name="T67" fmla="*/ 83 h 227"/>
                <a:gd name="T68" fmla="*/ 191 w 214"/>
                <a:gd name="T69" fmla="*/ 59 h 227"/>
                <a:gd name="T70" fmla="*/ 211 w 214"/>
                <a:gd name="T71" fmla="*/ 43 h 227"/>
                <a:gd name="T72" fmla="*/ 214 w 214"/>
                <a:gd name="T73" fmla="*/ 16 h 227"/>
                <a:gd name="T74" fmla="*/ 200 w 214"/>
                <a:gd name="T75" fmla="*/ 4 h 227"/>
                <a:gd name="T76" fmla="*/ 191 w 214"/>
                <a:gd name="T77" fmla="*/ 2 h 227"/>
                <a:gd name="T78" fmla="*/ 174 w 214"/>
                <a:gd name="T79" fmla="*/ 0 h 227"/>
                <a:gd name="T80" fmla="*/ 137 w 214"/>
                <a:gd name="T81" fmla="*/ 0 h 227"/>
                <a:gd name="T82" fmla="*/ 126 w 214"/>
                <a:gd name="T83" fmla="*/ 9 h 227"/>
                <a:gd name="T84" fmla="*/ 117 w 214"/>
                <a:gd name="T85" fmla="*/ 20 h 227"/>
                <a:gd name="T86" fmla="*/ 119 w 214"/>
                <a:gd name="T87" fmla="*/ 30 h 227"/>
                <a:gd name="T88" fmla="*/ 132 w 214"/>
                <a:gd name="T89" fmla="*/ 39 h 227"/>
                <a:gd name="T90" fmla="*/ 141 w 214"/>
                <a:gd name="T91" fmla="*/ 50 h 227"/>
                <a:gd name="T92" fmla="*/ 141 w 214"/>
                <a:gd name="T93" fmla="*/ 65 h 227"/>
                <a:gd name="T94" fmla="*/ 126 w 214"/>
                <a:gd name="T95" fmla="*/ 76 h 227"/>
                <a:gd name="T96" fmla="*/ 111 w 214"/>
                <a:gd name="T97" fmla="*/ 79 h 227"/>
                <a:gd name="T98" fmla="*/ 100 w 214"/>
                <a:gd name="T99" fmla="*/ 81 h 227"/>
                <a:gd name="T100" fmla="*/ 95 w 214"/>
                <a:gd name="T101" fmla="*/ 72 h 227"/>
                <a:gd name="T102" fmla="*/ 91 w 214"/>
                <a:gd name="T103" fmla="*/ 59 h 227"/>
                <a:gd name="T104" fmla="*/ 98 w 214"/>
                <a:gd name="T105" fmla="*/ 48 h 227"/>
                <a:gd name="T106" fmla="*/ 96 w 214"/>
                <a:gd name="T107" fmla="*/ 35 h 227"/>
                <a:gd name="T108" fmla="*/ 95 w 214"/>
                <a:gd name="T109" fmla="*/ 22 h 227"/>
                <a:gd name="T110" fmla="*/ 89 w 214"/>
                <a:gd name="T111" fmla="*/ 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 h="227">
                  <a:moveTo>
                    <a:pt x="89" y="6"/>
                  </a:moveTo>
                  <a:lnTo>
                    <a:pt x="67" y="33"/>
                  </a:lnTo>
                  <a:lnTo>
                    <a:pt x="67" y="41"/>
                  </a:lnTo>
                  <a:lnTo>
                    <a:pt x="54" y="54"/>
                  </a:lnTo>
                  <a:lnTo>
                    <a:pt x="56" y="57"/>
                  </a:lnTo>
                  <a:lnTo>
                    <a:pt x="52" y="66"/>
                  </a:lnTo>
                  <a:lnTo>
                    <a:pt x="39" y="79"/>
                  </a:lnTo>
                  <a:lnTo>
                    <a:pt x="26" y="94"/>
                  </a:lnTo>
                  <a:lnTo>
                    <a:pt x="21" y="102"/>
                  </a:lnTo>
                  <a:lnTo>
                    <a:pt x="26" y="109"/>
                  </a:lnTo>
                  <a:lnTo>
                    <a:pt x="22" y="120"/>
                  </a:lnTo>
                  <a:lnTo>
                    <a:pt x="15" y="129"/>
                  </a:lnTo>
                  <a:lnTo>
                    <a:pt x="9" y="133"/>
                  </a:lnTo>
                  <a:lnTo>
                    <a:pt x="0" y="144"/>
                  </a:lnTo>
                  <a:lnTo>
                    <a:pt x="1" y="155"/>
                  </a:lnTo>
                  <a:lnTo>
                    <a:pt x="11" y="161"/>
                  </a:lnTo>
                  <a:lnTo>
                    <a:pt x="35" y="161"/>
                  </a:lnTo>
                  <a:lnTo>
                    <a:pt x="49" y="153"/>
                  </a:lnTo>
                  <a:lnTo>
                    <a:pt x="63" y="151"/>
                  </a:lnTo>
                  <a:lnTo>
                    <a:pt x="74" y="161"/>
                  </a:lnTo>
                  <a:lnTo>
                    <a:pt x="85" y="166"/>
                  </a:lnTo>
                  <a:lnTo>
                    <a:pt x="100" y="168"/>
                  </a:lnTo>
                  <a:lnTo>
                    <a:pt x="96" y="185"/>
                  </a:lnTo>
                  <a:lnTo>
                    <a:pt x="101" y="227"/>
                  </a:lnTo>
                  <a:lnTo>
                    <a:pt x="114" y="226"/>
                  </a:lnTo>
                  <a:lnTo>
                    <a:pt x="122" y="225"/>
                  </a:lnTo>
                  <a:lnTo>
                    <a:pt x="125" y="213"/>
                  </a:lnTo>
                  <a:lnTo>
                    <a:pt x="127" y="188"/>
                  </a:lnTo>
                  <a:lnTo>
                    <a:pt x="137" y="175"/>
                  </a:lnTo>
                  <a:lnTo>
                    <a:pt x="137" y="153"/>
                  </a:lnTo>
                  <a:lnTo>
                    <a:pt x="145" y="140"/>
                  </a:lnTo>
                  <a:lnTo>
                    <a:pt x="161" y="133"/>
                  </a:lnTo>
                  <a:lnTo>
                    <a:pt x="192" y="98"/>
                  </a:lnTo>
                  <a:lnTo>
                    <a:pt x="196" y="83"/>
                  </a:lnTo>
                  <a:lnTo>
                    <a:pt x="191" y="59"/>
                  </a:lnTo>
                  <a:lnTo>
                    <a:pt x="211" y="43"/>
                  </a:lnTo>
                  <a:lnTo>
                    <a:pt x="214" y="16"/>
                  </a:lnTo>
                  <a:lnTo>
                    <a:pt x="200" y="4"/>
                  </a:lnTo>
                  <a:lnTo>
                    <a:pt x="191" y="2"/>
                  </a:lnTo>
                  <a:lnTo>
                    <a:pt x="174" y="0"/>
                  </a:lnTo>
                  <a:lnTo>
                    <a:pt x="137" y="0"/>
                  </a:lnTo>
                  <a:lnTo>
                    <a:pt x="126" y="9"/>
                  </a:lnTo>
                  <a:lnTo>
                    <a:pt x="117" y="20"/>
                  </a:lnTo>
                  <a:lnTo>
                    <a:pt x="119" y="30"/>
                  </a:lnTo>
                  <a:lnTo>
                    <a:pt x="132" y="39"/>
                  </a:lnTo>
                  <a:lnTo>
                    <a:pt x="141" y="50"/>
                  </a:lnTo>
                  <a:lnTo>
                    <a:pt x="141" y="65"/>
                  </a:lnTo>
                  <a:lnTo>
                    <a:pt x="126" y="76"/>
                  </a:lnTo>
                  <a:lnTo>
                    <a:pt x="111" y="79"/>
                  </a:lnTo>
                  <a:lnTo>
                    <a:pt x="100" y="81"/>
                  </a:lnTo>
                  <a:lnTo>
                    <a:pt x="95" y="72"/>
                  </a:lnTo>
                  <a:lnTo>
                    <a:pt x="91" y="59"/>
                  </a:lnTo>
                  <a:lnTo>
                    <a:pt x="98" y="48"/>
                  </a:lnTo>
                  <a:lnTo>
                    <a:pt x="96" y="35"/>
                  </a:lnTo>
                  <a:lnTo>
                    <a:pt x="95" y="22"/>
                  </a:lnTo>
                  <a:lnTo>
                    <a:pt x="89" y="6"/>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56" name="Freeform 457"/>
            <p:cNvSpPr>
              <a:spLocks/>
            </p:cNvSpPr>
            <p:nvPr/>
          </p:nvSpPr>
          <p:spPr bwMode="auto">
            <a:xfrm>
              <a:off x="2767" y="2312"/>
              <a:ext cx="62" cy="68"/>
            </a:xfrm>
            <a:custGeom>
              <a:avLst/>
              <a:gdLst>
                <a:gd name="T0" fmla="*/ 41 w 57"/>
                <a:gd name="T1" fmla="*/ 71 h 71"/>
                <a:gd name="T2" fmla="*/ 44 w 57"/>
                <a:gd name="T3" fmla="*/ 48 h 71"/>
                <a:gd name="T4" fmla="*/ 57 w 57"/>
                <a:gd name="T5" fmla="*/ 39 h 71"/>
                <a:gd name="T6" fmla="*/ 57 w 57"/>
                <a:gd name="T7" fmla="*/ 28 h 71"/>
                <a:gd name="T8" fmla="*/ 50 w 57"/>
                <a:gd name="T9" fmla="*/ 20 h 71"/>
                <a:gd name="T10" fmla="*/ 43 w 57"/>
                <a:gd name="T11" fmla="*/ 9 h 71"/>
                <a:gd name="T12" fmla="*/ 39 w 57"/>
                <a:gd name="T13" fmla="*/ 0 h 71"/>
                <a:gd name="T14" fmla="*/ 26 w 57"/>
                <a:gd name="T15" fmla="*/ 0 h 71"/>
                <a:gd name="T16" fmla="*/ 17 w 57"/>
                <a:gd name="T17" fmla="*/ 4 h 71"/>
                <a:gd name="T18" fmla="*/ 17 w 57"/>
                <a:gd name="T19" fmla="*/ 19 h 71"/>
                <a:gd name="T20" fmla="*/ 9 w 57"/>
                <a:gd name="T21" fmla="*/ 32 h 71"/>
                <a:gd name="T22" fmla="*/ 0 w 57"/>
                <a:gd name="T23" fmla="*/ 36 h 71"/>
                <a:gd name="T24" fmla="*/ 4 w 57"/>
                <a:gd name="T25" fmla="*/ 47 h 71"/>
                <a:gd name="T26" fmla="*/ 16 w 57"/>
                <a:gd name="T27" fmla="*/ 50 h 71"/>
                <a:gd name="T28" fmla="*/ 28 w 57"/>
                <a:gd name="T29" fmla="*/ 53 h 71"/>
                <a:gd name="T30" fmla="*/ 35 w 57"/>
                <a:gd name="T31" fmla="*/ 60 h 71"/>
                <a:gd name="T32" fmla="*/ 41 w 57"/>
                <a:gd name="T3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71">
                  <a:moveTo>
                    <a:pt x="41" y="71"/>
                  </a:moveTo>
                  <a:lnTo>
                    <a:pt x="44" y="48"/>
                  </a:lnTo>
                  <a:lnTo>
                    <a:pt x="57" y="39"/>
                  </a:lnTo>
                  <a:lnTo>
                    <a:pt x="57" y="28"/>
                  </a:lnTo>
                  <a:lnTo>
                    <a:pt x="50" y="20"/>
                  </a:lnTo>
                  <a:lnTo>
                    <a:pt x="43" y="9"/>
                  </a:lnTo>
                  <a:lnTo>
                    <a:pt x="39" y="0"/>
                  </a:lnTo>
                  <a:lnTo>
                    <a:pt x="26" y="0"/>
                  </a:lnTo>
                  <a:lnTo>
                    <a:pt x="17" y="4"/>
                  </a:lnTo>
                  <a:lnTo>
                    <a:pt x="17" y="19"/>
                  </a:lnTo>
                  <a:lnTo>
                    <a:pt x="9" y="32"/>
                  </a:lnTo>
                  <a:lnTo>
                    <a:pt x="0" y="36"/>
                  </a:lnTo>
                  <a:lnTo>
                    <a:pt x="4" y="47"/>
                  </a:lnTo>
                  <a:lnTo>
                    <a:pt x="16" y="50"/>
                  </a:lnTo>
                  <a:lnTo>
                    <a:pt x="28" y="53"/>
                  </a:lnTo>
                  <a:lnTo>
                    <a:pt x="35" y="60"/>
                  </a:lnTo>
                  <a:lnTo>
                    <a:pt x="41" y="71"/>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chemeClr val="tx2"/>
                </a:solidFill>
                <a:effectLst/>
                <a:uLnTx/>
                <a:uFillTx/>
              </a:endParaRPr>
            </a:p>
          </p:txBody>
        </p:sp>
        <p:sp>
          <p:nvSpPr>
            <p:cNvPr id="57" name="Freeform 458"/>
            <p:cNvSpPr>
              <a:spLocks/>
            </p:cNvSpPr>
            <p:nvPr/>
          </p:nvSpPr>
          <p:spPr bwMode="auto">
            <a:xfrm>
              <a:off x="3012" y="1779"/>
              <a:ext cx="152" cy="169"/>
            </a:xfrm>
            <a:custGeom>
              <a:avLst/>
              <a:gdLst>
                <a:gd name="T0" fmla="*/ 12 w 146"/>
                <a:gd name="T1" fmla="*/ 153 h 179"/>
                <a:gd name="T2" fmla="*/ 20 w 146"/>
                <a:gd name="T3" fmla="*/ 166 h 179"/>
                <a:gd name="T4" fmla="*/ 36 w 146"/>
                <a:gd name="T5" fmla="*/ 166 h 179"/>
                <a:gd name="T6" fmla="*/ 51 w 146"/>
                <a:gd name="T7" fmla="*/ 170 h 179"/>
                <a:gd name="T8" fmla="*/ 62 w 146"/>
                <a:gd name="T9" fmla="*/ 179 h 179"/>
                <a:gd name="T10" fmla="*/ 74 w 146"/>
                <a:gd name="T11" fmla="*/ 179 h 179"/>
                <a:gd name="T12" fmla="*/ 66 w 146"/>
                <a:gd name="T13" fmla="*/ 168 h 179"/>
                <a:gd name="T14" fmla="*/ 72 w 146"/>
                <a:gd name="T15" fmla="*/ 153 h 179"/>
                <a:gd name="T16" fmla="*/ 79 w 146"/>
                <a:gd name="T17" fmla="*/ 136 h 179"/>
                <a:gd name="T18" fmla="*/ 83 w 146"/>
                <a:gd name="T19" fmla="*/ 117 h 179"/>
                <a:gd name="T20" fmla="*/ 100 w 146"/>
                <a:gd name="T21" fmla="*/ 106 h 179"/>
                <a:gd name="T22" fmla="*/ 114 w 146"/>
                <a:gd name="T23" fmla="*/ 98 h 179"/>
                <a:gd name="T24" fmla="*/ 113 w 146"/>
                <a:gd name="T25" fmla="*/ 87 h 179"/>
                <a:gd name="T26" fmla="*/ 113 w 146"/>
                <a:gd name="T27" fmla="*/ 69 h 179"/>
                <a:gd name="T28" fmla="*/ 116 w 146"/>
                <a:gd name="T29" fmla="*/ 61 h 179"/>
                <a:gd name="T30" fmla="*/ 129 w 146"/>
                <a:gd name="T31" fmla="*/ 59 h 179"/>
                <a:gd name="T32" fmla="*/ 135 w 146"/>
                <a:gd name="T33" fmla="*/ 63 h 179"/>
                <a:gd name="T34" fmla="*/ 146 w 146"/>
                <a:gd name="T35" fmla="*/ 50 h 179"/>
                <a:gd name="T36" fmla="*/ 142 w 146"/>
                <a:gd name="T37" fmla="*/ 39 h 179"/>
                <a:gd name="T38" fmla="*/ 135 w 146"/>
                <a:gd name="T39" fmla="*/ 37 h 179"/>
                <a:gd name="T40" fmla="*/ 122 w 146"/>
                <a:gd name="T41" fmla="*/ 37 h 179"/>
                <a:gd name="T42" fmla="*/ 116 w 146"/>
                <a:gd name="T43" fmla="*/ 37 h 179"/>
                <a:gd name="T44" fmla="*/ 113 w 146"/>
                <a:gd name="T45" fmla="*/ 20 h 179"/>
                <a:gd name="T46" fmla="*/ 114 w 146"/>
                <a:gd name="T47" fmla="*/ 4 h 179"/>
                <a:gd name="T48" fmla="*/ 105 w 146"/>
                <a:gd name="T49" fmla="*/ 0 h 179"/>
                <a:gd name="T50" fmla="*/ 101 w 146"/>
                <a:gd name="T51" fmla="*/ 6 h 179"/>
                <a:gd name="T52" fmla="*/ 79 w 146"/>
                <a:gd name="T53" fmla="*/ 2 h 179"/>
                <a:gd name="T54" fmla="*/ 74 w 146"/>
                <a:gd name="T55" fmla="*/ 7 h 179"/>
                <a:gd name="T56" fmla="*/ 79 w 146"/>
                <a:gd name="T57" fmla="*/ 22 h 179"/>
                <a:gd name="T58" fmla="*/ 77 w 146"/>
                <a:gd name="T59" fmla="*/ 37 h 179"/>
                <a:gd name="T60" fmla="*/ 68 w 146"/>
                <a:gd name="T61" fmla="*/ 26 h 179"/>
                <a:gd name="T62" fmla="*/ 64 w 146"/>
                <a:gd name="T63" fmla="*/ 17 h 179"/>
                <a:gd name="T64" fmla="*/ 51 w 146"/>
                <a:gd name="T65" fmla="*/ 19 h 179"/>
                <a:gd name="T66" fmla="*/ 46 w 146"/>
                <a:gd name="T67" fmla="*/ 28 h 179"/>
                <a:gd name="T68" fmla="*/ 42 w 146"/>
                <a:gd name="T69" fmla="*/ 32 h 179"/>
                <a:gd name="T70" fmla="*/ 42 w 146"/>
                <a:gd name="T71" fmla="*/ 45 h 179"/>
                <a:gd name="T72" fmla="*/ 40 w 146"/>
                <a:gd name="T73" fmla="*/ 43 h 179"/>
                <a:gd name="T74" fmla="*/ 29 w 146"/>
                <a:gd name="T75" fmla="*/ 26 h 179"/>
                <a:gd name="T76" fmla="*/ 23 w 146"/>
                <a:gd name="T77" fmla="*/ 20 h 179"/>
                <a:gd name="T78" fmla="*/ 16 w 146"/>
                <a:gd name="T79" fmla="*/ 24 h 179"/>
                <a:gd name="T80" fmla="*/ 18 w 146"/>
                <a:gd name="T81" fmla="*/ 33 h 179"/>
                <a:gd name="T82" fmla="*/ 18 w 146"/>
                <a:gd name="T83" fmla="*/ 39 h 179"/>
                <a:gd name="T84" fmla="*/ 7 w 146"/>
                <a:gd name="T85" fmla="*/ 43 h 179"/>
                <a:gd name="T86" fmla="*/ 7 w 146"/>
                <a:gd name="T87" fmla="*/ 56 h 179"/>
                <a:gd name="T88" fmla="*/ 16 w 146"/>
                <a:gd name="T89" fmla="*/ 69 h 179"/>
                <a:gd name="T90" fmla="*/ 16 w 146"/>
                <a:gd name="T91" fmla="*/ 78 h 179"/>
                <a:gd name="T92" fmla="*/ 12 w 146"/>
                <a:gd name="T93" fmla="*/ 87 h 179"/>
                <a:gd name="T94" fmla="*/ 0 w 146"/>
                <a:gd name="T95" fmla="*/ 96 h 179"/>
                <a:gd name="T96" fmla="*/ 2 w 146"/>
                <a:gd name="T97" fmla="*/ 106 h 179"/>
                <a:gd name="T98" fmla="*/ 14 w 146"/>
                <a:gd name="T99" fmla="*/ 115 h 179"/>
                <a:gd name="T100" fmla="*/ 18 w 146"/>
                <a:gd name="T101" fmla="*/ 124 h 179"/>
                <a:gd name="T102" fmla="*/ 16 w 146"/>
                <a:gd name="T103" fmla="*/ 142 h 179"/>
                <a:gd name="T104" fmla="*/ 12 w 146"/>
                <a:gd name="T105" fmla="*/ 15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79">
                  <a:moveTo>
                    <a:pt x="12" y="153"/>
                  </a:moveTo>
                  <a:lnTo>
                    <a:pt x="20" y="166"/>
                  </a:lnTo>
                  <a:lnTo>
                    <a:pt x="36" y="166"/>
                  </a:lnTo>
                  <a:lnTo>
                    <a:pt x="51" y="170"/>
                  </a:lnTo>
                  <a:lnTo>
                    <a:pt x="62" y="179"/>
                  </a:lnTo>
                  <a:lnTo>
                    <a:pt x="74" y="179"/>
                  </a:lnTo>
                  <a:lnTo>
                    <a:pt x="66" y="168"/>
                  </a:lnTo>
                  <a:lnTo>
                    <a:pt x="72" y="153"/>
                  </a:lnTo>
                  <a:lnTo>
                    <a:pt x="79" y="136"/>
                  </a:lnTo>
                  <a:lnTo>
                    <a:pt x="83" y="117"/>
                  </a:lnTo>
                  <a:lnTo>
                    <a:pt x="100" y="106"/>
                  </a:lnTo>
                  <a:lnTo>
                    <a:pt x="114" y="98"/>
                  </a:lnTo>
                  <a:lnTo>
                    <a:pt x="113" y="87"/>
                  </a:lnTo>
                  <a:lnTo>
                    <a:pt x="113" y="69"/>
                  </a:lnTo>
                  <a:lnTo>
                    <a:pt x="116" y="61"/>
                  </a:lnTo>
                  <a:lnTo>
                    <a:pt x="129" y="59"/>
                  </a:lnTo>
                  <a:lnTo>
                    <a:pt x="135" y="63"/>
                  </a:lnTo>
                  <a:lnTo>
                    <a:pt x="146" y="50"/>
                  </a:lnTo>
                  <a:lnTo>
                    <a:pt x="142" y="39"/>
                  </a:lnTo>
                  <a:lnTo>
                    <a:pt x="135" y="37"/>
                  </a:lnTo>
                  <a:lnTo>
                    <a:pt x="122" y="37"/>
                  </a:lnTo>
                  <a:lnTo>
                    <a:pt x="116" y="37"/>
                  </a:lnTo>
                  <a:lnTo>
                    <a:pt x="113" y="20"/>
                  </a:lnTo>
                  <a:lnTo>
                    <a:pt x="114" y="4"/>
                  </a:lnTo>
                  <a:lnTo>
                    <a:pt x="105" y="0"/>
                  </a:lnTo>
                  <a:lnTo>
                    <a:pt x="101" y="6"/>
                  </a:lnTo>
                  <a:lnTo>
                    <a:pt x="79" y="2"/>
                  </a:lnTo>
                  <a:lnTo>
                    <a:pt x="74" y="7"/>
                  </a:lnTo>
                  <a:lnTo>
                    <a:pt x="79" y="22"/>
                  </a:lnTo>
                  <a:lnTo>
                    <a:pt x="77" y="37"/>
                  </a:lnTo>
                  <a:lnTo>
                    <a:pt x="68" y="26"/>
                  </a:lnTo>
                  <a:lnTo>
                    <a:pt x="64" y="17"/>
                  </a:lnTo>
                  <a:lnTo>
                    <a:pt x="51" y="19"/>
                  </a:lnTo>
                  <a:lnTo>
                    <a:pt x="46" y="28"/>
                  </a:lnTo>
                  <a:lnTo>
                    <a:pt x="42" y="32"/>
                  </a:lnTo>
                  <a:lnTo>
                    <a:pt x="42" y="45"/>
                  </a:lnTo>
                  <a:lnTo>
                    <a:pt x="40" y="43"/>
                  </a:lnTo>
                  <a:lnTo>
                    <a:pt x="29" y="26"/>
                  </a:lnTo>
                  <a:lnTo>
                    <a:pt x="23" y="20"/>
                  </a:lnTo>
                  <a:lnTo>
                    <a:pt x="16" y="24"/>
                  </a:lnTo>
                  <a:lnTo>
                    <a:pt x="18" y="33"/>
                  </a:lnTo>
                  <a:lnTo>
                    <a:pt x="18" y="39"/>
                  </a:lnTo>
                  <a:lnTo>
                    <a:pt x="7" y="43"/>
                  </a:lnTo>
                  <a:lnTo>
                    <a:pt x="7" y="56"/>
                  </a:lnTo>
                  <a:lnTo>
                    <a:pt x="16" y="69"/>
                  </a:lnTo>
                  <a:lnTo>
                    <a:pt x="16" y="78"/>
                  </a:lnTo>
                  <a:lnTo>
                    <a:pt x="12" y="87"/>
                  </a:lnTo>
                  <a:lnTo>
                    <a:pt x="0" y="96"/>
                  </a:lnTo>
                  <a:lnTo>
                    <a:pt x="2" y="106"/>
                  </a:lnTo>
                  <a:lnTo>
                    <a:pt x="14" y="115"/>
                  </a:lnTo>
                  <a:lnTo>
                    <a:pt x="18" y="124"/>
                  </a:lnTo>
                  <a:lnTo>
                    <a:pt x="16" y="142"/>
                  </a:lnTo>
                  <a:lnTo>
                    <a:pt x="12" y="153"/>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58" name="Freeform 459"/>
            <p:cNvSpPr>
              <a:spLocks/>
            </p:cNvSpPr>
            <p:nvPr/>
          </p:nvSpPr>
          <p:spPr bwMode="auto">
            <a:xfrm>
              <a:off x="3043" y="1729"/>
              <a:ext cx="117" cy="62"/>
            </a:xfrm>
            <a:custGeom>
              <a:avLst/>
              <a:gdLst>
                <a:gd name="T0" fmla="*/ 0 w 109"/>
                <a:gd name="T1" fmla="*/ 66 h 68"/>
                <a:gd name="T2" fmla="*/ 9 w 109"/>
                <a:gd name="T3" fmla="*/ 68 h 68"/>
                <a:gd name="T4" fmla="*/ 20 w 109"/>
                <a:gd name="T5" fmla="*/ 60 h 68"/>
                <a:gd name="T6" fmla="*/ 31 w 109"/>
                <a:gd name="T7" fmla="*/ 47 h 68"/>
                <a:gd name="T8" fmla="*/ 61 w 109"/>
                <a:gd name="T9" fmla="*/ 47 h 68"/>
                <a:gd name="T10" fmla="*/ 87 w 109"/>
                <a:gd name="T11" fmla="*/ 42 h 68"/>
                <a:gd name="T12" fmla="*/ 102 w 109"/>
                <a:gd name="T13" fmla="*/ 30 h 68"/>
                <a:gd name="T14" fmla="*/ 107 w 109"/>
                <a:gd name="T15" fmla="*/ 15 h 68"/>
                <a:gd name="T16" fmla="*/ 109 w 109"/>
                <a:gd name="T17" fmla="*/ 0 h 68"/>
                <a:gd name="T18" fmla="*/ 89 w 109"/>
                <a:gd name="T19" fmla="*/ 9 h 68"/>
                <a:gd name="T20" fmla="*/ 52 w 109"/>
                <a:gd name="T21" fmla="*/ 26 h 68"/>
                <a:gd name="T22" fmla="*/ 42 w 109"/>
                <a:gd name="T23" fmla="*/ 28 h 68"/>
                <a:gd name="T24" fmla="*/ 31 w 109"/>
                <a:gd name="T25" fmla="*/ 36 h 68"/>
                <a:gd name="T26" fmla="*/ 9 w 109"/>
                <a:gd name="T27" fmla="*/ 40 h 68"/>
                <a:gd name="T28" fmla="*/ 0 w 109"/>
                <a:gd name="T29" fmla="*/ 45 h 68"/>
                <a:gd name="T30" fmla="*/ 0 w 109"/>
                <a:gd name="T31"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68">
                  <a:moveTo>
                    <a:pt x="0" y="66"/>
                  </a:moveTo>
                  <a:lnTo>
                    <a:pt x="9" y="68"/>
                  </a:lnTo>
                  <a:lnTo>
                    <a:pt x="20" y="60"/>
                  </a:lnTo>
                  <a:lnTo>
                    <a:pt x="31" y="47"/>
                  </a:lnTo>
                  <a:lnTo>
                    <a:pt x="61" y="47"/>
                  </a:lnTo>
                  <a:lnTo>
                    <a:pt x="87" y="42"/>
                  </a:lnTo>
                  <a:lnTo>
                    <a:pt x="102" y="30"/>
                  </a:lnTo>
                  <a:lnTo>
                    <a:pt x="107" y="15"/>
                  </a:lnTo>
                  <a:lnTo>
                    <a:pt x="109" y="0"/>
                  </a:lnTo>
                  <a:lnTo>
                    <a:pt x="89" y="9"/>
                  </a:lnTo>
                  <a:lnTo>
                    <a:pt x="52" y="26"/>
                  </a:lnTo>
                  <a:lnTo>
                    <a:pt x="42" y="28"/>
                  </a:lnTo>
                  <a:lnTo>
                    <a:pt x="31" y="36"/>
                  </a:lnTo>
                  <a:lnTo>
                    <a:pt x="9" y="40"/>
                  </a:lnTo>
                  <a:lnTo>
                    <a:pt x="0" y="45"/>
                  </a:lnTo>
                  <a:lnTo>
                    <a:pt x="0" y="66"/>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59" name="Freeform 460"/>
            <p:cNvSpPr>
              <a:spLocks/>
            </p:cNvSpPr>
            <p:nvPr/>
          </p:nvSpPr>
          <p:spPr bwMode="auto">
            <a:xfrm>
              <a:off x="3103" y="1887"/>
              <a:ext cx="48" cy="52"/>
            </a:xfrm>
            <a:custGeom>
              <a:avLst/>
              <a:gdLst>
                <a:gd name="T0" fmla="*/ 15 w 47"/>
                <a:gd name="T1" fmla="*/ 0 h 57"/>
                <a:gd name="T2" fmla="*/ 45 w 47"/>
                <a:gd name="T3" fmla="*/ 20 h 57"/>
                <a:gd name="T4" fmla="*/ 47 w 47"/>
                <a:gd name="T5" fmla="*/ 29 h 57"/>
                <a:gd name="T6" fmla="*/ 36 w 47"/>
                <a:gd name="T7" fmla="*/ 40 h 57"/>
                <a:gd name="T8" fmla="*/ 26 w 47"/>
                <a:gd name="T9" fmla="*/ 48 h 57"/>
                <a:gd name="T10" fmla="*/ 28 w 47"/>
                <a:gd name="T11" fmla="*/ 57 h 57"/>
                <a:gd name="T12" fmla="*/ 15 w 47"/>
                <a:gd name="T13" fmla="*/ 55 h 57"/>
                <a:gd name="T14" fmla="*/ 2 w 47"/>
                <a:gd name="T15" fmla="*/ 40 h 57"/>
                <a:gd name="T16" fmla="*/ 0 w 47"/>
                <a:gd name="T17" fmla="*/ 29 h 57"/>
                <a:gd name="T18" fmla="*/ 6 w 47"/>
                <a:gd name="T19" fmla="*/ 17 h 57"/>
                <a:gd name="T20" fmla="*/ 15 w 47"/>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57">
                  <a:moveTo>
                    <a:pt x="15" y="0"/>
                  </a:moveTo>
                  <a:lnTo>
                    <a:pt x="45" y="20"/>
                  </a:lnTo>
                  <a:lnTo>
                    <a:pt x="47" y="29"/>
                  </a:lnTo>
                  <a:lnTo>
                    <a:pt x="36" y="40"/>
                  </a:lnTo>
                  <a:lnTo>
                    <a:pt x="26" y="48"/>
                  </a:lnTo>
                  <a:lnTo>
                    <a:pt x="28" y="57"/>
                  </a:lnTo>
                  <a:lnTo>
                    <a:pt x="15" y="55"/>
                  </a:lnTo>
                  <a:lnTo>
                    <a:pt x="2" y="40"/>
                  </a:lnTo>
                  <a:lnTo>
                    <a:pt x="0" y="29"/>
                  </a:lnTo>
                  <a:lnTo>
                    <a:pt x="6" y="17"/>
                  </a:lnTo>
                  <a:lnTo>
                    <a:pt x="1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60" name="Freeform 461"/>
            <p:cNvSpPr>
              <a:spLocks/>
            </p:cNvSpPr>
            <p:nvPr/>
          </p:nvSpPr>
          <p:spPr bwMode="auto">
            <a:xfrm>
              <a:off x="3164" y="1872"/>
              <a:ext cx="71" cy="76"/>
            </a:xfrm>
            <a:custGeom>
              <a:avLst/>
              <a:gdLst>
                <a:gd name="T0" fmla="*/ 65 w 69"/>
                <a:gd name="T1" fmla="*/ 0 h 83"/>
                <a:gd name="T2" fmla="*/ 69 w 69"/>
                <a:gd name="T3" fmla="*/ 4 h 83"/>
                <a:gd name="T4" fmla="*/ 65 w 69"/>
                <a:gd name="T5" fmla="*/ 9 h 83"/>
                <a:gd name="T6" fmla="*/ 69 w 69"/>
                <a:gd name="T7" fmla="*/ 18 h 83"/>
                <a:gd name="T8" fmla="*/ 64 w 69"/>
                <a:gd name="T9" fmla="*/ 29 h 83"/>
                <a:gd name="T10" fmla="*/ 54 w 69"/>
                <a:gd name="T11" fmla="*/ 37 h 83"/>
                <a:gd name="T12" fmla="*/ 58 w 69"/>
                <a:gd name="T13" fmla="*/ 46 h 83"/>
                <a:gd name="T14" fmla="*/ 54 w 69"/>
                <a:gd name="T15" fmla="*/ 54 h 83"/>
                <a:gd name="T16" fmla="*/ 58 w 69"/>
                <a:gd name="T17" fmla="*/ 63 h 83"/>
                <a:gd name="T18" fmla="*/ 45 w 69"/>
                <a:gd name="T19" fmla="*/ 83 h 83"/>
                <a:gd name="T20" fmla="*/ 16 w 69"/>
                <a:gd name="T21" fmla="*/ 63 h 83"/>
                <a:gd name="T22" fmla="*/ 0 w 69"/>
                <a:gd name="T23" fmla="*/ 52 h 83"/>
                <a:gd name="T24" fmla="*/ 9 w 69"/>
                <a:gd name="T25" fmla="*/ 46 h 83"/>
                <a:gd name="T26" fmla="*/ 9 w 69"/>
                <a:gd name="T27" fmla="*/ 33 h 83"/>
                <a:gd name="T28" fmla="*/ 27 w 69"/>
                <a:gd name="T29" fmla="*/ 22 h 83"/>
                <a:gd name="T30" fmla="*/ 36 w 69"/>
                <a:gd name="T31" fmla="*/ 26 h 83"/>
                <a:gd name="T32" fmla="*/ 45 w 69"/>
                <a:gd name="T33" fmla="*/ 22 h 83"/>
                <a:gd name="T34" fmla="*/ 60 w 69"/>
                <a:gd name="T35" fmla="*/ 11 h 83"/>
                <a:gd name="T36" fmla="*/ 65 w 69"/>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 h="83">
                  <a:moveTo>
                    <a:pt x="65" y="0"/>
                  </a:moveTo>
                  <a:lnTo>
                    <a:pt x="69" y="4"/>
                  </a:lnTo>
                  <a:lnTo>
                    <a:pt x="65" y="9"/>
                  </a:lnTo>
                  <a:lnTo>
                    <a:pt x="69" y="18"/>
                  </a:lnTo>
                  <a:lnTo>
                    <a:pt x="64" y="29"/>
                  </a:lnTo>
                  <a:lnTo>
                    <a:pt x="54" y="37"/>
                  </a:lnTo>
                  <a:lnTo>
                    <a:pt x="58" y="46"/>
                  </a:lnTo>
                  <a:lnTo>
                    <a:pt x="54" y="54"/>
                  </a:lnTo>
                  <a:lnTo>
                    <a:pt x="58" y="63"/>
                  </a:lnTo>
                  <a:lnTo>
                    <a:pt x="45" y="83"/>
                  </a:lnTo>
                  <a:lnTo>
                    <a:pt x="16" y="63"/>
                  </a:lnTo>
                  <a:lnTo>
                    <a:pt x="0" y="52"/>
                  </a:lnTo>
                  <a:lnTo>
                    <a:pt x="9" y="46"/>
                  </a:lnTo>
                  <a:lnTo>
                    <a:pt x="9" y="33"/>
                  </a:lnTo>
                  <a:lnTo>
                    <a:pt x="27" y="22"/>
                  </a:lnTo>
                  <a:lnTo>
                    <a:pt x="36" y="26"/>
                  </a:lnTo>
                  <a:lnTo>
                    <a:pt x="45" y="22"/>
                  </a:lnTo>
                  <a:lnTo>
                    <a:pt x="60" y="11"/>
                  </a:lnTo>
                  <a:lnTo>
                    <a:pt x="6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61" name="Freeform 462"/>
            <p:cNvSpPr>
              <a:spLocks/>
            </p:cNvSpPr>
            <p:nvPr/>
          </p:nvSpPr>
          <p:spPr bwMode="auto">
            <a:xfrm>
              <a:off x="3154" y="1952"/>
              <a:ext cx="28" cy="34"/>
            </a:xfrm>
            <a:custGeom>
              <a:avLst/>
              <a:gdLst>
                <a:gd name="T0" fmla="*/ 0 w 28"/>
                <a:gd name="T1" fmla="*/ 0 h 35"/>
                <a:gd name="T2" fmla="*/ 19 w 28"/>
                <a:gd name="T3" fmla="*/ 6 h 35"/>
                <a:gd name="T4" fmla="*/ 26 w 28"/>
                <a:gd name="T5" fmla="*/ 15 h 35"/>
                <a:gd name="T6" fmla="*/ 28 w 28"/>
                <a:gd name="T7" fmla="*/ 28 h 35"/>
                <a:gd name="T8" fmla="*/ 19 w 28"/>
                <a:gd name="T9" fmla="*/ 35 h 35"/>
                <a:gd name="T10" fmla="*/ 5 w 28"/>
                <a:gd name="T11" fmla="*/ 29 h 35"/>
                <a:gd name="T12" fmla="*/ 2 w 28"/>
                <a:gd name="T13" fmla="*/ 20 h 35"/>
                <a:gd name="T14" fmla="*/ 0 w 28"/>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5">
                  <a:moveTo>
                    <a:pt x="0" y="0"/>
                  </a:moveTo>
                  <a:lnTo>
                    <a:pt x="19" y="6"/>
                  </a:lnTo>
                  <a:lnTo>
                    <a:pt x="26" y="15"/>
                  </a:lnTo>
                  <a:lnTo>
                    <a:pt x="28" y="28"/>
                  </a:lnTo>
                  <a:lnTo>
                    <a:pt x="19" y="35"/>
                  </a:lnTo>
                  <a:lnTo>
                    <a:pt x="5" y="29"/>
                  </a:lnTo>
                  <a:lnTo>
                    <a:pt x="2" y="20"/>
                  </a:lnTo>
                  <a:lnTo>
                    <a:pt x="0"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62" name="Freeform 463"/>
            <p:cNvSpPr>
              <a:spLocks/>
            </p:cNvSpPr>
            <p:nvPr/>
          </p:nvSpPr>
          <p:spPr bwMode="auto">
            <a:xfrm>
              <a:off x="3355" y="1943"/>
              <a:ext cx="18" cy="27"/>
            </a:xfrm>
            <a:custGeom>
              <a:avLst/>
              <a:gdLst>
                <a:gd name="T0" fmla="*/ 5 w 16"/>
                <a:gd name="T1" fmla="*/ 0 h 29"/>
                <a:gd name="T2" fmla="*/ 0 w 16"/>
                <a:gd name="T3" fmla="*/ 5 h 29"/>
                <a:gd name="T4" fmla="*/ 0 w 16"/>
                <a:gd name="T5" fmla="*/ 20 h 29"/>
                <a:gd name="T6" fmla="*/ 11 w 16"/>
                <a:gd name="T7" fmla="*/ 29 h 29"/>
                <a:gd name="T8" fmla="*/ 16 w 16"/>
                <a:gd name="T9" fmla="*/ 16 h 29"/>
                <a:gd name="T10" fmla="*/ 5 w 16"/>
                <a:gd name="T11" fmla="*/ 0 h 29"/>
              </a:gdLst>
              <a:ahLst/>
              <a:cxnLst>
                <a:cxn ang="0">
                  <a:pos x="T0" y="T1"/>
                </a:cxn>
                <a:cxn ang="0">
                  <a:pos x="T2" y="T3"/>
                </a:cxn>
                <a:cxn ang="0">
                  <a:pos x="T4" y="T5"/>
                </a:cxn>
                <a:cxn ang="0">
                  <a:pos x="T6" y="T7"/>
                </a:cxn>
                <a:cxn ang="0">
                  <a:pos x="T8" y="T9"/>
                </a:cxn>
                <a:cxn ang="0">
                  <a:pos x="T10" y="T11"/>
                </a:cxn>
              </a:cxnLst>
              <a:rect l="0" t="0" r="r" b="b"/>
              <a:pathLst>
                <a:path w="16" h="29">
                  <a:moveTo>
                    <a:pt x="5" y="0"/>
                  </a:moveTo>
                  <a:lnTo>
                    <a:pt x="0" y="5"/>
                  </a:lnTo>
                  <a:lnTo>
                    <a:pt x="0" y="20"/>
                  </a:lnTo>
                  <a:lnTo>
                    <a:pt x="11" y="29"/>
                  </a:lnTo>
                  <a:lnTo>
                    <a:pt x="16" y="16"/>
                  </a:lnTo>
                  <a:lnTo>
                    <a:pt x="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63" name="Freeform 464"/>
            <p:cNvSpPr>
              <a:spLocks/>
            </p:cNvSpPr>
            <p:nvPr/>
          </p:nvSpPr>
          <p:spPr bwMode="auto">
            <a:xfrm>
              <a:off x="3263" y="2000"/>
              <a:ext cx="25" cy="20"/>
            </a:xfrm>
            <a:custGeom>
              <a:avLst/>
              <a:gdLst>
                <a:gd name="T0" fmla="*/ 2 w 24"/>
                <a:gd name="T1" fmla="*/ 0 h 22"/>
                <a:gd name="T2" fmla="*/ 0 w 24"/>
                <a:gd name="T3" fmla="*/ 4 h 22"/>
                <a:gd name="T4" fmla="*/ 2 w 24"/>
                <a:gd name="T5" fmla="*/ 15 h 22"/>
                <a:gd name="T6" fmla="*/ 15 w 24"/>
                <a:gd name="T7" fmla="*/ 22 h 22"/>
                <a:gd name="T8" fmla="*/ 24 w 24"/>
                <a:gd name="T9" fmla="*/ 13 h 22"/>
                <a:gd name="T10" fmla="*/ 2 w 24"/>
                <a:gd name="T11" fmla="*/ 0 h 22"/>
              </a:gdLst>
              <a:ahLst/>
              <a:cxnLst>
                <a:cxn ang="0">
                  <a:pos x="T0" y="T1"/>
                </a:cxn>
                <a:cxn ang="0">
                  <a:pos x="T2" y="T3"/>
                </a:cxn>
                <a:cxn ang="0">
                  <a:pos x="T4" y="T5"/>
                </a:cxn>
                <a:cxn ang="0">
                  <a:pos x="T6" y="T7"/>
                </a:cxn>
                <a:cxn ang="0">
                  <a:pos x="T8" y="T9"/>
                </a:cxn>
                <a:cxn ang="0">
                  <a:pos x="T10" y="T11"/>
                </a:cxn>
              </a:cxnLst>
              <a:rect l="0" t="0" r="r" b="b"/>
              <a:pathLst>
                <a:path w="24" h="22">
                  <a:moveTo>
                    <a:pt x="2" y="0"/>
                  </a:moveTo>
                  <a:lnTo>
                    <a:pt x="0" y="4"/>
                  </a:lnTo>
                  <a:lnTo>
                    <a:pt x="2" y="15"/>
                  </a:lnTo>
                  <a:lnTo>
                    <a:pt x="15" y="22"/>
                  </a:lnTo>
                  <a:lnTo>
                    <a:pt x="24" y="13"/>
                  </a:lnTo>
                  <a:lnTo>
                    <a:pt x="2"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64" name="Freeform 465"/>
            <p:cNvSpPr>
              <a:spLocks/>
            </p:cNvSpPr>
            <p:nvPr/>
          </p:nvSpPr>
          <p:spPr bwMode="auto">
            <a:xfrm>
              <a:off x="3203" y="2694"/>
              <a:ext cx="378" cy="337"/>
            </a:xfrm>
            <a:custGeom>
              <a:avLst/>
              <a:gdLst>
                <a:gd name="T0" fmla="*/ 7 w 363"/>
                <a:gd name="T1" fmla="*/ 102 h 357"/>
                <a:gd name="T2" fmla="*/ 22 w 363"/>
                <a:gd name="T3" fmla="*/ 130 h 357"/>
                <a:gd name="T4" fmla="*/ 41 w 363"/>
                <a:gd name="T5" fmla="*/ 126 h 357"/>
                <a:gd name="T6" fmla="*/ 56 w 363"/>
                <a:gd name="T7" fmla="*/ 98 h 357"/>
                <a:gd name="T8" fmla="*/ 82 w 363"/>
                <a:gd name="T9" fmla="*/ 111 h 357"/>
                <a:gd name="T10" fmla="*/ 89 w 363"/>
                <a:gd name="T11" fmla="*/ 135 h 357"/>
                <a:gd name="T12" fmla="*/ 102 w 363"/>
                <a:gd name="T13" fmla="*/ 167 h 357"/>
                <a:gd name="T14" fmla="*/ 115 w 363"/>
                <a:gd name="T15" fmla="*/ 189 h 357"/>
                <a:gd name="T16" fmla="*/ 106 w 363"/>
                <a:gd name="T17" fmla="*/ 199 h 357"/>
                <a:gd name="T18" fmla="*/ 161 w 363"/>
                <a:gd name="T19" fmla="*/ 260 h 357"/>
                <a:gd name="T20" fmla="*/ 187 w 363"/>
                <a:gd name="T21" fmla="*/ 263 h 357"/>
                <a:gd name="T22" fmla="*/ 228 w 363"/>
                <a:gd name="T23" fmla="*/ 291 h 357"/>
                <a:gd name="T24" fmla="*/ 239 w 363"/>
                <a:gd name="T25" fmla="*/ 314 h 357"/>
                <a:gd name="T26" fmla="*/ 250 w 363"/>
                <a:gd name="T27" fmla="*/ 313 h 357"/>
                <a:gd name="T28" fmla="*/ 274 w 363"/>
                <a:gd name="T29" fmla="*/ 326 h 357"/>
                <a:gd name="T30" fmla="*/ 290 w 363"/>
                <a:gd name="T31" fmla="*/ 325 h 357"/>
                <a:gd name="T32" fmla="*/ 289 w 363"/>
                <a:gd name="T33" fmla="*/ 301 h 357"/>
                <a:gd name="T34" fmla="*/ 271 w 363"/>
                <a:gd name="T35" fmla="*/ 275 h 357"/>
                <a:gd name="T36" fmla="*/ 228 w 363"/>
                <a:gd name="T37" fmla="*/ 232 h 357"/>
                <a:gd name="T38" fmla="*/ 213 w 363"/>
                <a:gd name="T39" fmla="*/ 228 h 357"/>
                <a:gd name="T40" fmla="*/ 198 w 363"/>
                <a:gd name="T41" fmla="*/ 217 h 357"/>
                <a:gd name="T42" fmla="*/ 187 w 363"/>
                <a:gd name="T43" fmla="*/ 197 h 357"/>
                <a:gd name="T44" fmla="*/ 169 w 363"/>
                <a:gd name="T45" fmla="*/ 165 h 357"/>
                <a:gd name="T46" fmla="*/ 137 w 363"/>
                <a:gd name="T47" fmla="*/ 126 h 357"/>
                <a:gd name="T48" fmla="*/ 154 w 363"/>
                <a:gd name="T49" fmla="*/ 119 h 357"/>
                <a:gd name="T50" fmla="*/ 222 w 363"/>
                <a:gd name="T51" fmla="*/ 102 h 357"/>
                <a:gd name="T52" fmla="*/ 254 w 363"/>
                <a:gd name="T53" fmla="*/ 122 h 357"/>
                <a:gd name="T54" fmla="*/ 267 w 363"/>
                <a:gd name="T55" fmla="*/ 122 h 357"/>
                <a:gd name="T56" fmla="*/ 295 w 363"/>
                <a:gd name="T57" fmla="*/ 124 h 357"/>
                <a:gd name="T58" fmla="*/ 332 w 363"/>
                <a:gd name="T59" fmla="*/ 122 h 357"/>
                <a:gd name="T60" fmla="*/ 356 w 363"/>
                <a:gd name="T61" fmla="*/ 135 h 357"/>
                <a:gd name="T62" fmla="*/ 363 w 363"/>
                <a:gd name="T63" fmla="*/ 111 h 357"/>
                <a:gd name="T64" fmla="*/ 344 w 363"/>
                <a:gd name="T65" fmla="*/ 91 h 357"/>
                <a:gd name="T66" fmla="*/ 343 w 363"/>
                <a:gd name="T67" fmla="*/ 69 h 357"/>
                <a:gd name="T68" fmla="*/ 328 w 363"/>
                <a:gd name="T69" fmla="*/ 54 h 357"/>
                <a:gd name="T70" fmla="*/ 312 w 363"/>
                <a:gd name="T71" fmla="*/ 58 h 357"/>
                <a:gd name="T72" fmla="*/ 293 w 363"/>
                <a:gd name="T73" fmla="*/ 65 h 357"/>
                <a:gd name="T74" fmla="*/ 265 w 363"/>
                <a:gd name="T75" fmla="*/ 43 h 357"/>
                <a:gd name="T76" fmla="*/ 241 w 363"/>
                <a:gd name="T77" fmla="*/ 33 h 357"/>
                <a:gd name="T78" fmla="*/ 198 w 363"/>
                <a:gd name="T79" fmla="*/ 0 h 357"/>
                <a:gd name="T80" fmla="*/ 157 w 363"/>
                <a:gd name="T81" fmla="*/ 24 h 357"/>
                <a:gd name="T82" fmla="*/ 145 w 363"/>
                <a:gd name="T83" fmla="*/ 45 h 357"/>
                <a:gd name="T84" fmla="*/ 80 w 363"/>
                <a:gd name="T85" fmla="*/ 80 h 357"/>
                <a:gd name="T86" fmla="*/ 41 w 363"/>
                <a:gd name="T87" fmla="*/ 80 h 357"/>
                <a:gd name="T88" fmla="*/ 0 w 363"/>
                <a:gd name="T89"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3" h="357">
                  <a:moveTo>
                    <a:pt x="0" y="80"/>
                  </a:moveTo>
                  <a:lnTo>
                    <a:pt x="7" y="102"/>
                  </a:lnTo>
                  <a:lnTo>
                    <a:pt x="15" y="119"/>
                  </a:lnTo>
                  <a:lnTo>
                    <a:pt x="22" y="130"/>
                  </a:lnTo>
                  <a:lnTo>
                    <a:pt x="31" y="132"/>
                  </a:lnTo>
                  <a:lnTo>
                    <a:pt x="41" y="126"/>
                  </a:lnTo>
                  <a:lnTo>
                    <a:pt x="46" y="115"/>
                  </a:lnTo>
                  <a:lnTo>
                    <a:pt x="56" y="98"/>
                  </a:lnTo>
                  <a:lnTo>
                    <a:pt x="69" y="108"/>
                  </a:lnTo>
                  <a:lnTo>
                    <a:pt x="82" y="111"/>
                  </a:lnTo>
                  <a:lnTo>
                    <a:pt x="91" y="117"/>
                  </a:lnTo>
                  <a:lnTo>
                    <a:pt x="89" y="135"/>
                  </a:lnTo>
                  <a:lnTo>
                    <a:pt x="89" y="147"/>
                  </a:lnTo>
                  <a:lnTo>
                    <a:pt x="102" y="167"/>
                  </a:lnTo>
                  <a:lnTo>
                    <a:pt x="117" y="184"/>
                  </a:lnTo>
                  <a:lnTo>
                    <a:pt x="115" y="189"/>
                  </a:lnTo>
                  <a:lnTo>
                    <a:pt x="98" y="189"/>
                  </a:lnTo>
                  <a:lnTo>
                    <a:pt x="106" y="199"/>
                  </a:lnTo>
                  <a:lnTo>
                    <a:pt x="156" y="256"/>
                  </a:lnTo>
                  <a:lnTo>
                    <a:pt x="161" y="260"/>
                  </a:lnTo>
                  <a:lnTo>
                    <a:pt x="176" y="260"/>
                  </a:lnTo>
                  <a:lnTo>
                    <a:pt x="187" y="263"/>
                  </a:lnTo>
                  <a:lnTo>
                    <a:pt x="209" y="273"/>
                  </a:lnTo>
                  <a:lnTo>
                    <a:pt x="228" y="291"/>
                  </a:lnTo>
                  <a:lnTo>
                    <a:pt x="232" y="299"/>
                  </a:lnTo>
                  <a:lnTo>
                    <a:pt x="239" y="314"/>
                  </a:lnTo>
                  <a:lnTo>
                    <a:pt x="245" y="313"/>
                  </a:lnTo>
                  <a:lnTo>
                    <a:pt x="250" y="313"/>
                  </a:lnTo>
                  <a:lnTo>
                    <a:pt x="265" y="319"/>
                  </a:lnTo>
                  <a:lnTo>
                    <a:pt x="274" y="326"/>
                  </a:lnTo>
                  <a:lnTo>
                    <a:pt x="302" y="357"/>
                  </a:lnTo>
                  <a:lnTo>
                    <a:pt x="290" y="325"/>
                  </a:lnTo>
                  <a:lnTo>
                    <a:pt x="283" y="313"/>
                  </a:lnTo>
                  <a:lnTo>
                    <a:pt x="289" y="301"/>
                  </a:lnTo>
                  <a:lnTo>
                    <a:pt x="285" y="291"/>
                  </a:lnTo>
                  <a:lnTo>
                    <a:pt x="271" y="275"/>
                  </a:lnTo>
                  <a:lnTo>
                    <a:pt x="245" y="245"/>
                  </a:lnTo>
                  <a:lnTo>
                    <a:pt x="228" y="232"/>
                  </a:lnTo>
                  <a:lnTo>
                    <a:pt x="222" y="226"/>
                  </a:lnTo>
                  <a:lnTo>
                    <a:pt x="213" y="228"/>
                  </a:lnTo>
                  <a:lnTo>
                    <a:pt x="200" y="217"/>
                  </a:lnTo>
                  <a:lnTo>
                    <a:pt x="198" y="217"/>
                  </a:lnTo>
                  <a:lnTo>
                    <a:pt x="191" y="210"/>
                  </a:lnTo>
                  <a:lnTo>
                    <a:pt x="187" y="197"/>
                  </a:lnTo>
                  <a:lnTo>
                    <a:pt x="183" y="184"/>
                  </a:lnTo>
                  <a:lnTo>
                    <a:pt x="169" y="165"/>
                  </a:lnTo>
                  <a:lnTo>
                    <a:pt x="139" y="134"/>
                  </a:lnTo>
                  <a:lnTo>
                    <a:pt x="137" y="126"/>
                  </a:lnTo>
                  <a:lnTo>
                    <a:pt x="139" y="122"/>
                  </a:lnTo>
                  <a:lnTo>
                    <a:pt x="154" y="119"/>
                  </a:lnTo>
                  <a:lnTo>
                    <a:pt x="195" y="132"/>
                  </a:lnTo>
                  <a:lnTo>
                    <a:pt x="222" y="102"/>
                  </a:lnTo>
                  <a:lnTo>
                    <a:pt x="245" y="121"/>
                  </a:lnTo>
                  <a:lnTo>
                    <a:pt x="254" y="122"/>
                  </a:lnTo>
                  <a:lnTo>
                    <a:pt x="259" y="130"/>
                  </a:lnTo>
                  <a:lnTo>
                    <a:pt x="267" y="122"/>
                  </a:lnTo>
                  <a:lnTo>
                    <a:pt x="282" y="122"/>
                  </a:lnTo>
                  <a:lnTo>
                    <a:pt x="295" y="124"/>
                  </a:lnTo>
                  <a:lnTo>
                    <a:pt x="313" y="115"/>
                  </a:lnTo>
                  <a:lnTo>
                    <a:pt x="332" y="122"/>
                  </a:lnTo>
                  <a:lnTo>
                    <a:pt x="343" y="132"/>
                  </a:lnTo>
                  <a:lnTo>
                    <a:pt x="356" y="135"/>
                  </a:lnTo>
                  <a:lnTo>
                    <a:pt x="357" y="126"/>
                  </a:lnTo>
                  <a:lnTo>
                    <a:pt x="363" y="111"/>
                  </a:lnTo>
                  <a:lnTo>
                    <a:pt x="356" y="104"/>
                  </a:lnTo>
                  <a:lnTo>
                    <a:pt x="344" y="91"/>
                  </a:lnTo>
                  <a:lnTo>
                    <a:pt x="343" y="78"/>
                  </a:lnTo>
                  <a:lnTo>
                    <a:pt x="343" y="69"/>
                  </a:lnTo>
                  <a:lnTo>
                    <a:pt x="344" y="58"/>
                  </a:lnTo>
                  <a:lnTo>
                    <a:pt x="328" y="54"/>
                  </a:lnTo>
                  <a:lnTo>
                    <a:pt x="320" y="52"/>
                  </a:lnTo>
                  <a:lnTo>
                    <a:pt x="312" y="58"/>
                  </a:lnTo>
                  <a:lnTo>
                    <a:pt x="302" y="65"/>
                  </a:lnTo>
                  <a:lnTo>
                    <a:pt x="293" y="65"/>
                  </a:lnTo>
                  <a:lnTo>
                    <a:pt x="278" y="50"/>
                  </a:lnTo>
                  <a:lnTo>
                    <a:pt x="265" y="43"/>
                  </a:lnTo>
                  <a:lnTo>
                    <a:pt x="252" y="45"/>
                  </a:lnTo>
                  <a:lnTo>
                    <a:pt x="241" y="33"/>
                  </a:lnTo>
                  <a:lnTo>
                    <a:pt x="211" y="2"/>
                  </a:lnTo>
                  <a:lnTo>
                    <a:pt x="198" y="0"/>
                  </a:lnTo>
                  <a:lnTo>
                    <a:pt x="178" y="26"/>
                  </a:lnTo>
                  <a:lnTo>
                    <a:pt x="157" y="24"/>
                  </a:lnTo>
                  <a:lnTo>
                    <a:pt x="148" y="33"/>
                  </a:lnTo>
                  <a:lnTo>
                    <a:pt x="145" y="45"/>
                  </a:lnTo>
                  <a:lnTo>
                    <a:pt x="106" y="87"/>
                  </a:lnTo>
                  <a:lnTo>
                    <a:pt x="80" y="80"/>
                  </a:lnTo>
                  <a:lnTo>
                    <a:pt x="54" y="74"/>
                  </a:lnTo>
                  <a:lnTo>
                    <a:pt x="41" y="80"/>
                  </a:lnTo>
                  <a:lnTo>
                    <a:pt x="24" y="87"/>
                  </a:lnTo>
                  <a:lnTo>
                    <a:pt x="0" y="8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grpSp>
          <p:nvGrpSpPr>
            <p:cNvPr id="65" name="Group 466"/>
            <p:cNvGrpSpPr>
              <a:grpSpLocks/>
            </p:cNvGrpSpPr>
            <p:nvPr/>
          </p:nvGrpSpPr>
          <p:grpSpPr bwMode="auto">
            <a:xfrm>
              <a:off x="3676" y="1004"/>
              <a:ext cx="424" cy="574"/>
              <a:chOff x="3676" y="1004"/>
              <a:chExt cx="424" cy="574"/>
            </a:xfrm>
            <a:grpFill/>
          </p:grpSpPr>
          <p:sp>
            <p:nvSpPr>
              <p:cNvPr id="79" name="Freeform 467"/>
              <p:cNvSpPr>
                <a:spLocks/>
              </p:cNvSpPr>
              <p:nvPr/>
            </p:nvSpPr>
            <p:spPr bwMode="auto">
              <a:xfrm>
                <a:off x="3676" y="1004"/>
                <a:ext cx="424" cy="574"/>
              </a:xfrm>
              <a:custGeom>
                <a:avLst/>
                <a:gdLst>
                  <a:gd name="T0" fmla="*/ 84 w 369"/>
                  <a:gd name="T1" fmla="*/ 500 h 500"/>
                  <a:gd name="T2" fmla="*/ 81 w 369"/>
                  <a:gd name="T3" fmla="*/ 475 h 500"/>
                  <a:gd name="T4" fmla="*/ 67 w 369"/>
                  <a:gd name="T5" fmla="*/ 463 h 500"/>
                  <a:gd name="T6" fmla="*/ 57 w 369"/>
                  <a:gd name="T7" fmla="*/ 457 h 500"/>
                  <a:gd name="T8" fmla="*/ 40 w 369"/>
                  <a:gd name="T9" fmla="*/ 451 h 500"/>
                  <a:gd name="T10" fmla="*/ 26 w 369"/>
                  <a:gd name="T11" fmla="*/ 451 h 500"/>
                  <a:gd name="T12" fmla="*/ 20 w 369"/>
                  <a:gd name="T13" fmla="*/ 439 h 500"/>
                  <a:gd name="T14" fmla="*/ 26 w 369"/>
                  <a:gd name="T15" fmla="*/ 392 h 500"/>
                  <a:gd name="T16" fmla="*/ 24 w 369"/>
                  <a:gd name="T17" fmla="*/ 365 h 500"/>
                  <a:gd name="T18" fmla="*/ 13 w 369"/>
                  <a:gd name="T19" fmla="*/ 353 h 500"/>
                  <a:gd name="T20" fmla="*/ 7 w 369"/>
                  <a:gd name="T21" fmla="*/ 347 h 500"/>
                  <a:gd name="T22" fmla="*/ 10 w 369"/>
                  <a:gd name="T23" fmla="*/ 322 h 500"/>
                  <a:gd name="T24" fmla="*/ 7 w 369"/>
                  <a:gd name="T25" fmla="*/ 306 h 500"/>
                  <a:gd name="T26" fmla="*/ 0 w 369"/>
                  <a:gd name="T27" fmla="*/ 295 h 500"/>
                  <a:gd name="T28" fmla="*/ 10 w 369"/>
                  <a:gd name="T29" fmla="*/ 268 h 500"/>
                  <a:gd name="T30" fmla="*/ 20 w 369"/>
                  <a:gd name="T31" fmla="*/ 268 h 500"/>
                  <a:gd name="T32" fmla="*/ 26 w 369"/>
                  <a:gd name="T33" fmla="*/ 262 h 500"/>
                  <a:gd name="T34" fmla="*/ 30 w 369"/>
                  <a:gd name="T35" fmla="*/ 243 h 500"/>
                  <a:gd name="T36" fmla="*/ 50 w 369"/>
                  <a:gd name="T37" fmla="*/ 228 h 500"/>
                  <a:gd name="T38" fmla="*/ 70 w 369"/>
                  <a:gd name="T39" fmla="*/ 212 h 500"/>
                  <a:gd name="T40" fmla="*/ 74 w 369"/>
                  <a:gd name="T41" fmla="*/ 194 h 500"/>
                  <a:gd name="T42" fmla="*/ 97 w 369"/>
                  <a:gd name="T43" fmla="*/ 176 h 500"/>
                  <a:gd name="T44" fmla="*/ 121 w 369"/>
                  <a:gd name="T45" fmla="*/ 154 h 500"/>
                  <a:gd name="T46" fmla="*/ 117 w 369"/>
                  <a:gd name="T47" fmla="*/ 145 h 500"/>
                  <a:gd name="T48" fmla="*/ 117 w 369"/>
                  <a:gd name="T49" fmla="*/ 133 h 500"/>
                  <a:gd name="T50" fmla="*/ 134 w 369"/>
                  <a:gd name="T51" fmla="*/ 124 h 500"/>
                  <a:gd name="T52" fmla="*/ 141 w 369"/>
                  <a:gd name="T53" fmla="*/ 120 h 500"/>
                  <a:gd name="T54" fmla="*/ 137 w 369"/>
                  <a:gd name="T55" fmla="*/ 102 h 500"/>
                  <a:gd name="T56" fmla="*/ 137 w 369"/>
                  <a:gd name="T57" fmla="*/ 84 h 500"/>
                  <a:gd name="T58" fmla="*/ 131 w 369"/>
                  <a:gd name="T59" fmla="*/ 81 h 500"/>
                  <a:gd name="T60" fmla="*/ 121 w 369"/>
                  <a:gd name="T61" fmla="*/ 84 h 500"/>
                  <a:gd name="T62" fmla="*/ 111 w 369"/>
                  <a:gd name="T63" fmla="*/ 71 h 500"/>
                  <a:gd name="T64" fmla="*/ 101 w 369"/>
                  <a:gd name="T65" fmla="*/ 38 h 500"/>
                  <a:gd name="T66" fmla="*/ 81 w 369"/>
                  <a:gd name="T67" fmla="*/ 13 h 500"/>
                  <a:gd name="T68" fmla="*/ 82 w 369"/>
                  <a:gd name="T69" fmla="*/ 0 h 500"/>
                  <a:gd name="T70" fmla="*/ 272 w 369"/>
                  <a:gd name="T71" fmla="*/ 0 h 500"/>
                  <a:gd name="T72" fmla="*/ 288 w 369"/>
                  <a:gd name="T73" fmla="*/ 43 h 500"/>
                  <a:gd name="T74" fmla="*/ 285 w 369"/>
                  <a:gd name="T75" fmla="*/ 93 h 500"/>
                  <a:gd name="T76" fmla="*/ 298 w 369"/>
                  <a:gd name="T77" fmla="*/ 124 h 500"/>
                  <a:gd name="T78" fmla="*/ 306 w 369"/>
                  <a:gd name="T79" fmla="*/ 136 h 500"/>
                  <a:gd name="T80" fmla="*/ 312 w 369"/>
                  <a:gd name="T81" fmla="*/ 182 h 500"/>
                  <a:gd name="T82" fmla="*/ 318 w 369"/>
                  <a:gd name="T83" fmla="*/ 201 h 500"/>
                  <a:gd name="T84" fmla="*/ 352 w 369"/>
                  <a:gd name="T85" fmla="*/ 221 h 500"/>
                  <a:gd name="T86" fmla="*/ 369 w 369"/>
                  <a:gd name="T87" fmla="*/ 240 h 500"/>
                  <a:gd name="T88" fmla="*/ 369 w 369"/>
                  <a:gd name="T89" fmla="*/ 253 h 500"/>
                  <a:gd name="T90" fmla="*/ 355 w 369"/>
                  <a:gd name="T91" fmla="*/ 310 h 500"/>
                  <a:gd name="T92" fmla="*/ 349 w 369"/>
                  <a:gd name="T93" fmla="*/ 316 h 500"/>
                  <a:gd name="T94" fmla="*/ 355 w 369"/>
                  <a:gd name="T95" fmla="*/ 328 h 500"/>
                  <a:gd name="T96" fmla="*/ 339 w 369"/>
                  <a:gd name="T97" fmla="*/ 349 h 500"/>
                  <a:gd name="T98" fmla="*/ 318 w 369"/>
                  <a:gd name="T99" fmla="*/ 359 h 500"/>
                  <a:gd name="T100" fmla="*/ 318 w 369"/>
                  <a:gd name="T101" fmla="*/ 368 h 500"/>
                  <a:gd name="T102" fmla="*/ 288 w 369"/>
                  <a:gd name="T103" fmla="*/ 405 h 500"/>
                  <a:gd name="T104" fmla="*/ 268 w 369"/>
                  <a:gd name="T105" fmla="*/ 414 h 500"/>
                  <a:gd name="T106" fmla="*/ 265 w 369"/>
                  <a:gd name="T107" fmla="*/ 435 h 500"/>
                  <a:gd name="T108" fmla="*/ 245 w 369"/>
                  <a:gd name="T109" fmla="*/ 435 h 500"/>
                  <a:gd name="T110" fmla="*/ 235 w 369"/>
                  <a:gd name="T111" fmla="*/ 442 h 500"/>
                  <a:gd name="T112" fmla="*/ 215 w 369"/>
                  <a:gd name="T113" fmla="*/ 448 h 500"/>
                  <a:gd name="T114" fmla="*/ 188 w 369"/>
                  <a:gd name="T115" fmla="*/ 445 h 500"/>
                  <a:gd name="T116" fmla="*/ 168 w 369"/>
                  <a:gd name="T117" fmla="*/ 460 h 500"/>
                  <a:gd name="T118" fmla="*/ 144 w 369"/>
                  <a:gd name="T119" fmla="*/ 473 h 500"/>
                  <a:gd name="T120" fmla="*/ 121 w 369"/>
                  <a:gd name="T121" fmla="*/ 478 h 500"/>
                  <a:gd name="T122" fmla="*/ 103 w 369"/>
                  <a:gd name="T123" fmla="*/ 491 h 500"/>
                  <a:gd name="T124" fmla="*/ 84 w 369"/>
                  <a:gd name="T125"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9" h="500">
                    <a:moveTo>
                      <a:pt x="84" y="500"/>
                    </a:moveTo>
                    <a:lnTo>
                      <a:pt x="81" y="475"/>
                    </a:lnTo>
                    <a:lnTo>
                      <a:pt x="67" y="463"/>
                    </a:lnTo>
                    <a:lnTo>
                      <a:pt x="57" y="457"/>
                    </a:lnTo>
                    <a:lnTo>
                      <a:pt x="40" y="451"/>
                    </a:lnTo>
                    <a:lnTo>
                      <a:pt x="26" y="451"/>
                    </a:lnTo>
                    <a:lnTo>
                      <a:pt x="20" y="439"/>
                    </a:lnTo>
                    <a:lnTo>
                      <a:pt x="26" y="392"/>
                    </a:lnTo>
                    <a:lnTo>
                      <a:pt x="24" y="365"/>
                    </a:lnTo>
                    <a:lnTo>
                      <a:pt x="13" y="353"/>
                    </a:lnTo>
                    <a:lnTo>
                      <a:pt x="7" y="347"/>
                    </a:lnTo>
                    <a:lnTo>
                      <a:pt x="10" y="322"/>
                    </a:lnTo>
                    <a:lnTo>
                      <a:pt x="7" y="306"/>
                    </a:lnTo>
                    <a:lnTo>
                      <a:pt x="0" y="295"/>
                    </a:lnTo>
                    <a:lnTo>
                      <a:pt x="10" y="268"/>
                    </a:lnTo>
                    <a:lnTo>
                      <a:pt x="20" y="268"/>
                    </a:lnTo>
                    <a:lnTo>
                      <a:pt x="26" y="262"/>
                    </a:lnTo>
                    <a:lnTo>
                      <a:pt x="30" y="243"/>
                    </a:lnTo>
                    <a:lnTo>
                      <a:pt x="50" y="228"/>
                    </a:lnTo>
                    <a:lnTo>
                      <a:pt x="70" y="212"/>
                    </a:lnTo>
                    <a:lnTo>
                      <a:pt x="74" y="194"/>
                    </a:lnTo>
                    <a:lnTo>
                      <a:pt x="97" y="176"/>
                    </a:lnTo>
                    <a:lnTo>
                      <a:pt x="121" y="154"/>
                    </a:lnTo>
                    <a:lnTo>
                      <a:pt x="117" y="145"/>
                    </a:lnTo>
                    <a:lnTo>
                      <a:pt x="117" y="133"/>
                    </a:lnTo>
                    <a:lnTo>
                      <a:pt x="134" y="124"/>
                    </a:lnTo>
                    <a:lnTo>
                      <a:pt x="141" y="120"/>
                    </a:lnTo>
                    <a:lnTo>
                      <a:pt x="137" y="102"/>
                    </a:lnTo>
                    <a:lnTo>
                      <a:pt x="137" y="84"/>
                    </a:lnTo>
                    <a:lnTo>
                      <a:pt x="131" y="81"/>
                    </a:lnTo>
                    <a:lnTo>
                      <a:pt x="121" y="84"/>
                    </a:lnTo>
                    <a:lnTo>
                      <a:pt x="111" y="71"/>
                    </a:lnTo>
                    <a:lnTo>
                      <a:pt x="101" y="38"/>
                    </a:lnTo>
                    <a:lnTo>
                      <a:pt x="81" y="13"/>
                    </a:lnTo>
                    <a:lnTo>
                      <a:pt x="82" y="0"/>
                    </a:lnTo>
                    <a:lnTo>
                      <a:pt x="272" y="0"/>
                    </a:lnTo>
                    <a:lnTo>
                      <a:pt x="288" y="43"/>
                    </a:lnTo>
                    <a:lnTo>
                      <a:pt x="285" y="93"/>
                    </a:lnTo>
                    <a:lnTo>
                      <a:pt x="298" y="124"/>
                    </a:lnTo>
                    <a:lnTo>
                      <a:pt x="306" y="136"/>
                    </a:lnTo>
                    <a:lnTo>
                      <a:pt x="312" y="182"/>
                    </a:lnTo>
                    <a:lnTo>
                      <a:pt x="318" y="201"/>
                    </a:lnTo>
                    <a:lnTo>
                      <a:pt x="352" y="221"/>
                    </a:lnTo>
                    <a:lnTo>
                      <a:pt x="369" y="240"/>
                    </a:lnTo>
                    <a:lnTo>
                      <a:pt x="369" y="253"/>
                    </a:lnTo>
                    <a:lnTo>
                      <a:pt x="355" y="310"/>
                    </a:lnTo>
                    <a:lnTo>
                      <a:pt x="349" y="316"/>
                    </a:lnTo>
                    <a:lnTo>
                      <a:pt x="355" y="328"/>
                    </a:lnTo>
                    <a:lnTo>
                      <a:pt x="339" y="349"/>
                    </a:lnTo>
                    <a:lnTo>
                      <a:pt x="318" y="359"/>
                    </a:lnTo>
                    <a:lnTo>
                      <a:pt x="318" y="368"/>
                    </a:lnTo>
                    <a:lnTo>
                      <a:pt x="288" y="405"/>
                    </a:lnTo>
                    <a:lnTo>
                      <a:pt x="268" y="414"/>
                    </a:lnTo>
                    <a:lnTo>
                      <a:pt x="265" y="435"/>
                    </a:lnTo>
                    <a:lnTo>
                      <a:pt x="245" y="435"/>
                    </a:lnTo>
                    <a:lnTo>
                      <a:pt x="235" y="442"/>
                    </a:lnTo>
                    <a:lnTo>
                      <a:pt x="215" y="448"/>
                    </a:lnTo>
                    <a:lnTo>
                      <a:pt x="188" y="445"/>
                    </a:lnTo>
                    <a:lnTo>
                      <a:pt x="168" y="460"/>
                    </a:lnTo>
                    <a:lnTo>
                      <a:pt x="144" y="473"/>
                    </a:lnTo>
                    <a:lnTo>
                      <a:pt x="121" y="478"/>
                    </a:lnTo>
                    <a:lnTo>
                      <a:pt x="103" y="491"/>
                    </a:lnTo>
                    <a:lnTo>
                      <a:pt x="84" y="50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0" name="Freeform 468"/>
              <p:cNvSpPr>
                <a:spLocks/>
              </p:cNvSpPr>
              <p:nvPr/>
            </p:nvSpPr>
            <p:spPr bwMode="auto">
              <a:xfrm>
                <a:off x="3953" y="1078"/>
                <a:ext cx="15" cy="45"/>
              </a:xfrm>
              <a:custGeom>
                <a:avLst/>
                <a:gdLst>
                  <a:gd name="T0" fmla="*/ 16 w 16"/>
                  <a:gd name="T1" fmla="*/ 0 h 45"/>
                  <a:gd name="T2" fmla="*/ 0 w 16"/>
                  <a:gd name="T3" fmla="*/ 9 h 45"/>
                  <a:gd name="T4" fmla="*/ 0 w 16"/>
                  <a:gd name="T5" fmla="*/ 45 h 45"/>
                  <a:gd name="T6" fmla="*/ 8 w 16"/>
                  <a:gd name="T7" fmla="*/ 28 h 45"/>
                  <a:gd name="T8" fmla="*/ 11 w 16"/>
                  <a:gd name="T9" fmla="*/ 9 h 45"/>
                  <a:gd name="T10" fmla="*/ 5 w 16"/>
                  <a:gd name="T11" fmla="*/ 8 h 45"/>
                  <a:gd name="T12" fmla="*/ 16 w 1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16" y="0"/>
                    </a:moveTo>
                    <a:lnTo>
                      <a:pt x="0" y="9"/>
                    </a:lnTo>
                    <a:lnTo>
                      <a:pt x="0" y="45"/>
                    </a:lnTo>
                    <a:lnTo>
                      <a:pt x="8" y="28"/>
                    </a:lnTo>
                    <a:lnTo>
                      <a:pt x="11" y="9"/>
                    </a:lnTo>
                    <a:lnTo>
                      <a:pt x="5" y="8"/>
                    </a:lnTo>
                    <a:lnTo>
                      <a:pt x="16"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1" name="Freeform 469"/>
              <p:cNvSpPr>
                <a:spLocks/>
              </p:cNvSpPr>
              <p:nvPr/>
            </p:nvSpPr>
            <p:spPr bwMode="auto">
              <a:xfrm>
                <a:off x="3978" y="1143"/>
                <a:ext cx="19" cy="26"/>
              </a:xfrm>
              <a:custGeom>
                <a:avLst/>
                <a:gdLst>
                  <a:gd name="T0" fmla="*/ 4 w 19"/>
                  <a:gd name="T1" fmla="*/ 0 h 26"/>
                  <a:gd name="T2" fmla="*/ 0 w 19"/>
                  <a:gd name="T3" fmla="*/ 7 h 26"/>
                  <a:gd name="T4" fmla="*/ 6 w 19"/>
                  <a:gd name="T5" fmla="*/ 26 h 26"/>
                  <a:gd name="T6" fmla="*/ 17 w 19"/>
                  <a:gd name="T7" fmla="*/ 20 h 26"/>
                  <a:gd name="T8" fmla="*/ 19 w 19"/>
                  <a:gd name="T9" fmla="*/ 11 h 26"/>
                  <a:gd name="T10" fmla="*/ 4 w 19"/>
                  <a:gd name="T11" fmla="*/ 0 h 26"/>
                </a:gdLst>
                <a:ahLst/>
                <a:cxnLst>
                  <a:cxn ang="0">
                    <a:pos x="T0" y="T1"/>
                  </a:cxn>
                  <a:cxn ang="0">
                    <a:pos x="T2" y="T3"/>
                  </a:cxn>
                  <a:cxn ang="0">
                    <a:pos x="T4" y="T5"/>
                  </a:cxn>
                  <a:cxn ang="0">
                    <a:pos x="T6" y="T7"/>
                  </a:cxn>
                  <a:cxn ang="0">
                    <a:pos x="T8" y="T9"/>
                  </a:cxn>
                  <a:cxn ang="0">
                    <a:pos x="T10" y="T11"/>
                  </a:cxn>
                </a:cxnLst>
                <a:rect l="0" t="0" r="r" b="b"/>
                <a:pathLst>
                  <a:path w="19" h="26">
                    <a:moveTo>
                      <a:pt x="4" y="0"/>
                    </a:moveTo>
                    <a:lnTo>
                      <a:pt x="0" y="7"/>
                    </a:lnTo>
                    <a:lnTo>
                      <a:pt x="6" y="26"/>
                    </a:lnTo>
                    <a:lnTo>
                      <a:pt x="17" y="20"/>
                    </a:lnTo>
                    <a:lnTo>
                      <a:pt x="19" y="11"/>
                    </a:lnTo>
                    <a:lnTo>
                      <a:pt x="4"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2" name="Freeform 470"/>
              <p:cNvSpPr>
                <a:spLocks/>
              </p:cNvSpPr>
              <p:nvPr/>
            </p:nvSpPr>
            <p:spPr bwMode="auto">
              <a:xfrm>
                <a:off x="3872" y="1140"/>
                <a:ext cx="42" cy="39"/>
              </a:xfrm>
              <a:custGeom>
                <a:avLst/>
                <a:gdLst>
                  <a:gd name="T0" fmla="*/ 41 w 41"/>
                  <a:gd name="T1" fmla="*/ 17 h 39"/>
                  <a:gd name="T2" fmla="*/ 32 w 41"/>
                  <a:gd name="T3" fmla="*/ 17 h 39"/>
                  <a:gd name="T4" fmla="*/ 21 w 41"/>
                  <a:gd name="T5" fmla="*/ 0 h 39"/>
                  <a:gd name="T6" fmla="*/ 13 w 41"/>
                  <a:gd name="T7" fmla="*/ 11 h 39"/>
                  <a:gd name="T8" fmla="*/ 2 w 41"/>
                  <a:gd name="T9" fmla="*/ 7 h 39"/>
                  <a:gd name="T10" fmla="*/ 0 w 41"/>
                  <a:gd name="T11" fmla="*/ 17 h 39"/>
                  <a:gd name="T12" fmla="*/ 6 w 41"/>
                  <a:gd name="T13" fmla="*/ 24 h 39"/>
                  <a:gd name="T14" fmla="*/ 6 w 41"/>
                  <a:gd name="T15" fmla="*/ 32 h 39"/>
                  <a:gd name="T16" fmla="*/ 13 w 41"/>
                  <a:gd name="T17" fmla="*/ 39 h 39"/>
                  <a:gd name="T18" fmla="*/ 21 w 41"/>
                  <a:gd name="T19" fmla="*/ 33 h 39"/>
                  <a:gd name="T20" fmla="*/ 35 w 41"/>
                  <a:gd name="T21" fmla="*/ 37 h 39"/>
                  <a:gd name="T22" fmla="*/ 41 w 41"/>
                  <a:gd name="T23"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39">
                    <a:moveTo>
                      <a:pt x="41" y="17"/>
                    </a:moveTo>
                    <a:lnTo>
                      <a:pt x="32" y="17"/>
                    </a:lnTo>
                    <a:lnTo>
                      <a:pt x="21" y="0"/>
                    </a:lnTo>
                    <a:lnTo>
                      <a:pt x="13" y="11"/>
                    </a:lnTo>
                    <a:lnTo>
                      <a:pt x="2" y="7"/>
                    </a:lnTo>
                    <a:lnTo>
                      <a:pt x="0" y="17"/>
                    </a:lnTo>
                    <a:lnTo>
                      <a:pt x="6" y="24"/>
                    </a:lnTo>
                    <a:lnTo>
                      <a:pt x="6" y="32"/>
                    </a:lnTo>
                    <a:lnTo>
                      <a:pt x="13" y="39"/>
                    </a:lnTo>
                    <a:lnTo>
                      <a:pt x="21" y="33"/>
                    </a:lnTo>
                    <a:lnTo>
                      <a:pt x="35" y="37"/>
                    </a:lnTo>
                    <a:lnTo>
                      <a:pt x="41" y="17"/>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3" name="Freeform 471"/>
              <p:cNvSpPr>
                <a:spLocks/>
              </p:cNvSpPr>
              <p:nvPr/>
            </p:nvSpPr>
            <p:spPr bwMode="auto">
              <a:xfrm>
                <a:off x="3968" y="1238"/>
                <a:ext cx="60" cy="41"/>
              </a:xfrm>
              <a:custGeom>
                <a:avLst/>
                <a:gdLst>
                  <a:gd name="T0" fmla="*/ 7 w 58"/>
                  <a:gd name="T1" fmla="*/ 0 h 40"/>
                  <a:gd name="T2" fmla="*/ 0 w 58"/>
                  <a:gd name="T3" fmla="*/ 4 h 40"/>
                  <a:gd name="T4" fmla="*/ 21 w 58"/>
                  <a:gd name="T5" fmla="*/ 24 h 40"/>
                  <a:gd name="T6" fmla="*/ 28 w 58"/>
                  <a:gd name="T7" fmla="*/ 24 h 40"/>
                  <a:gd name="T8" fmla="*/ 51 w 58"/>
                  <a:gd name="T9" fmla="*/ 40 h 40"/>
                  <a:gd name="T10" fmla="*/ 58 w 58"/>
                  <a:gd name="T11" fmla="*/ 33 h 40"/>
                  <a:gd name="T12" fmla="*/ 52 w 58"/>
                  <a:gd name="T13" fmla="*/ 16 h 40"/>
                  <a:gd name="T14" fmla="*/ 51 w 58"/>
                  <a:gd name="T15" fmla="*/ 7 h 40"/>
                  <a:gd name="T16" fmla="*/ 34 w 58"/>
                  <a:gd name="T17" fmla="*/ 7 h 40"/>
                  <a:gd name="T18" fmla="*/ 21 w 58"/>
                  <a:gd name="T19" fmla="*/ 0 h 40"/>
                  <a:gd name="T20" fmla="*/ 7 w 58"/>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40">
                    <a:moveTo>
                      <a:pt x="7" y="0"/>
                    </a:moveTo>
                    <a:lnTo>
                      <a:pt x="0" y="4"/>
                    </a:lnTo>
                    <a:lnTo>
                      <a:pt x="21" y="24"/>
                    </a:lnTo>
                    <a:lnTo>
                      <a:pt x="28" y="24"/>
                    </a:lnTo>
                    <a:lnTo>
                      <a:pt x="51" y="40"/>
                    </a:lnTo>
                    <a:lnTo>
                      <a:pt x="58" y="33"/>
                    </a:lnTo>
                    <a:lnTo>
                      <a:pt x="52" y="16"/>
                    </a:lnTo>
                    <a:lnTo>
                      <a:pt x="51" y="7"/>
                    </a:lnTo>
                    <a:lnTo>
                      <a:pt x="34" y="7"/>
                    </a:lnTo>
                    <a:lnTo>
                      <a:pt x="21" y="0"/>
                    </a:lnTo>
                    <a:lnTo>
                      <a:pt x="7"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4" name="Freeform 472"/>
              <p:cNvSpPr>
                <a:spLocks/>
              </p:cNvSpPr>
              <p:nvPr/>
            </p:nvSpPr>
            <p:spPr bwMode="auto">
              <a:xfrm>
                <a:off x="3845" y="1262"/>
                <a:ext cx="38" cy="61"/>
              </a:xfrm>
              <a:custGeom>
                <a:avLst/>
                <a:gdLst>
                  <a:gd name="T0" fmla="*/ 33 w 37"/>
                  <a:gd name="T1" fmla="*/ 0 h 59"/>
                  <a:gd name="T2" fmla="*/ 37 w 37"/>
                  <a:gd name="T3" fmla="*/ 11 h 59"/>
                  <a:gd name="T4" fmla="*/ 19 w 37"/>
                  <a:gd name="T5" fmla="*/ 39 h 59"/>
                  <a:gd name="T6" fmla="*/ 20 w 37"/>
                  <a:gd name="T7" fmla="*/ 48 h 59"/>
                  <a:gd name="T8" fmla="*/ 9 w 37"/>
                  <a:gd name="T9" fmla="*/ 59 h 59"/>
                  <a:gd name="T10" fmla="*/ 0 w 37"/>
                  <a:gd name="T11" fmla="*/ 50 h 59"/>
                  <a:gd name="T12" fmla="*/ 4 w 37"/>
                  <a:gd name="T13" fmla="*/ 42 h 59"/>
                  <a:gd name="T14" fmla="*/ 6 w 37"/>
                  <a:gd name="T15" fmla="*/ 24 h 59"/>
                  <a:gd name="T16" fmla="*/ 15 w 37"/>
                  <a:gd name="T17" fmla="*/ 13 h 59"/>
                  <a:gd name="T18" fmla="*/ 4 w 37"/>
                  <a:gd name="T19" fmla="*/ 4 h 59"/>
                  <a:gd name="T20" fmla="*/ 11 w 37"/>
                  <a:gd name="T21" fmla="*/ 0 h 59"/>
                  <a:gd name="T22" fmla="*/ 22 w 37"/>
                  <a:gd name="T23" fmla="*/ 6 h 59"/>
                  <a:gd name="T24" fmla="*/ 33 w 37"/>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9">
                    <a:moveTo>
                      <a:pt x="33" y="0"/>
                    </a:moveTo>
                    <a:lnTo>
                      <a:pt x="37" y="11"/>
                    </a:lnTo>
                    <a:lnTo>
                      <a:pt x="19" y="39"/>
                    </a:lnTo>
                    <a:lnTo>
                      <a:pt x="20" y="48"/>
                    </a:lnTo>
                    <a:lnTo>
                      <a:pt x="9" y="59"/>
                    </a:lnTo>
                    <a:lnTo>
                      <a:pt x="0" y="50"/>
                    </a:lnTo>
                    <a:lnTo>
                      <a:pt x="4" y="42"/>
                    </a:lnTo>
                    <a:lnTo>
                      <a:pt x="6" y="24"/>
                    </a:lnTo>
                    <a:lnTo>
                      <a:pt x="15" y="13"/>
                    </a:lnTo>
                    <a:lnTo>
                      <a:pt x="4" y="4"/>
                    </a:lnTo>
                    <a:lnTo>
                      <a:pt x="11" y="0"/>
                    </a:lnTo>
                    <a:lnTo>
                      <a:pt x="22" y="6"/>
                    </a:lnTo>
                    <a:lnTo>
                      <a:pt x="33"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5" name="Freeform 473"/>
              <p:cNvSpPr>
                <a:spLocks/>
              </p:cNvSpPr>
              <p:nvPr/>
            </p:nvSpPr>
            <p:spPr bwMode="auto">
              <a:xfrm>
                <a:off x="3863" y="1300"/>
                <a:ext cx="32" cy="57"/>
              </a:xfrm>
              <a:custGeom>
                <a:avLst/>
                <a:gdLst>
                  <a:gd name="T0" fmla="*/ 28 w 32"/>
                  <a:gd name="T1" fmla="*/ 0 h 55"/>
                  <a:gd name="T2" fmla="*/ 21 w 32"/>
                  <a:gd name="T3" fmla="*/ 0 h 55"/>
                  <a:gd name="T4" fmla="*/ 21 w 32"/>
                  <a:gd name="T5" fmla="*/ 4 h 55"/>
                  <a:gd name="T6" fmla="*/ 21 w 32"/>
                  <a:gd name="T7" fmla="*/ 7 h 55"/>
                  <a:gd name="T8" fmla="*/ 21 w 32"/>
                  <a:gd name="T9" fmla="*/ 11 h 55"/>
                  <a:gd name="T10" fmla="*/ 15 w 32"/>
                  <a:gd name="T11" fmla="*/ 21 h 55"/>
                  <a:gd name="T12" fmla="*/ 6 w 32"/>
                  <a:gd name="T13" fmla="*/ 30 h 55"/>
                  <a:gd name="T14" fmla="*/ 8 w 32"/>
                  <a:gd name="T15" fmla="*/ 37 h 55"/>
                  <a:gd name="T16" fmla="*/ 0 w 32"/>
                  <a:gd name="T17" fmla="*/ 49 h 55"/>
                  <a:gd name="T18" fmla="*/ 8 w 32"/>
                  <a:gd name="T19" fmla="*/ 55 h 55"/>
                  <a:gd name="T20" fmla="*/ 28 w 32"/>
                  <a:gd name="T21" fmla="*/ 26 h 55"/>
                  <a:gd name="T22" fmla="*/ 28 w 32"/>
                  <a:gd name="T23" fmla="*/ 19 h 55"/>
                  <a:gd name="T24" fmla="*/ 32 w 32"/>
                  <a:gd name="T25" fmla="*/ 11 h 55"/>
                  <a:gd name="T26" fmla="*/ 28 w 32"/>
                  <a:gd name="T2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55">
                    <a:moveTo>
                      <a:pt x="28" y="0"/>
                    </a:moveTo>
                    <a:lnTo>
                      <a:pt x="21" y="0"/>
                    </a:lnTo>
                    <a:lnTo>
                      <a:pt x="21" y="4"/>
                    </a:lnTo>
                    <a:lnTo>
                      <a:pt x="21" y="7"/>
                    </a:lnTo>
                    <a:lnTo>
                      <a:pt x="21" y="11"/>
                    </a:lnTo>
                    <a:lnTo>
                      <a:pt x="15" y="21"/>
                    </a:lnTo>
                    <a:lnTo>
                      <a:pt x="6" y="30"/>
                    </a:lnTo>
                    <a:lnTo>
                      <a:pt x="8" y="37"/>
                    </a:lnTo>
                    <a:lnTo>
                      <a:pt x="0" y="49"/>
                    </a:lnTo>
                    <a:lnTo>
                      <a:pt x="8" y="55"/>
                    </a:lnTo>
                    <a:lnTo>
                      <a:pt x="28" y="26"/>
                    </a:lnTo>
                    <a:lnTo>
                      <a:pt x="28" y="19"/>
                    </a:lnTo>
                    <a:lnTo>
                      <a:pt x="32" y="11"/>
                    </a:lnTo>
                    <a:lnTo>
                      <a:pt x="28"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6" name="Freeform 474"/>
              <p:cNvSpPr>
                <a:spLocks/>
              </p:cNvSpPr>
              <p:nvPr/>
            </p:nvSpPr>
            <p:spPr bwMode="auto">
              <a:xfrm>
                <a:off x="3759" y="1369"/>
                <a:ext cx="45" cy="81"/>
              </a:xfrm>
              <a:custGeom>
                <a:avLst/>
                <a:gdLst>
                  <a:gd name="T0" fmla="*/ 29 w 44"/>
                  <a:gd name="T1" fmla="*/ 2 h 79"/>
                  <a:gd name="T2" fmla="*/ 25 w 44"/>
                  <a:gd name="T3" fmla="*/ 4 h 79"/>
                  <a:gd name="T4" fmla="*/ 17 w 44"/>
                  <a:gd name="T5" fmla="*/ 0 h 79"/>
                  <a:gd name="T6" fmla="*/ 4 w 44"/>
                  <a:gd name="T7" fmla="*/ 2 h 79"/>
                  <a:gd name="T8" fmla="*/ 4 w 44"/>
                  <a:gd name="T9" fmla="*/ 20 h 79"/>
                  <a:gd name="T10" fmla="*/ 11 w 44"/>
                  <a:gd name="T11" fmla="*/ 22 h 79"/>
                  <a:gd name="T12" fmla="*/ 11 w 44"/>
                  <a:gd name="T13" fmla="*/ 15 h 79"/>
                  <a:gd name="T14" fmla="*/ 23 w 44"/>
                  <a:gd name="T15" fmla="*/ 28 h 79"/>
                  <a:gd name="T16" fmla="*/ 19 w 44"/>
                  <a:gd name="T17" fmla="*/ 39 h 79"/>
                  <a:gd name="T18" fmla="*/ 10 w 44"/>
                  <a:gd name="T19" fmla="*/ 46 h 79"/>
                  <a:gd name="T20" fmla="*/ 6 w 44"/>
                  <a:gd name="T21" fmla="*/ 62 h 79"/>
                  <a:gd name="T22" fmla="*/ 0 w 44"/>
                  <a:gd name="T23" fmla="*/ 70 h 79"/>
                  <a:gd name="T24" fmla="*/ 8 w 44"/>
                  <a:gd name="T25" fmla="*/ 79 h 79"/>
                  <a:gd name="T26" fmla="*/ 31 w 44"/>
                  <a:gd name="T27" fmla="*/ 64 h 79"/>
                  <a:gd name="T28" fmla="*/ 23 w 44"/>
                  <a:gd name="T29" fmla="*/ 53 h 79"/>
                  <a:gd name="T30" fmla="*/ 29 w 44"/>
                  <a:gd name="T31" fmla="*/ 35 h 79"/>
                  <a:gd name="T32" fmla="*/ 42 w 44"/>
                  <a:gd name="T33" fmla="*/ 26 h 79"/>
                  <a:gd name="T34" fmla="*/ 44 w 44"/>
                  <a:gd name="T35" fmla="*/ 13 h 79"/>
                  <a:gd name="T36" fmla="*/ 29 w 44"/>
                  <a:gd name="T37"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79">
                    <a:moveTo>
                      <a:pt x="29" y="2"/>
                    </a:moveTo>
                    <a:lnTo>
                      <a:pt x="25" y="4"/>
                    </a:lnTo>
                    <a:lnTo>
                      <a:pt x="17" y="0"/>
                    </a:lnTo>
                    <a:lnTo>
                      <a:pt x="4" y="2"/>
                    </a:lnTo>
                    <a:lnTo>
                      <a:pt x="4" y="20"/>
                    </a:lnTo>
                    <a:lnTo>
                      <a:pt x="11" y="22"/>
                    </a:lnTo>
                    <a:lnTo>
                      <a:pt x="11" y="15"/>
                    </a:lnTo>
                    <a:lnTo>
                      <a:pt x="23" y="28"/>
                    </a:lnTo>
                    <a:lnTo>
                      <a:pt x="19" y="39"/>
                    </a:lnTo>
                    <a:lnTo>
                      <a:pt x="10" y="46"/>
                    </a:lnTo>
                    <a:lnTo>
                      <a:pt x="6" y="62"/>
                    </a:lnTo>
                    <a:lnTo>
                      <a:pt x="0" y="70"/>
                    </a:lnTo>
                    <a:lnTo>
                      <a:pt x="8" y="79"/>
                    </a:lnTo>
                    <a:lnTo>
                      <a:pt x="31" y="64"/>
                    </a:lnTo>
                    <a:lnTo>
                      <a:pt x="23" y="53"/>
                    </a:lnTo>
                    <a:lnTo>
                      <a:pt x="29" y="35"/>
                    </a:lnTo>
                    <a:lnTo>
                      <a:pt x="42" y="26"/>
                    </a:lnTo>
                    <a:lnTo>
                      <a:pt x="44" y="13"/>
                    </a:lnTo>
                    <a:lnTo>
                      <a:pt x="29" y="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7" name="Freeform 475"/>
              <p:cNvSpPr>
                <a:spLocks/>
              </p:cNvSpPr>
              <p:nvPr/>
            </p:nvSpPr>
            <p:spPr bwMode="auto">
              <a:xfrm>
                <a:off x="3785" y="1413"/>
                <a:ext cx="29" cy="49"/>
              </a:xfrm>
              <a:custGeom>
                <a:avLst/>
                <a:gdLst>
                  <a:gd name="T0" fmla="*/ 17 w 27"/>
                  <a:gd name="T1" fmla="*/ 0 h 47"/>
                  <a:gd name="T2" fmla="*/ 27 w 27"/>
                  <a:gd name="T3" fmla="*/ 11 h 47"/>
                  <a:gd name="T4" fmla="*/ 21 w 27"/>
                  <a:gd name="T5" fmla="*/ 23 h 47"/>
                  <a:gd name="T6" fmla="*/ 19 w 27"/>
                  <a:gd name="T7" fmla="*/ 34 h 47"/>
                  <a:gd name="T8" fmla="*/ 6 w 27"/>
                  <a:gd name="T9" fmla="*/ 47 h 47"/>
                  <a:gd name="T10" fmla="*/ 0 w 27"/>
                  <a:gd name="T11" fmla="*/ 38 h 47"/>
                  <a:gd name="T12" fmla="*/ 6 w 27"/>
                  <a:gd name="T13" fmla="*/ 21 h 47"/>
                  <a:gd name="T14" fmla="*/ 17 w 27"/>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7">
                    <a:moveTo>
                      <a:pt x="17" y="0"/>
                    </a:moveTo>
                    <a:lnTo>
                      <a:pt x="27" y="11"/>
                    </a:lnTo>
                    <a:lnTo>
                      <a:pt x="21" y="23"/>
                    </a:lnTo>
                    <a:lnTo>
                      <a:pt x="19" y="34"/>
                    </a:lnTo>
                    <a:lnTo>
                      <a:pt x="6" y="47"/>
                    </a:lnTo>
                    <a:lnTo>
                      <a:pt x="0" y="38"/>
                    </a:lnTo>
                    <a:lnTo>
                      <a:pt x="6" y="21"/>
                    </a:lnTo>
                    <a:lnTo>
                      <a:pt x="17"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8" name="Freeform 476"/>
              <p:cNvSpPr>
                <a:spLocks/>
              </p:cNvSpPr>
              <p:nvPr/>
            </p:nvSpPr>
            <p:spPr bwMode="auto">
              <a:xfrm>
                <a:off x="3834" y="1369"/>
                <a:ext cx="29" cy="71"/>
              </a:xfrm>
              <a:custGeom>
                <a:avLst/>
                <a:gdLst>
                  <a:gd name="T0" fmla="*/ 13 w 28"/>
                  <a:gd name="T1" fmla="*/ 0 h 70"/>
                  <a:gd name="T2" fmla="*/ 26 w 28"/>
                  <a:gd name="T3" fmla="*/ 13 h 70"/>
                  <a:gd name="T4" fmla="*/ 24 w 28"/>
                  <a:gd name="T5" fmla="*/ 22 h 70"/>
                  <a:gd name="T6" fmla="*/ 19 w 28"/>
                  <a:gd name="T7" fmla="*/ 29 h 70"/>
                  <a:gd name="T8" fmla="*/ 26 w 28"/>
                  <a:gd name="T9" fmla="*/ 48 h 70"/>
                  <a:gd name="T10" fmla="*/ 28 w 28"/>
                  <a:gd name="T11" fmla="*/ 57 h 70"/>
                  <a:gd name="T12" fmla="*/ 21 w 28"/>
                  <a:gd name="T13" fmla="*/ 68 h 70"/>
                  <a:gd name="T14" fmla="*/ 9 w 28"/>
                  <a:gd name="T15" fmla="*/ 70 h 70"/>
                  <a:gd name="T16" fmla="*/ 0 w 28"/>
                  <a:gd name="T17" fmla="*/ 55 h 70"/>
                  <a:gd name="T18" fmla="*/ 6 w 28"/>
                  <a:gd name="T19" fmla="*/ 42 h 70"/>
                  <a:gd name="T20" fmla="*/ 13 w 28"/>
                  <a:gd name="T21" fmla="*/ 29 h 70"/>
                  <a:gd name="T22" fmla="*/ 13 w 28"/>
                  <a:gd name="T23" fmla="*/ 15 h 70"/>
                  <a:gd name="T24" fmla="*/ 13 w 28"/>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0">
                    <a:moveTo>
                      <a:pt x="13" y="0"/>
                    </a:moveTo>
                    <a:lnTo>
                      <a:pt x="26" y="13"/>
                    </a:lnTo>
                    <a:lnTo>
                      <a:pt x="24" y="22"/>
                    </a:lnTo>
                    <a:lnTo>
                      <a:pt x="19" y="29"/>
                    </a:lnTo>
                    <a:lnTo>
                      <a:pt x="26" y="48"/>
                    </a:lnTo>
                    <a:lnTo>
                      <a:pt x="28" y="57"/>
                    </a:lnTo>
                    <a:lnTo>
                      <a:pt x="21" y="68"/>
                    </a:lnTo>
                    <a:lnTo>
                      <a:pt x="9" y="70"/>
                    </a:lnTo>
                    <a:lnTo>
                      <a:pt x="0" y="55"/>
                    </a:lnTo>
                    <a:lnTo>
                      <a:pt x="6" y="42"/>
                    </a:lnTo>
                    <a:lnTo>
                      <a:pt x="13" y="29"/>
                    </a:lnTo>
                    <a:lnTo>
                      <a:pt x="13" y="15"/>
                    </a:lnTo>
                    <a:lnTo>
                      <a:pt x="13"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89" name="Freeform 477"/>
              <p:cNvSpPr>
                <a:spLocks/>
              </p:cNvSpPr>
              <p:nvPr/>
            </p:nvSpPr>
            <p:spPr bwMode="auto">
              <a:xfrm>
                <a:off x="3891" y="1259"/>
                <a:ext cx="154" cy="203"/>
              </a:xfrm>
              <a:custGeom>
                <a:avLst/>
                <a:gdLst>
                  <a:gd name="T0" fmla="*/ 44 w 152"/>
                  <a:gd name="T1" fmla="*/ 2 h 199"/>
                  <a:gd name="T2" fmla="*/ 28 w 152"/>
                  <a:gd name="T3" fmla="*/ 19 h 199"/>
                  <a:gd name="T4" fmla="*/ 20 w 152"/>
                  <a:gd name="T5" fmla="*/ 7 h 199"/>
                  <a:gd name="T6" fmla="*/ 19 w 152"/>
                  <a:gd name="T7" fmla="*/ 0 h 199"/>
                  <a:gd name="T8" fmla="*/ 6 w 152"/>
                  <a:gd name="T9" fmla="*/ 2 h 199"/>
                  <a:gd name="T10" fmla="*/ 0 w 152"/>
                  <a:gd name="T11" fmla="*/ 15 h 199"/>
                  <a:gd name="T12" fmla="*/ 11 w 152"/>
                  <a:gd name="T13" fmla="*/ 31 h 199"/>
                  <a:gd name="T14" fmla="*/ 13 w 152"/>
                  <a:gd name="T15" fmla="*/ 50 h 199"/>
                  <a:gd name="T16" fmla="*/ 28 w 152"/>
                  <a:gd name="T17" fmla="*/ 74 h 199"/>
                  <a:gd name="T18" fmla="*/ 41 w 152"/>
                  <a:gd name="T19" fmla="*/ 85 h 199"/>
                  <a:gd name="T20" fmla="*/ 39 w 152"/>
                  <a:gd name="T21" fmla="*/ 93 h 199"/>
                  <a:gd name="T22" fmla="*/ 41 w 152"/>
                  <a:gd name="T23" fmla="*/ 99 h 199"/>
                  <a:gd name="T24" fmla="*/ 41 w 152"/>
                  <a:gd name="T25" fmla="*/ 108 h 199"/>
                  <a:gd name="T26" fmla="*/ 59 w 152"/>
                  <a:gd name="T27" fmla="*/ 108 h 199"/>
                  <a:gd name="T28" fmla="*/ 74 w 152"/>
                  <a:gd name="T29" fmla="*/ 127 h 199"/>
                  <a:gd name="T30" fmla="*/ 72 w 152"/>
                  <a:gd name="T31" fmla="*/ 130 h 199"/>
                  <a:gd name="T32" fmla="*/ 67 w 152"/>
                  <a:gd name="T33" fmla="*/ 143 h 199"/>
                  <a:gd name="T34" fmla="*/ 57 w 152"/>
                  <a:gd name="T35" fmla="*/ 142 h 199"/>
                  <a:gd name="T36" fmla="*/ 44 w 152"/>
                  <a:gd name="T37" fmla="*/ 140 h 199"/>
                  <a:gd name="T38" fmla="*/ 35 w 152"/>
                  <a:gd name="T39" fmla="*/ 147 h 199"/>
                  <a:gd name="T40" fmla="*/ 39 w 152"/>
                  <a:gd name="T41" fmla="*/ 162 h 199"/>
                  <a:gd name="T42" fmla="*/ 48 w 152"/>
                  <a:gd name="T43" fmla="*/ 182 h 199"/>
                  <a:gd name="T44" fmla="*/ 72 w 152"/>
                  <a:gd name="T45" fmla="*/ 199 h 199"/>
                  <a:gd name="T46" fmla="*/ 93 w 152"/>
                  <a:gd name="T47" fmla="*/ 184 h 199"/>
                  <a:gd name="T48" fmla="*/ 91 w 152"/>
                  <a:gd name="T49" fmla="*/ 169 h 199"/>
                  <a:gd name="T50" fmla="*/ 89 w 152"/>
                  <a:gd name="T51" fmla="*/ 158 h 199"/>
                  <a:gd name="T52" fmla="*/ 91 w 152"/>
                  <a:gd name="T53" fmla="*/ 145 h 199"/>
                  <a:gd name="T54" fmla="*/ 100 w 152"/>
                  <a:gd name="T55" fmla="*/ 147 h 199"/>
                  <a:gd name="T56" fmla="*/ 108 w 152"/>
                  <a:gd name="T57" fmla="*/ 136 h 199"/>
                  <a:gd name="T58" fmla="*/ 119 w 152"/>
                  <a:gd name="T59" fmla="*/ 134 h 199"/>
                  <a:gd name="T60" fmla="*/ 130 w 152"/>
                  <a:gd name="T61" fmla="*/ 119 h 199"/>
                  <a:gd name="T62" fmla="*/ 115 w 152"/>
                  <a:gd name="T63" fmla="*/ 105 h 199"/>
                  <a:gd name="T64" fmla="*/ 104 w 152"/>
                  <a:gd name="T65" fmla="*/ 116 h 199"/>
                  <a:gd name="T66" fmla="*/ 100 w 152"/>
                  <a:gd name="T67" fmla="*/ 119 h 199"/>
                  <a:gd name="T68" fmla="*/ 89 w 152"/>
                  <a:gd name="T69" fmla="*/ 106 h 199"/>
                  <a:gd name="T70" fmla="*/ 96 w 152"/>
                  <a:gd name="T71" fmla="*/ 97 h 199"/>
                  <a:gd name="T72" fmla="*/ 104 w 152"/>
                  <a:gd name="T73" fmla="*/ 105 h 199"/>
                  <a:gd name="T74" fmla="*/ 113 w 152"/>
                  <a:gd name="T75" fmla="*/ 93 h 199"/>
                  <a:gd name="T76" fmla="*/ 126 w 152"/>
                  <a:gd name="T77" fmla="*/ 92 h 199"/>
                  <a:gd name="T78" fmla="*/ 132 w 152"/>
                  <a:gd name="T79" fmla="*/ 108 h 199"/>
                  <a:gd name="T80" fmla="*/ 143 w 152"/>
                  <a:gd name="T81" fmla="*/ 112 h 199"/>
                  <a:gd name="T82" fmla="*/ 152 w 152"/>
                  <a:gd name="T83" fmla="*/ 101 h 199"/>
                  <a:gd name="T84" fmla="*/ 130 w 152"/>
                  <a:gd name="T85" fmla="*/ 78 h 199"/>
                  <a:gd name="T86" fmla="*/ 133 w 152"/>
                  <a:gd name="T87" fmla="*/ 69 h 199"/>
                  <a:gd name="T88" fmla="*/ 126 w 152"/>
                  <a:gd name="T89" fmla="*/ 67 h 199"/>
                  <a:gd name="T90" fmla="*/ 133 w 152"/>
                  <a:gd name="T91" fmla="*/ 50 h 199"/>
                  <a:gd name="T92" fmla="*/ 122 w 152"/>
                  <a:gd name="T93" fmla="*/ 52 h 199"/>
                  <a:gd name="T94" fmla="*/ 98 w 152"/>
                  <a:gd name="T95" fmla="*/ 61 h 199"/>
                  <a:gd name="T96" fmla="*/ 98 w 152"/>
                  <a:gd name="T97" fmla="*/ 81 h 199"/>
                  <a:gd name="T98" fmla="*/ 89 w 152"/>
                  <a:gd name="T99" fmla="*/ 76 h 199"/>
                  <a:gd name="T100" fmla="*/ 80 w 152"/>
                  <a:gd name="T101" fmla="*/ 83 h 199"/>
                  <a:gd name="T102" fmla="*/ 61 w 152"/>
                  <a:gd name="T103" fmla="*/ 80 h 199"/>
                  <a:gd name="T104" fmla="*/ 57 w 152"/>
                  <a:gd name="T105" fmla="*/ 67 h 199"/>
                  <a:gd name="T106" fmla="*/ 52 w 152"/>
                  <a:gd name="T107" fmla="*/ 52 h 199"/>
                  <a:gd name="T108" fmla="*/ 65 w 152"/>
                  <a:gd name="T109" fmla="*/ 63 h 199"/>
                  <a:gd name="T110" fmla="*/ 80 w 152"/>
                  <a:gd name="T111" fmla="*/ 56 h 199"/>
                  <a:gd name="T112" fmla="*/ 82 w 152"/>
                  <a:gd name="T113" fmla="*/ 52 h 199"/>
                  <a:gd name="T114" fmla="*/ 80 w 152"/>
                  <a:gd name="T115" fmla="*/ 41 h 199"/>
                  <a:gd name="T116" fmla="*/ 63 w 152"/>
                  <a:gd name="T117" fmla="*/ 31 h 199"/>
                  <a:gd name="T118" fmla="*/ 54 w 152"/>
                  <a:gd name="T119" fmla="*/ 28 h 199"/>
                  <a:gd name="T120" fmla="*/ 57 w 152"/>
                  <a:gd name="T121" fmla="*/ 17 h 199"/>
                  <a:gd name="T122" fmla="*/ 57 w 152"/>
                  <a:gd name="T123" fmla="*/ 6 h 199"/>
                  <a:gd name="T124" fmla="*/ 44 w 152"/>
                  <a:gd name="T125" fmla="*/ 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99">
                    <a:moveTo>
                      <a:pt x="44" y="2"/>
                    </a:moveTo>
                    <a:lnTo>
                      <a:pt x="28" y="19"/>
                    </a:lnTo>
                    <a:lnTo>
                      <a:pt x="20" y="7"/>
                    </a:lnTo>
                    <a:lnTo>
                      <a:pt x="19" y="0"/>
                    </a:lnTo>
                    <a:lnTo>
                      <a:pt x="6" y="2"/>
                    </a:lnTo>
                    <a:lnTo>
                      <a:pt x="0" y="15"/>
                    </a:lnTo>
                    <a:lnTo>
                      <a:pt x="11" y="31"/>
                    </a:lnTo>
                    <a:lnTo>
                      <a:pt x="13" y="50"/>
                    </a:lnTo>
                    <a:lnTo>
                      <a:pt x="28" y="74"/>
                    </a:lnTo>
                    <a:lnTo>
                      <a:pt x="41" y="85"/>
                    </a:lnTo>
                    <a:lnTo>
                      <a:pt x="39" y="93"/>
                    </a:lnTo>
                    <a:lnTo>
                      <a:pt x="41" y="99"/>
                    </a:lnTo>
                    <a:lnTo>
                      <a:pt x="41" y="108"/>
                    </a:lnTo>
                    <a:lnTo>
                      <a:pt x="59" y="108"/>
                    </a:lnTo>
                    <a:lnTo>
                      <a:pt x="74" y="127"/>
                    </a:lnTo>
                    <a:lnTo>
                      <a:pt x="72" y="130"/>
                    </a:lnTo>
                    <a:lnTo>
                      <a:pt x="67" y="143"/>
                    </a:lnTo>
                    <a:lnTo>
                      <a:pt x="57" y="142"/>
                    </a:lnTo>
                    <a:lnTo>
                      <a:pt x="44" y="140"/>
                    </a:lnTo>
                    <a:lnTo>
                      <a:pt x="35" y="147"/>
                    </a:lnTo>
                    <a:lnTo>
                      <a:pt x="39" y="162"/>
                    </a:lnTo>
                    <a:lnTo>
                      <a:pt x="48" y="182"/>
                    </a:lnTo>
                    <a:lnTo>
                      <a:pt x="72" y="199"/>
                    </a:lnTo>
                    <a:lnTo>
                      <a:pt x="93" y="184"/>
                    </a:lnTo>
                    <a:lnTo>
                      <a:pt x="91" y="169"/>
                    </a:lnTo>
                    <a:lnTo>
                      <a:pt x="89" y="158"/>
                    </a:lnTo>
                    <a:lnTo>
                      <a:pt x="91" y="145"/>
                    </a:lnTo>
                    <a:lnTo>
                      <a:pt x="100" y="147"/>
                    </a:lnTo>
                    <a:lnTo>
                      <a:pt x="108" y="136"/>
                    </a:lnTo>
                    <a:lnTo>
                      <a:pt x="119" y="134"/>
                    </a:lnTo>
                    <a:lnTo>
                      <a:pt x="130" y="119"/>
                    </a:lnTo>
                    <a:lnTo>
                      <a:pt x="115" y="105"/>
                    </a:lnTo>
                    <a:lnTo>
                      <a:pt x="104" y="116"/>
                    </a:lnTo>
                    <a:lnTo>
                      <a:pt x="100" y="119"/>
                    </a:lnTo>
                    <a:lnTo>
                      <a:pt x="89" y="106"/>
                    </a:lnTo>
                    <a:lnTo>
                      <a:pt x="96" y="97"/>
                    </a:lnTo>
                    <a:lnTo>
                      <a:pt x="104" y="105"/>
                    </a:lnTo>
                    <a:lnTo>
                      <a:pt x="113" y="93"/>
                    </a:lnTo>
                    <a:lnTo>
                      <a:pt x="126" y="92"/>
                    </a:lnTo>
                    <a:lnTo>
                      <a:pt x="132" y="108"/>
                    </a:lnTo>
                    <a:lnTo>
                      <a:pt x="143" y="112"/>
                    </a:lnTo>
                    <a:lnTo>
                      <a:pt x="152" y="101"/>
                    </a:lnTo>
                    <a:lnTo>
                      <a:pt x="130" y="78"/>
                    </a:lnTo>
                    <a:lnTo>
                      <a:pt x="133" y="69"/>
                    </a:lnTo>
                    <a:lnTo>
                      <a:pt x="126" y="67"/>
                    </a:lnTo>
                    <a:lnTo>
                      <a:pt x="133" y="50"/>
                    </a:lnTo>
                    <a:lnTo>
                      <a:pt x="122" y="52"/>
                    </a:lnTo>
                    <a:lnTo>
                      <a:pt x="98" y="61"/>
                    </a:lnTo>
                    <a:lnTo>
                      <a:pt x="98" y="81"/>
                    </a:lnTo>
                    <a:lnTo>
                      <a:pt x="89" y="76"/>
                    </a:lnTo>
                    <a:lnTo>
                      <a:pt x="80" y="83"/>
                    </a:lnTo>
                    <a:lnTo>
                      <a:pt x="61" y="80"/>
                    </a:lnTo>
                    <a:lnTo>
                      <a:pt x="57" y="67"/>
                    </a:lnTo>
                    <a:lnTo>
                      <a:pt x="52" y="52"/>
                    </a:lnTo>
                    <a:lnTo>
                      <a:pt x="65" y="63"/>
                    </a:lnTo>
                    <a:lnTo>
                      <a:pt x="80" y="56"/>
                    </a:lnTo>
                    <a:lnTo>
                      <a:pt x="82" y="52"/>
                    </a:lnTo>
                    <a:lnTo>
                      <a:pt x="80" y="41"/>
                    </a:lnTo>
                    <a:lnTo>
                      <a:pt x="63" y="31"/>
                    </a:lnTo>
                    <a:lnTo>
                      <a:pt x="54" y="28"/>
                    </a:lnTo>
                    <a:lnTo>
                      <a:pt x="57" y="17"/>
                    </a:lnTo>
                    <a:lnTo>
                      <a:pt x="57" y="6"/>
                    </a:lnTo>
                    <a:lnTo>
                      <a:pt x="44" y="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90" name="Freeform 478"/>
              <p:cNvSpPr>
                <a:spLocks/>
              </p:cNvSpPr>
              <p:nvPr/>
            </p:nvSpPr>
            <p:spPr bwMode="auto">
              <a:xfrm>
                <a:off x="3870" y="1367"/>
                <a:ext cx="51" cy="50"/>
              </a:xfrm>
              <a:custGeom>
                <a:avLst/>
                <a:gdLst>
                  <a:gd name="T0" fmla="*/ 44 w 49"/>
                  <a:gd name="T1" fmla="*/ 0 h 50"/>
                  <a:gd name="T2" fmla="*/ 49 w 49"/>
                  <a:gd name="T3" fmla="*/ 6 h 50"/>
                  <a:gd name="T4" fmla="*/ 49 w 49"/>
                  <a:gd name="T5" fmla="*/ 17 h 50"/>
                  <a:gd name="T6" fmla="*/ 47 w 49"/>
                  <a:gd name="T7" fmla="*/ 26 h 50"/>
                  <a:gd name="T8" fmla="*/ 24 w 49"/>
                  <a:gd name="T9" fmla="*/ 43 h 50"/>
                  <a:gd name="T10" fmla="*/ 11 w 49"/>
                  <a:gd name="T11" fmla="*/ 50 h 50"/>
                  <a:gd name="T12" fmla="*/ 0 w 49"/>
                  <a:gd name="T13" fmla="*/ 39 h 50"/>
                  <a:gd name="T14" fmla="*/ 9 w 49"/>
                  <a:gd name="T15" fmla="*/ 24 h 50"/>
                  <a:gd name="T16" fmla="*/ 20 w 49"/>
                  <a:gd name="T17" fmla="*/ 17 h 50"/>
                  <a:gd name="T18" fmla="*/ 44 w 4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44" y="0"/>
                    </a:moveTo>
                    <a:lnTo>
                      <a:pt x="49" y="6"/>
                    </a:lnTo>
                    <a:lnTo>
                      <a:pt x="49" y="17"/>
                    </a:lnTo>
                    <a:lnTo>
                      <a:pt x="47" y="26"/>
                    </a:lnTo>
                    <a:lnTo>
                      <a:pt x="24" y="43"/>
                    </a:lnTo>
                    <a:lnTo>
                      <a:pt x="11" y="50"/>
                    </a:lnTo>
                    <a:lnTo>
                      <a:pt x="0" y="39"/>
                    </a:lnTo>
                    <a:lnTo>
                      <a:pt x="9" y="24"/>
                    </a:lnTo>
                    <a:lnTo>
                      <a:pt x="20" y="17"/>
                    </a:lnTo>
                    <a:lnTo>
                      <a:pt x="44"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grpSp>
        <p:sp>
          <p:nvSpPr>
            <p:cNvPr id="66" name="Freeform 479"/>
            <p:cNvSpPr>
              <a:spLocks/>
            </p:cNvSpPr>
            <p:nvPr/>
          </p:nvSpPr>
          <p:spPr bwMode="auto">
            <a:xfrm>
              <a:off x="3686" y="3059"/>
              <a:ext cx="166" cy="108"/>
            </a:xfrm>
            <a:custGeom>
              <a:avLst/>
              <a:gdLst>
                <a:gd name="T0" fmla="*/ 6 w 162"/>
                <a:gd name="T1" fmla="*/ 33 h 110"/>
                <a:gd name="T2" fmla="*/ 34 w 162"/>
                <a:gd name="T3" fmla="*/ 14 h 110"/>
                <a:gd name="T4" fmla="*/ 52 w 162"/>
                <a:gd name="T5" fmla="*/ 11 h 110"/>
                <a:gd name="T6" fmla="*/ 70 w 162"/>
                <a:gd name="T7" fmla="*/ 6 h 110"/>
                <a:gd name="T8" fmla="*/ 85 w 162"/>
                <a:gd name="T9" fmla="*/ 6 h 110"/>
                <a:gd name="T10" fmla="*/ 100 w 162"/>
                <a:gd name="T11" fmla="*/ 0 h 110"/>
                <a:gd name="T12" fmla="*/ 126 w 162"/>
                <a:gd name="T13" fmla="*/ 6 h 110"/>
                <a:gd name="T14" fmla="*/ 141 w 162"/>
                <a:gd name="T15" fmla="*/ 5 h 110"/>
                <a:gd name="T16" fmla="*/ 156 w 162"/>
                <a:gd name="T17" fmla="*/ 20 h 110"/>
                <a:gd name="T18" fmla="*/ 154 w 162"/>
                <a:gd name="T19" fmla="*/ 63 h 110"/>
                <a:gd name="T20" fmla="*/ 162 w 162"/>
                <a:gd name="T21" fmla="*/ 68 h 110"/>
                <a:gd name="T22" fmla="*/ 151 w 162"/>
                <a:gd name="T23" fmla="*/ 86 h 110"/>
                <a:gd name="T24" fmla="*/ 115 w 162"/>
                <a:gd name="T25" fmla="*/ 93 h 110"/>
                <a:gd name="T26" fmla="*/ 100 w 162"/>
                <a:gd name="T27" fmla="*/ 89 h 110"/>
                <a:gd name="T28" fmla="*/ 90 w 162"/>
                <a:gd name="T29" fmla="*/ 110 h 110"/>
                <a:gd name="T30" fmla="*/ 63 w 162"/>
                <a:gd name="T31" fmla="*/ 108 h 110"/>
                <a:gd name="T32" fmla="*/ 52 w 162"/>
                <a:gd name="T33" fmla="*/ 105 h 110"/>
                <a:gd name="T34" fmla="*/ 36 w 162"/>
                <a:gd name="T35" fmla="*/ 104 h 110"/>
                <a:gd name="T36" fmla="*/ 27 w 162"/>
                <a:gd name="T37" fmla="*/ 95 h 110"/>
                <a:gd name="T38" fmla="*/ 21 w 162"/>
                <a:gd name="T39" fmla="*/ 98 h 110"/>
                <a:gd name="T40" fmla="*/ 9 w 162"/>
                <a:gd name="T41" fmla="*/ 89 h 110"/>
                <a:gd name="T42" fmla="*/ 0 w 162"/>
                <a:gd name="T43" fmla="*/ 63 h 110"/>
                <a:gd name="T44" fmla="*/ 7 w 162"/>
                <a:gd name="T45" fmla="*/ 50 h 110"/>
                <a:gd name="T46" fmla="*/ 6 w 162"/>
                <a:gd name="T47" fmla="*/ 3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2" h="110">
                  <a:moveTo>
                    <a:pt x="6" y="33"/>
                  </a:moveTo>
                  <a:lnTo>
                    <a:pt x="34" y="14"/>
                  </a:lnTo>
                  <a:lnTo>
                    <a:pt x="52" y="11"/>
                  </a:lnTo>
                  <a:lnTo>
                    <a:pt x="70" y="6"/>
                  </a:lnTo>
                  <a:lnTo>
                    <a:pt x="85" y="6"/>
                  </a:lnTo>
                  <a:lnTo>
                    <a:pt x="100" y="0"/>
                  </a:lnTo>
                  <a:lnTo>
                    <a:pt x="126" y="6"/>
                  </a:lnTo>
                  <a:lnTo>
                    <a:pt x="141" y="5"/>
                  </a:lnTo>
                  <a:lnTo>
                    <a:pt x="156" y="20"/>
                  </a:lnTo>
                  <a:lnTo>
                    <a:pt x="154" y="63"/>
                  </a:lnTo>
                  <a:lnTo>
                    <a:pt x="162" y="68"/>
                  </a:lnTo>
                  <a:lnTo>
                    <a:pt x="151" y="86"/>
                  </a:lnTo>
                  <a:lnTo>
                    <a:pt x="115" y="93"/>
                  </a:lnTo>
                  <a:lnTo>
                    <a:pt x="100" y="89"/>
                  </a:lnTo>
                  <a:lnTo>
                    <a:pt x="90" y="110"/>
                  </a:lnTo>
                  <a:lnTo>
                    <a:pt x="63" y="108"/>
                  </a:lnTo>
                  <a:lnTo>
                    <a:pt x="52" y="105"/>
                  </a:lnTo>
                  <a:lnTo>
                    <a:pt x="36" y="104"/>
                  </a:lnTo>
                  <a:lnTo>
                    <a:pt x="27" y="95"/>
                  </a:lnTo>
                  <a:lnTo>
                    <a:pt x="21" y="98"/>
                  </a:lnTo>
                  <a:lnTo>
                    <a:pt x="9" y="89"/>
                  </a:lnTo>
                  <a:lnTo>
                    <a:pt x="0" y="63"/>
                  </a:lnTo>
                  <a:lnTo>
                    <a:pt x="7" y="50"/>
                  </a:lnTo>
                  <a:lnTo>
                    <a:pt x="6" y="33"/>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67" name="Freeform 481"/>
            <p:cNvSpPr>
              <a:spLocks/>
            </p:cNvSpPr>
            <p:nvPr/>
          </p:nvSpPr>
          <p:spPr bwMode="auto">
            <a:xfrm>
              <a:off x="4055" y="2523"/>
              <a:ext cx="236" cy="235"/>
            </a:xfrm>
            <a:custGeom>
              <a:avLst/>
              <a:gdLst>
                <a:gd name="T0" fmla="*/ 121 w 226"/>
                <a:gd name="T1" fmla="*/ 249 h 249"/>
                <a:gd name="T2" fmla="*/ 108 w 226"/>
                <a:gd name="T3" fmla="*/ 235 h 249"/>
                <a:gd name="T4" fmla="*/ 105 w 226"/>
                <a:gd name="T5" fmla="*/ 202 h 249"/>
                <a:gd name="T6" fmla="*/ 91 w 226"/>
                <a:gd name="T7" fmla="*/ 178 h 249"/>
                <a:gd name="T8" fmla="*/ 90 w 226"/>
                <a:gd name="T9" fmla="*/ 157 h 249"/>
                <a:gd name="T10" fmla="*/ 94 w 226"/>
                <a:gd name="T11" fmla="*/ 142 h 249"/>
                <a:gd name="T12" fmla="*/ 82 w 226"/>
                <a:gd name="T13" fmla="*/ 120 h 249"/>
                <a:gd name="T14" fmla="*/ 67 w 226"/>
                <a:gd name="T15" fmla="*/ 103 h 249"/>
                <a:gd name="T16" fmla="*/ 61 w 226"/>
                <a:gd name="T17" fmla="*/ 85 h 249"/>
                <a:gd name="T18" fmla="*/ 58 w 226"/>
                <a:gd name="T19" fmla="*/ 73 h 249"/>
                <a:gd name="T20" fmla="*/ 40 w 226"/>
                <a:gd name="T21" fmla="*/ 61 h 249"/>
                <a:gd name="T22" fmla="*/ 30 w 226"/>
                <a:gd name="T23" fmla="*/ 45 h 249"/>
                <a:gd name="T24" fmla="*/ 19 w 226"/>
                <a:gd name="T25" fmla="*/ 27 h 249"/>
                <a:gd name="T26" fmla="*/ 0 w 226"/>
                <a:gd name="T27" fmla="*/ 15 h 249"/>
                <a:gd name="T28" fmla="*/ 30 w 226"/>
                <a:gd name="T29" fmla="*/ 0 h 249"/>
                <a:gd name="T30" fmla="*/ 54 w 226"/>
                <a:gd name="T31" fmla="*/ 3 h 249"/>
                <a:gd name="T32" fmla="*/ 69 w 226"/>
                <a:gd name="T33" fmla="*/ 6 h 249"/>
                <a:gd name="T34" fmla="*/ 108 w 226"/>
                <a:gd name="T35" fmla="*/ 34 h 249"/>
                <a:gd name="T36" fmla="*/ 117 w 226"/>
                <a:gd name="T37" fmla="*/ 39 h 249"/>
                <a:gd name="T38" fmla="*/ 145 w 226"/>
                <a:gd name="T39" fmla="*/ 45 h 249"/>
                <a:gd name="T40" fmla="*/ 162 w 226"/>
                <a:gd name="T41" fmla="*/ 69 h 249"/>
                <a:gd name="T42" fmla="*/ 154 w 226"/>
                <a:gd name="T43" fmla="*/ 87 h 249"/>
                <a:gd name="T44" fmla="*/ 165 w 226"/>
                <a:gd name="T45" fmla="*/ 111 h 249"/>
                <a:gd name="T46" fmla="*/ 193 w 226"/>
                <a:gd name="T47" fmla="*/ 129 h 249"/>
                <a:gd name="T48" fmla="*/ 203 w 226"/>
                <a:gd name="T49" fmla="*/ 144 h 249"/>
                <a:gd name="T50" fmla="*/ 220 w 226"/>
                <a:gd name="T51" fmla="*/ 150 h 249"/>
                <a:gd name="T52" fmla="*/ 226 w 226"/>
                <a:gd name="T53" fmla="*/ 151 h 249"/>
                <a:gd name="T54" fmla="*/ 215 w 226"/>
                <a:gd name="T55" fmla="*/ 159 h 249"/>
                <a:gd name="T56" fmla="*/ 187 w 226"/>
                <a:gd name="T57" fmla="*/ 159 h 249"/>
                <a:gd name="T58" fmla="*/ 162 w 226"/>
                <a:gd name="T59" fmla="*/ 157 h 249"/>
                <a:gd name="T60" fmla="*/ 151 w 226"/>
                <a:gd name="T61" fmla="*/ 162 h 249"/>
                <a:gd name="T62" fmla="*/ 154 w 226"/>
                <a:gd name="T63" fmla="*/ 189 h 249"/>
                <a:gd name="T64" fmla="*/ 150 w 226"/>
                <a:gd name="T65" fmla="*/ 210 h 249"/>
                <a:gd name="T66" fmla="*/ 126 w 226"/>
                <a:gd name="T67" fmla="*/ 235 h 249"/>
                <a:gd name="T68" fmla="*/ 121 w 226"/>
                <a:gd name="T69"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6" h="249">
                  <a:moveTo>
                    <a:pt x="121" y="249"/>
                  </a:moveTo>
                  <a:lnTo>
                    <a:pt x="108" y="235"/>
                  </a:lnTo>
                  <a:lnTo>
                    <a:pt x="105" y="202"/>
                  </a:lnTo>
                  <a:lnTo>
                    <a:pt x="91" y="178"/>
                  </a:lnTo>
                  <a:lnTo>
                    <a:pt x="90" y="157"/>
                  </a:lnTo>
                  <a:lnTo>
                    <a:pt x="94" y="142"/>
                  </a:lnTo>
                  <a:lnTo>
                    <a:pt x="82" y="120"/>
                  </a:lnTo>
                  <a:lnTo>
                    <a:pt x="67" y="103"/>
                  </a:lnTo>
                  <a:lnTo>
                    <a:pt x="61" y="85"/>
                  </a:lnTo>
                  <a:lnTo>
                    <a:pt x="58" y="73"/>
                  </a:lnTo>
                  <a:lnTo>
                    <a:pt x="40" y="61"/>
                  </a:lnTo>
                  <a:lnTo>
                    <a:pt x="30" y="45"/>
                  </a:lnTo>
                  <a:lnTo>
                    <a:pt x="19" y="27"/>
                  </a:lnTo>
                  <a:lnTo>
                    <a:pt x="0" y="15"/>
                  </a:lnTo>
                  <a:lnTo>
                    <a:pt x="30" y="0"/>
                  </a:lnTo>
                  <a:lnTo>
                    <a:pt x="54" y="3"/>
                  </a:lnTo>
                  <a:lnTo>
                    <a:pt x="69" y="6"/>
                  </a:lnTo>
                  <a:lnTo>
                    <a:pt x="108" y="34"/>
                  </a:lnTo>
                  <a:lnTo>
                    <a:pt x="117" y="39"/>
                  </a:lnTo>
                  <a:lnTo>
                    <a:pt x="145" y="45"/>
                  </a:lnTo>
                  <a:lnTo>
                    <a:pt x="162" y="69"/>
                  </a:lnTo>
                  <a:lnTo>
                    <a:pt x="154" y="87"/>
                  </a:lnTo>
                  <a:lnTo>
                    <a:pt x="165" y="111"/>
                  </a:lnTo>
                  <a:lnTo>
                    <a:pt x="193" y="129"/>
                  </a:lnTo>
                  <a:lnTo>
                    <a:pt x="203" y="144"/>
                  </a:lnTo>
                  <a:lnTo>
                    <a:pt x="220" y="150"/>
                  </a:lnTo>
                  <a:lnTo>
                    <a:pt x="226" y="151"/>
                  </a:lnTo>
                  <a:lnTo>
                    <a:pt x="215" y="159"/>
                  </a:lnTo>
                  <a:lnTo>
                    <a:pt x="187" y="159"/>
                  </a:lnTo>
                  <a:lnTo>
                    <a:pt x="162" y="157"/>
                  </a:lnTo>
                  <a:lnTo>
                    <a:pt x="151" y="162"/>
                  </a:lnTo>
                  <a:lnTo>
                    <a:pt x="154" y="189"/>
                  </a:lnTo>
                  <a:lnTo>
                    <a:pt x="150" y="210"/>
                  </a:lnTo>
                  <a:lnTo>
                    <a:pt x="126" y="235"/>
                  </a:lnTo>
                  <a:lnTo>
                    <a:pt x="121" y="249"/>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68" name="Freeform 482"/>
            <p:cNvSpPr>
              <a:spLocks/>
            </p:cNvSpPr>
            <p:nvPr/>
          </p:nvSpPr>
          <p:spPr bwMode="auto">
            <a:xfrm>
              <a:off x="3688" y="1865"/>
              <a:ext cx="299" cy="215"/>
            </a:xfrm>
            <a:custGeom>
              <a:avLst/>
              <a:gdLst>
                <a:gd name="T0" fmla="*/ 2 w 287"/>
                <a:gd name="T1" fmla="*/ 24 h 225"/>
                <a:gd name="T2" fmla="*/ 0 w 287"/>
                <a:gd name="T3" fmla="*/ 31 h 225"/>
                <a:gd name="T4" fmla="*/ 4 w 287"/>
                <a:gd name="T5" fmla="*/ 58 h 225"/>
                <a:gd name="T6" fmla="*/ 17 w 287"/>
                <a:gd name="T7" fmla="*/ 97 h 225"/>
                <a:gd name="T8" fmla="*/ 28 w 287"/>
                <a:gd name="T9" fmla="*/ 108 h 225"/>
                <a:gd name="T10" fmla="*/ 54 w 287"/>
                <a:gd name="T11" fmla="*/ 118 h 225"/>
                <a:gd name="T12" fmla="*/ 65 w 287"/>
                <a:gd name="T13" fmla="*/ 121 h 225"/>
                <a:gd name="T14" fmla="*/ 67 w 287"/>
                <a:gd name="T15" fmla="*/ 134 h 225"/>
                <a:gd name="T16" fmla="*/ 67 w 287"/>
                <a:gd name="T17" fmla="*/ 156 h 225"/>
                <a:gd name="T18" fmla="*/ 93 w 287"/>
                <a:gd name="T19" fmla="*/ 182 h 225"/>
                <a:gd name="T20" fmla="*/ 109 w 287"/>
                <a:gd name="T21" fmla="*/ 190 h 225"/>
                <a:gd name="T22" fmla="*/ 117 w 287"/>
                <a:gd name="T23" fmla="*/ 194 h 225"/>
                <a:gd name="T24" fmla="*/ 139 w 287"/>
                <a:gd name="T25" fmla="*/ 221 h 225"/>
                <a:gd name="T26" fmla="*/ 146 w 287"/>
                <a:gd name="T27" fmla="*/ 216 h 225"/>
                <a:gd name="T28" fmla="*/ 161 w 287"/>
                <a:gd name="T29" fmla="*/ 214 h 225"/>
                <a:gd name="T30" fmla="*/ 178 w 287"/>
                <a:gd name="T31" fmla="*/ 225 h 225"/>
                <a:gd name="T32" fmla="*/ 191 w 287"/>
                <a:gd name="T33" fmla="*/ 218 h 225"/>
                <a:gd name="T34" fmla="*/ 209 w 287"/>
                <a:gd name="T35" fmla="*/ 197 h 225"/>
                <a:gd name="T36" fmla="*/ 222 w 287"/>
                <a:gd name="T37" fmla="*/ 190 h 225"/>
                <a:gd name="T38" fmla="*/ 235 w 287"/>
                <a:gd name="T39" fmla="*/ 195 h 225"/>
                <a:gd name="T40" fmla="*/ 243 w 287"/>
                <a:gd name="T41" fmla="*/ 192 h 225"/>
                <a:gd name="T42" fmla="*/ 244 w 287"/>
                <a:gd name="T43" fmla="*/ 184 h 225"/>
                <a:gd name="T44" fmla="*/ 246 w 287"/>
                <a:gd name="T45" fmla="*/ 142 h 225"/>
                <a:gd name="T46" fmla="*/ 254 w 287"/>
                <a:gd name="T47" fmla="*/ 129 h 225"/>
                <a:gd name="T48" fmla="*/ 254 w 287"/>
                <a:gd name="T49" fmla="*/ 110 h 225"/>
                <a:gd name="T50" fmla="*/ 257 w 287"/>
                <a:gd name="T51" fmla="*/ 103 h 225"/>
                <a:gd name="T52" fmla="*/ 272 w 287"/>
                <a:gd name="T53" fmla="*/ 92 h 225"/>
                <a:gd name="T54" fmla="*/ 287 w 287"/>
                <a:gd name="T55" fmla="*/ 90 h 225"/>
                <a:gd name="T56" fmla="*/ 287 w 287"/>
                <a:gd name="T57" fmla="*/ 69 h 225"/>
                <a:gd name="T58" fmla="*/ 283 w 287"/>
                <a:gd name="T59" fmla="*/ 53 h 225"/>
                <a:gd name="T60" fmla="*/ 272 w 287"/>
                <a:gd name="T61" fmla="*/ 47 h 225"/>
                <a:gd name="T62" fmla="*/ 267 w 287"/>
                <a:gd name="T63" fmla="*/ 49 h 225"/>
                <a:gd name="T64" fmla="*/ 248 w 287"/>
                <a:gd name="T65" fmla="*/ 31 h 225"/>
                <a:gd name="T66" fmla="*/ 237 w 287"/>
                <a:gd name="T67" fmla="*/ 19 h 225"/>
                <a:gd name="T68" fmla="*/ 224 w 287"/>
                <a:gd name="T69" fmla="*/ 19 h 225"/>
                <a:gd name="T70" fmla="*/ 198 w 287"/>
                <a:gd name="T71" fmla="*/ 19 h 225"/>
                <a:gd name="T72" fmla="*/ 193 w 287"/>
                <a:gd name="T73" fmla="*/ 15 h 225"/>
                <a:gd name="T74" fmla="*/ 187 w 287"/>
                <a:gd name="T75" fmla="*/ 2 h 225"/>
                <a:gd name="T76" fmla="*/ 180 w 287"/>
                <a:gd name="T77" fmla="*/ 0 h 225"/>
                <a:gd name="T78" fmla="*/ 157 w 287"/>
                <a:gd name="T79" fmla="*/ 0 h 225"/>
                <a:gd name="T80" fmla="*/ 148 w 287"/>
                <a:gd name="T81" fmla="*/ 11 h 225"/>
                <a:gd name="T82" fmla="*/ 139 w 287"/>
                <a:gd name="T83" fmla="*/ 9 h 225"/>
                <a:gd name="T84" fmla="*/ 124 w 287"/>
                <a:gd name="T85" fmla="*/ 6 h 225"/>
                <a:gd name="T86" fmla="*/ 117 w 287"/>
                <a:gd name="T87" fmla="*/ 4 h 225"/>
                <a:gd name="T88" fmla="*/ 106 w 287"/>
                <a:gd name="T89" fmla="*/ 7 h 225"/>
                <a:gd name="T90" fmla="*/ 98 w 287"/>
                <a:gd name="T91" fmla="*/ 13 h 225"/>
                <a:gd name="T92" fmla="*/ 83 w 287"/>
                <a:gd name="T93" fmla="*/ 7 h 225"/>
                <a:gd name="T94" fmla="*/ 52 w 287"/>
                <a:gd name="T95" fmla="*/ 2 h 225"/>
                <a:gd name="T96" fmla="*/ 44 w 287"/>
                <a:gd name="T97" fmla="*/ 0 h 225"/>
                <a:gd name="T98" fmla="*/ 35 w 287"/>
                <a:gd name="T99" fmla="*/ 7 h 225"/>
                <a:gd name="T100" fmla="*/ 20 w 287"/>
                <a:gd name="T101" fmla="*/ 17 h 225"/>
                <a:gd name="T102" fmla="*/ 2 w 287"/>
                <a:gd name="T103" fmla="*/ 2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7" h="225">
                  <a:moveTo>
                    <a:pt x="2" y="24"/>
                  </a:moveTo>
                  <a:lnTo>
                    <a:pt x="0" y="31"/>
                  </a:lnTo>
                  <a:lnTo>
                    <a:pt x="4" y="58"/>
                  </a:lnTo>
                  <a:lnTo>
                    <a:pt x="17" y="97"/>
                  </a:lnTo>
                  <a:lnTo>
                    <a:pt x="28" y="108"/>
                  </a:lnTo>
                  <a:lnTo>
                    <a:pt x="54" y="118"/>
                  </a:lnTo>
                  <a:lnTo>
                    <a:pt x="65" y="121"/>
                  </a:lnTo>
                  <a:lnTo>
                    <a:pt x="67" y="134"/>
                  </a:lnTo>
                  <a:lnTo>
                    <a:pt x="67" y="156"/>
                  </a:lnTo>
                  <a:lnTo>
                    <a:pt x="93" y="182"/>
                  </a:lnTo>
                  <a:lnTo>
                    <a:pt x="109" y="190"/>
                  </a:lnTo>
                  <a:lnTo>
                    <a:pt x="117" y="194"/>
                  </a:lnTo>
                  <a:lnTo>
                    <a:pt x="139" y="221"/>
                  </a:lnTo>
                  <a:lnTo>
                    <a:pt x="146" y="216"/>
                  </a:lnTo>
                  <a:lnTo>
                    <a:pt x="161" y="214"/>
                  </a:lnTo>
                  <a:lnTo>
                    <a:pt x="178" y="225"/>
                  </a:lnTo>
                  <a:lnTo>
                    <a:pt x="191" y="218"/>
                  </a:lnTo>
                  <a:lnTo>
                    <a:pt x="209" y="197"/>
                  </a:lnTo>
                  <a:lnTo>
                    <a:pt x="222" y="190"/>
                  </a:lnTo>
                  <a:lnTo>
                    <a:pt x="235" y="195"/>
                  </a:lnTo>
                  <a:lnTo>
                    <a:pt x="243" y="192"/>
                  </a:lnTo>
                  <a:lnTo>
                    <a:pt x="244" y="184"/>
                  </a:lnTo>
                  <a:lnTo>
                    <a:pt x="246" y="142"/>
                  </a:lnTo>
                  <a:lnTo>
                    <a:pt x="254" y="129"/>
                  </a:lnTo>
                  <a:lnTo>
                    <a:pt x="254" y="110"/>
                  </a:lnTo>
                  <a:lnTo>
                    <a:pt x="257" y="103"/>
                  </a:lnTo>
                  <a:lnTo>
                    <a:pt x="272" y="92"/>
                  </a:lnTo>
                  <a:lnTo>
                    <a:pt x="287" y="90"/>
                  </a:lnTo>
                  <a:lnTo>
                    <a:pt x="287" y="69"/>
                  </a:lnTo>
                  <a:lnTo>
                    <a:pt x="283" y="53"/>
                  </a:lnTo>
                  <a:lnTo>
                    <a:pt x="272" y="47"/>
                  </a:lnTo>
                  <a:lnTo>
                    <a:pt x="267" y="49"/>
                  </a:lnTo>
                  <a:lnTo>
                    <a:pt x="248" y="31"/>
                  </a:lnTo>
                  <a:lnTo>
                    <a:pt x="237" y="19"/>
                  </a:lnTo>
                  <a:lnTo>
                    <a:pt x="224" y="19"/>
                  </a:lnTo>
                  <a:lnTo>
                    <a:pt x="198" y="19"/>
                  </a:lnTo>
                  <a:lnTo>
                    <a:pt x="193" y="15"/>
                  </a:lnTo>
                  <a:lnTo>
                    <a:pt x="187" y="2"/>
                  </a:lnTo>
                  <a:lnTo>
                    <a:pt x="180" y="0"/>
                  </a:lnTo>
                  <a:lnTo>
                    <a:pt x="157" y="0"/>
                  </a:lnTo>
                  <a:lnTo>
                    <a:pt x="148" y="11"/>
                  </a:lnTo>
                  <a:lnTo>
                    <a:pt x="139" y="9"/>
                  </a:lnTo>
                  <a:lnTo>
                    <a:pt x="124" y="6"/>
                  </a:lnTo>
                  <a:lnTo>
                    <a:pt x="117" y="4"/>
                  </a:lnTo>
                  <a:lnTo>
                    <a:pt x="106" y="7"/>
                  </a:lnTo>
                  <a:lnTo>
                    <a:pt x="98" y="13"/>
                  </a:lnTo>
                  <a:lnTo>
                    <a:pt x="83" y="7"/>
                  </a:lnTo>
                  <a:lnTo>
                    <a:pt x="52" y="2"/>
                  </a:lnTo>
                  <a:lnTo>
                    <a:pt x="44" y="0"/>
                  </a:lnTo>
                  <a:lnTo>
                    <a:pt x="35" y="7"/>
                  </a:lnTo>
                  <a:lnTo>
                    <a:pt x="20" y="17"/>
                  </a:lnTo>
                  <a:lnTo>
                    <a:pt x="2" y="24"/>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69" name="Freeform 483"/>
            <p:cNvSpPr>
              <a:spLocks/>
            </p:cNvSpPr>
            <p:nvPr/>
          </p:nvSpPr>
          <p:spPr bwMode="auto">
            <a:xfrm>
              <a:off x="3709" y="1680"/>
              <a:ext cx="68" cy="63"/>
            </a:xfrm>
            <a:custGeom>
              <a:avLst/>
              <a:gdLst>
                <a:gd name="T0" fmla="*/ 54 w 65"/>
                <a:gd name="T1" fmla="*/ 0 h 67"/>
                <a:gd name="T2" fmla="*/ 32 w 65"/>
                <a:gd name="T3" fmla="*/ 4 h 67"/>
                <a:gd name="T4" fmla="*/ 24 w 65"/>
                <a:gd name="T5" fmla="*/ 0 h 67"/>
                <a:gd name="T6" fmla="*/ 11 w 65"/>
                <a:gd name="T7" fmla="*/ 17 h 67"/>
                <a:gd name="T8" fmla="*/ 6 w 65"/>
                <a:gd name="T9" fmla="*/ 13 h 67"/>
                <a:gd name="T10" fmla="*/ 0 w 65"/>
                <a:gd name="T11" fmla="*/ 24 h 67"/>
                <a:gd name="T12" fmla="*/ 7 w 65"/>
                <a:gd name="T13" fmla="*/ 30 h 67"/>
                <a:gd name="T14" fmla="*/ 7 w 65"/>
                <a:gd name="T15" fmla="*/ 58 h 67"/>
                <a:gd name="T16" fmla="*/ 13 w 65"/>
                <a:gd name="T17" fmla="*/ 67 h 67"/>
                <a:gd name="T18" fmla="*/ 46 w 65"/>
                <a:gd name="T19" fmla="*/ 30 h 67"/>
                <a:gd name="T20" fmla="*/ 59 w 65"/>
                <a:gd name="T21" fmla="*/ 30 h 67"/>
                <a:gd name="T22" fmla="*/ 65 w 65"/>
                <a:gd name="T23" fmla="*/ 20 h 67"/>
                <a:gd name="T24" fmla="*/ 63 w 65"/>
                <a:gd name="T25" fmla="*/ 15 h 67"/>
                <a:gd name="T26" fmla="*/ 54 w 65"/>
                <a:gd name="T2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7">
                  <a:moveTo>
                    <a:pt x="54" y="0"/>
                  </a:moveTo>
                  <a:lnTo>
                    <a:pt x="32" y="4"/>
                  </a:lnTo>
                  <a:lnTo>
                    <a:pt x="24" y="0"/>
                  </a:lnTo>
                  <a:lnTo>
                    <a:pt x="11" y="17"/>
                  </a:lnTo>
                  <a:lnTo>
                    <a:pt x="6" y="13"/>
                  </a:lnTo>
                  <a:lnTo>
                    <a:pt x="0" y="24"/>
                  </a:lnTo>
                  <a:lnTo>
                    <a:pt x="7" y="30"/>
                  </a:lnTo>
                  <a:lnTo>
                    <a:pt x="7" y="58"/>
                  </a:lnTo>
                  <a:lnTo>
                    <a:pt x="13" y="67"/>
                  </a:lnTo>
                  <a:lnTo>
                    <a:pt x="46" y="30"/>
                  </a:lnTo>
                  <a:lnTo>
                    <a:pt x="59" y="30"/>
                  </a:lnTo>
                  <a:lnTo>
                    <a:pt x="65" y="20"/>
                  </a:lnTo>
                  <a:lnTo>
                    <a:pt x="63" y="15"/>
                  </a:lnTo>
                  <a:lnTo>
                    <a:pt x="54"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0" name="Freeform 484"/>
            <p:cNvSpPr>
              <a:spLocks/>
            </p:cNvSpPr>
            <p:nvPr/>
          </p:nvSpPr>
          <p:spPr bwMode="auto">
            <a:xfrm>
              <a:off x="3673" y="1733"/>
              <a:ext cx="403" cy="180"/>
            </a:xfrm>
            <a:custGeom>
              <a:avLst/>
              <a:gdLst>
                <a:gd name="T0" fmla="*/ 96 w 403"/>
                <a:gd name="T1" fmla="*/ 60 h 180"/>
                <a:gd name="T2" fmla="*/ 87 w 403"/>
                <a:gd name="T3" fmla="*/ 36 h 180"/>
                <a:gd name="T4" fmla="*/ 62 w 403"/>
                <a:gd name="T5" fmla="*/ 24 h 180"/>
                <a:gd name="T6" fmla="*/ 35 w 403"/>
                <a:gd name="T7" fmla="*/ 43 h 180"/>
                <a:gd name="T8" fmla="*/ 18 w 403"/>
                <a:gd name="T9" fmla="*/ 83 h 180"/>
                <a:gd name="T10" fmla="*/ 14 w 403"/>
                <a:gd name="T11" fmla="*/ 96 h 180"/>
                <a:gd name="T12" fmla="*/ 0 w 403"/>
                <a:gd name="T13" fmla="*/ 110 h 180"/>
                <a:gd name="T14" fmla="*/ 4 w 403"/>
                <a:gd name="T15" fmla="*/ 138 h 180"/>
                <a:gd name="T16" fmla="*/ 16 w 403"/>
                <a:gd name="T17" fmla="*/ 157 h 180"/>
                <a:gd name="T18" fmla="*/ 51 w 403"/>
                <a:gd name="T19" fmla="*/ 141 h 180"/>
                <a:gd name="T20" fmla="*/ 74 w 403"/>
                <a:gd name="T21" fmla="*/ 138 h 180"/>
                <a:gd name="T22" fmla="*/ 103 w 403"/>
                <a:gd name="T23" fmla="*/ 145 h 180"/>
                <a:gd name="T24" fmla="*/ 133 w 403"/>
                <a:gd name="T25" fmla="*/ 138 h 180"/>
                <a:gd name="T26" fmla="*/ 152 w 403"/>
                <a:gd name="T27" fmla="*/ 143 h 180"/>
                <a:gd name="T28" fmla="*/ 177 w 403"/>
                <a:gd name="T29" fmla="*/ 138 h 180"/>
                <a:gd name="T30" fmla="*/ 207 w 403"/>
                <a:gd name="T31" fmla="*/ 136 h 180"/>
                <a:gd name="T32" fmla="*/ 236 w 403"/>
                <a:gd name="T33" fmla="*/ 153 h 180"/>
                <a:gd name="T34" fmla="*/ 275 w 403"/>
                <a:gd name="T35" fmla="*/ 168 h 180"/>
                <a:gd name="T36" fmla="*/ 298 w 403"/>
                <a:gd name="T37" fmla="*/ 180 h 180"/>
                <a:gd name="T38" fmla="*/ 333 w 403"/>
                <a:gd name="T39" fmla="*/ 172 h 180"/>
                <a:gd name="T40" fmla="*/ 351 w 403"/>
                <a:gd name="T41" fmla="*/ 155 h 180"/>
                <a:gd name="T42" fmla="*/ 403 w 403"/>
                <a:gd name="T43" fmla="*/ 125 h 180"/>
                <a:gd name="T44" fmla="*/ 386 w 403"/>
                <a:gd name="T45" fmla="*/ 84 h 180"/>
                <a:gd name="T46" fmla="*/ 358 w 403"/>
                <a:gd name="T47" fmla="*/ 64 h 180"/>
                <a:gd name="T48" fmla="*/ 344 w 403"/>
                <a:gd name="T49" fmla="*/ 31 h 180"/>
                <a:gd name="T50" fmla="*/ 318 w 403"/>
                <a:gd name="T51" fmla="*/ 18 h 180"/>
                <a:gd name="T52" fmla="*/ 273 w 403"/>
                <a:gd name="T53" fmla="*/ 28 h 180"/>
                <a:gd name="T54" fmla="*/ 248 w 403"/>
                <a:gd name="T55" fmla="*/ 18 h 180"/>
                <a:gd name="T56" fmla="*/ 225 w 403"/>
                <a:gd name="T57" fmla="*/ 4 h 180"/>
                <a:gd name="T58" fmla="*/ 201 w 403"/>
                <a:gd name="T59" fmla="*/ 0 h 180"/>
                <a:gd name="T60" fmla="*/ 176 w 403"/>
                <a:gd name="T61" fmla="*/ 4 h 180"/>
                <a:gd name="T62" fmla="*/ 163 w 403"/>
                <a:gd name="T63" fmla="*/ 18 h 180"/>
                <a:gd name="T64" fmla="*/ 168 w 403"/>
                <a:gd name="T65" fmla="*/ 57 h 180"/>
                <a:gd name="T66" fmla="*/ 152 w 403"/>
                <a:gd name="T67" fmla="*/ 79 h 180"/>
                <a:gd name="T68" fmla="*/ 135 w 403"/>
                <a:gd name="T69"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3" h="180">
                  <a:moveTo>
                    <a:pt x="115" y="71"/>
                  </a:moveTo>
                  <a:lnTo>
                    <a:pt x="96" y="60"/>
                  </a:lnTo>
                  <a:lnTo>
                    <a:pt x="92" y="48"/>
                  </a:lnTo>
                  <a:lnTo>
                    <a:pt x="87" y="36"/>
                  </a:lnTo>
                  <a:lnTo>
                    <a:pt x="78" y="24"/>
                  </a:lnTo>
                  <a:lnTo>
                    <a:pt x="62" y="24"/>
                  </a:lnTo>
                  <a:lnTo>
                    <a:pt x="51" y="30"/>
                  </a:lnTo>
                  <a:lnTo>
                    <a:pt x="35" y="43"/>
                  </a:lnTo>
                  <a:lnTo>
                    <a:pt x="16" y="74"/>
                  </a:lnTo>
                  <a:lnTo>
                    <a:pt x="18" y="83"/>
                  </a:lnTo>
                  <a:lnTo>
                    <a:pt x="18" y="91"/>
                  </a:lnTo>
                  <a:lnTo>
                    <a:pt x="14" y="96"/>
                  </a:lnTo>
                  <a:lnTo>
                    <a:pt x="6" y="103"/>
                  </a:lnTo>
                  <a:lnTo>
                    <a:pt x="0" y="110"/>
                  </a:lnTo>
                  <a:lnTo>
                    <a:pt x="4" y="119"/>
                  </a:lnTo>
                  <a:lnTo>
                    <a:pt x="4" y="138"/>
                  </a:lnTo>
                  <a:lnTo>
                    <a:pt x="7" y="153"/>
                  </a:lnTo>
                  <a:lnTo>
                    <a:pt x="16" y="157"/>
                  </a:lnTo>
                  <a:lnTo>
                    <a:pt x="32" y="151"/>
                  </a:lnTo>
                  <a:lnTo>
                    <a:pt x="51" y="141"/>
                  </a:lnTo>
                  <a:lnTo>
                    <a:pt x="59" y="135"/>
                  </a:lnTo>
                  <a:lnTo>
                    <a:pt x="74" y="138"/>
                  </a:lnTo>
                  <a:lnTo>
                    <a:pt x="90" y="141"/>
                  </a:lnTo>
                  <a:lnTo>
                    <a:pt x="103" y="145"/>
                  </a:lnTo>
                  <a:lnTo>
                    <a:pt x="113" y="148"/>
                  </a:lnTo>
                  <a:lnTo>
                    <a:pt x="133" y="138"/>
                  </a:lnTo>
                  <a:lnTo>
                    <a:pt x="142" y="138"/>
                  </a:lnTo>
                  <a:lnTo>
                    <a:pt x="152" y="143"/>
                  </a:lnTo>
                  <a:lnTo>
                    <a:pt x="165" y="147"/>
                  </a:lnTo>
                  <a:lnTo>
                    <a:pt x="177" y="138"/>
                  </a:lnTo>
                  <a:lnTo>
                    <a:pt x="195" y="135"/>
                  </a:lnTo>
                  <a:lnTo>
                    <a:pt x="207" y="136"/>
                  </a:lnTo>
                  <a:lnTo>
                    <a:pt x="216" y="151"/>
                  </a:lnTo>
                  <a:lnTo>
                    <a:pt x="236" y="153"/>
                  </a:lnTo>
                  <a:lnTo>
                    <a:pt x="259" y="151"/>
                  </a:lnTo>
                  <a:lnTo>
                    <a:pt x="275" y="168"/>
                  </a:lnTo>
                  <a:lnTo>
                    <a:pt x="287" y="178"/>
                  </a:lnTo>
                  <a:lnTo>
                    <a:pt x="298" y="180"/>
                  </a:lnTo>
                  <a:lnTo>
                    <a:pt x="316" y="174"/>
                  </a:lnTo>
                  <a:lnTo>
                    <a:pt x="333" y="172"/>
                  </a:lnTo>
                  <a:lnTo>
                    <a:pt x="345" y="163"/>
                  </a:lnTo>
                  <a:lnTo>
                    <a:pt x="351" y="155"/>
                  </a:lnTo>
                  <a:lnTo>
                    <a:pt x="372" y="135"/>
                  </a:lnTo>
                  <a:lnTo>
                    <a:pt x="403" y="125"/>
                  </a:lnTo>
                  <a:lnTo>
                    <a:pt x="390" y="109"/>
                  </a:lnTo>
                  <a:lnTo>
                    <a:pt x="386" y="84"/>
                  </a:lnTo>
                  <a:lnTo>
                    <a:pt x="376" y="79"/>
                  </a:lnTo>
                  <a:lnTo>
                    <a:pt x="358" y="64"/>
                  </a:lnTo>
                  <a:lnTo>
                    <a:pt x="351" y="48"/>
                  </a:lnTo>
                  <a:lnTo>
                    <a:pt x="344" y="31"/>
                  </a:lnTo>
                  <a:lnTo>
                    <a:pt x="328" y="19"/>
                  </a:lnTo>
                  <a:lnTo>
                    <a:pt x="318" y="18"/>
                  </a:lnTo>
                  <a:lnTo>
                    <a:pt x="287" y="19"/>
                  </a:lnTo>
                  <a:lnTo>
                    <a:pt x="273" y="28"/>
                  </a:lnTo>
                  <a:lnTo>
                    <a:pt x="264" y="31"/>
                  </a:lnTo>
                  <a:lnTo>
                    <a:pt x="248" y="18"/>
                  </a:lnTo>
                  <a:lnTo>
                    <a:pt x="234" y="12"/>
                  </a:lnTo>
                  <a:lnTo>
                    <a:pt x="225" y="4"/>
                  </a:lnTo>
                  <a:lnTo>
                    <a:pt x="218" y="2"/>
                  </a:lnTo>
                  <a:lnTo>
                    <a:pt x="201" y="0"/>
                  </a:lnTo>
                  <a:lnTo>
                    <a:pt x="188" y="4"/>
                  </a:lnTo>
                  <a:lnTo>
                    <a:pt x="176" y="4"/>
                  </a:lnTo>
                  <a:lnTo>
                    <a:pt x="170" y="8"/>
                  </a:lnTo>
                  <a:lnTo>
                    <a:pt x="163" y="18"/>
                  </a:lnTo>
                  <a:lnTo>
                    <a:pt x="163" y="36"/>
                  </a:lnTo>
                  <a:lnTo>
                    <a:pt x="168" y="57"/>
                  </a:lnTo>
                  <a:lnTo>
                    <a:pt x="168" y="66"/>
                  </a:lnTo>
                  <a:lnTo>
                    <a:pt x="152" y="79"/>
                  </a:lnTo>
                  <a:lnTo>
                    <a:pt x="142" y="86"/>
                  </a:lnTo>
                  <a:lnTo>
                    <a:pt x="135" y="78"/>
                  </a:lnTo>
                  <a:lnTo>
                    <a:pt x="115" y="71"/>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1" name="Freeform 485"/>
            <p:cNvSpPr>
              <a:spLocks/>
            </p:cNvSpPr>
            <p:nvPr/>
          </p:nvSpPr>
          <p:spPr bwMode="auto">
            <a:xfrm>
              <a:off x="3811" y="2867"/>
              <a:ext cx="403" cy="264"/>
            </a:xfrm>
            <a:custGeom>
              <a:avLst/>
              <a:gdLst>
                <a:gd name="T0" fmla="*/ 7 w 383"/>
                <a:gd name="T1" fmla="*/ 39 h 281"/>
                <a:gd name="T2" fmla="*/ 2 w 383"/>
                <a:gd name="T3" fmla="*/ 59 h 281"/>
                <a:gd name="T4" fmla="*/ 28 w 383"/>
                <a:gd name="T5" fmla="*/ 82 h 281"/>
                <a:gd name="T6" fmla="*/ 30 w 383"/>
                <a:gd name="T7" fmla="*/ 115 h 281"/>
                <a:gd name="T8" fmla="*/ 6 w 383"/>
                <a:gd name="T9" fmla="*/ 135 h 281"/>
                <a:gd name="T10" fmla="*/ 9 w 383"/>
                <a:gd name="T11" fmla="*/ 159 h 281"/>
                <a:gd name="T12" fmla="*/ 6 w 383"/>
                <a:gd name="T13" fmla="*/ 186 h 281"/>
                <a:gd name="T14" fmla="*/ 9 w 383"/>
                <a:gd name="T15" fmla="*/ 209 h 281"/>
                <a:gd name="T16" fmla="*/ 30 w 383"/>
                <a:gd name="T17" fmla="*/ 222 h 281"/>
                <a:gd name="T18" fmla="*/ 31 w 383"/>
                <a:gd name="T19" fmla="*/ 255 h 281"/>
                <a:gd name="T20" fmla="*/ 44 w 383"/>
                <a:gd name="T21" fmla="*/ 281 h 281"/>
                <a:gd name="T22" fmla="*/ 109 w 383"/>
                <a:gd name="T23" fmla="*/ 264 h 281"/>
                <a:gd name="T24" fmla="*/ 148 w 383"/>
                <a:gd name="T25" fmla="*/ 236 h 281"/>
                <a:gd name="T26" fmla="*/ 178 w 383"/>
                <a:gd name="T27" fmla="*/ 253 h 281"/>
                <a:gd name="T28" fmla="*/ 207 w 383"/>
                <a:gd name="T29" fmla="*/ 262 h 281"/>
                <a:gd name="T30" fmla="*/ 242 w 383"/>
                <a:gd name="T31" fmla="*/ 249 h 281"/>
                <a:gd name="T32" fmla="*/ 244 w 383"/>
                <a:gd name="T33" fmla="*/ 220 h 281"/>
                <a:gd name="T34" fmla="*/ 270 w 383"/>
                <a:gd name="T35" fmla="*/ 220 h 281"/>
                <a:gd name="T36" fmla="*/ 283 w 383"/>
                <a:gd name="T37" fmla="*/ 212 h 281"/>
                <a:gd name="T38" fmla="*/ 335 w 383"/>
                <a:gd name="T39" fmla="*/ 196 h 281"/>
                <a:gd name="T40" fmla="*/ 353 w 383"/>
                <a:gd name="T41" fmla="*/ 175 h 281"/>
                <a:gd name="T42" fmla="*/ 327 w 383"/>
                <a:gd name="T43" fmla="*/ 147 h 281"/>
                <a:gd name="T44" fmla="*/ 339 w 383"/>
                <a:gd name="T45" fmla="*/ 124 h 281"/>
                <a:gd name="T46" fmla="*/ 348 w 383"/>
                <a:gd name="T47" fmla="*/ 111 h 281"/>
                <a:gd name="T48" fmla="*/ 355 w 383"/>
                <a:gd name="T49" fmla="*/ 82 h 281"/>
                <a:gd name="T50" fmla="*/ 363 w 383"/>
                <a:gd name="T51" fmla="*/ 52 h 281"/>
                <a:gd name="T52" fmla="*/ 383 w 383"/>
                <a:gd name="T53" fmla="*/ 39 h 281"/>
                <a:gd name="T54" fmla="*/ 372 w 383"/>
                <a:gd name="T55" fmla="*/ 9 h 281"/>
                <a:gd name="T56" fmla="*/ 320 w 383"/>
                <a:gd name="T57" fmla="*/ 2 h 281"/>
                <a:gd name="T58" fmla="*/ 265 w 383"/>
                <a:gd name="T59" fmla="*/ 6 h 281"/>
                <a:gd name="T60" fmla="*/ 213 w 383"/>
                <a:gd name="T61" fmla="*/ 32 h 281"/>
                <a:gd name="T62" fmla="*/ 172 w 383"/>
                <a:gd name="T63" fmla="*/ 50 h 281"/>
                <a:gd name="T64" fmla="*/ 118 w 383"/>
                <a:gd name="T65" fmla="*/ 54 h 281"/>
                <a:gd name="T66" fmla="*/ 83 w 383"/>
                <a:gd name="T67" fmla="*/ 52 h 281"/>
                <a:gd name="T68" fmla="*/ 41 w 383"/>
                <a:gd name="T69" fmla="*/ 37 h 281"/>
                <a:gd name="T70" fmla="*/ 9 w 383"/>
                <a:gd name="T71" fmla="*/ 3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281">
                  <a:moveTo>
                    <a:pt x="9" y="33"/>
                  </a:moveTo>
                  <a:lnTo>
                    <a:pt x="7" y="39"/>
                  </a:lnTo>
                  <a:lnTo>
                    <a:pt x="0" y="46"/>
                  </a:lnTo>
                  <a:lnTo>
                    <a:pt x="2" y="59"/>
                  </a:lnTo>
                  <a:lnTo>
                    <a:pt x="13" y="80"/>
                  </a:lnTo>
                  <a:lnTo>
                    <a:pt x="28" y="82"/>
                  </a:lnTo>
                  <a:lnTo>
                    <a:pt x="31" y="91"/>
                  </a:lnTo>
                  <a:lnTo>
                    <a:pt x="30" y="115"/>
                  </a:lnTo>
                  <a:lnTo>
                    <a:pt x="24" y="122"/>
                  </a:lnTo>
                  <a:lnTo>
                    <a:pt x="6" y="135"/>
                  </a:lnTo>
                  <a:lnTo>
                    <a:pt x="4" y="141"/>
                  </a:lnTo>
                  <a:lnTo>
                    <a:pt x="9" y="159"/>
                  </a:lnTo>
                  <a:lnTo>
                    <a:pt x="11" y="173"/>
                  </a:lnTo>
                  <a:lnTo>
                    <a:pt x="6" y="186"/>
                  </a:lnTo>
                  <a:lnTo>
                    <a:pt x="0" y="196"/>
                  </a:lnTo>
                  <a:lnTo>
                    <a:pt x="9" y="209"/>
                  </a:lnTo>
                  <a:lnTo>
                    <a:pt x="17" y="207"/>
                  </a:lnTo>
                  <a:lnTo>
                    <a:pt x="30" y="222"/>
                  </a:lnTo>
                  <a:lnTo>
                    <a:pt x="31" y="236"/>
                  </a:lnTo>
                  <a:lnTo>
                    <a:pt x="31" y="255"/>
                  </a:lnTo>
                  <a:lnTo>
                    <a:pt x="30" y="264"/>
                  </a:lnTo>
                  <a:lnTo>
                    <a:pt x="44" y="281"/>
                  </a:lnTo>
                  <a:lnTo>
                    <a:pt x="74" y="275"/>
                  </a:lnTo>
                  <a:lnTo>
                    <a:pt x="109" y="264"/>
                  </a:lnTo>
                  <a:lnTo>
                    <a:pt x="135" y="248"/>
                  </a:lnTo>
                  <a:lnTo>
                    <a:pt x="148" y="236"/>
                  </a:lnTo>
                  <a:lnTo>
                    <a:pt x="165" y="259"/>
                  </a:lnTo>
                  <a:lnTo>
                    <a:pt x="178" y="253"/>
                  </a:lnTo>
                  <a:lnTo>
                    <a:pt x="196" y="259"/>
                  </a:lnTo>
                  <a:lnTo>
                    <a:pt x="207" y="262"/>
                  </a:lnTo>
                  <a:lnTo>
                    <a:pt x="229" y="253"/>
                  </a:lnTo>
                  <a:lnTo>
                    <a:pt x="242" y="249"/>
                  </a:lnTo>
                  <a:lnTo>
                    <a:pt x="242" y="238"/>
                  </a:lnTo>
                  <a:lnTo>
                    <a:pt x="244" y="220"/>
                  </a:lnTo>
                  <a:lnTo>
                    <a:pt x="255" y="214"/>
                  </a:lnTo>
                  <a:lnTo>
                    <a:pt x="270" y="220"/>
                  </a:lnTo>
                  <a:lnTo>
                    <a:pt x="272" y="227"/>
                  </a:lnTo>
                  <a:lnTo>
                    <a:pt x="283" y="212"/>
                  </a:lnTo>
                  <a:lnTo>
                    <a:pt x="311" y="199"/>
                  </a:lnTo>
                  <a:lnTo>
                    <a:pt x="335" y="196"/>
                  </a:lnTo>
                  <a:lnTo>
                    <a:pt x="357" y="196"/>
                  </a:lnTo>
                  <a:lnTo>
                    <a:pt x="353" y="175"/>
                  </a:lnTo>
                  <a:lnTo>
                    <a:pt x="350" y="164"/>
                  </a:lnTo>
                  <a:lnTo>
                    <a:pt x="327" y="147"/>
                  </a:lnTo>
                  <a:lnTo>
                    <a:pt x="326" y="142"/>
                  </a:lnTo>
                  <a:lnTo>
                    <a:pt x="339" y="124"/>
                  </a:lnTo>
                  <a:lnTo>
                    <a:pt x="352" y="121"/>
                  </a:lnTo>
                  <a:lnTo>
                    <a:pt x="348" y="111"/>
                  </a:lnTo>
                  <a:lnTo>
                    <a:pt x="355" y="93"/>
                  </a:lnTo>
                  <a:lnTo>
                    <a:pt x="355" y="82"/>
                  </a:lnTo>
                  <a:lnTo>
                    <a:pt x="359" y="61"/>
                  </a:lnTo>
                  <a:lnTo>
                    <a:pt x="363" y="52"/>
                  </a:lnTo>
                  <a:lnTo>
                    <a:pt x="376" y="54"/>
                  </a:lnTo>
                  <a:lnTo>
                    <a:pt x="383" y="39"/>
                  </a:lnTo>
                  <a:lnTo>
                    <a:pt x="376" y="26"/>
                  </a:lnTo>
                  <a:lnTo>
                    <a:pt x="372" y="9"/>
                  </a:lnTo>
                  <a:lnTo>
                    <a:pt x="363" y="11"/>
                  </a:lnTo>
                  <a:lnTo>
                    <a:pt x="320" y="2"/>
                  </a:lnTo>
                  <a:lnTo>
                    <a:pt x="292" y="0"/>
                  </a:lnTo>
                  <a:lnTo>
                    <a:pt x="265" y="6"/>
                  </a:lnTo>
                  <a:lnTo>
                    <a:pt x="241" y="17"/>
                  </a:lnTo>
                  <a:lnTo>
                    <a:pt x="213" y="32"/>
                  </a:lnTo>
                  <a:lnTo>
                    <a:pt x="192" y="48"/>
                  </a:lnTo>
                  <a:lnTo>
                    <a:pt x="172" y="50"/>
                  </a:lnTo>
                  <a:lnTo>
                    <a:pt x="144" y="45"/>
                  </a:lnTo>
                  <a:lnTo>
                    <a:pt x="118" y="54"/>
                  </a:lnTo>
                  <a:lnTo>
                    <a:pt x="102" y="58"/>
                  </a:lnTo>
                  <a:lnTo>
                    <a:pt x="83" y="52"/>
                  </a:lnTo>
                  <a:lnTo>
                    <a:pt x="56" y="41"/>
                  </a:lnTo>
                  <a:lnTo>
                    <a:pt x="41" y="37"/>
                  </a:lnTo>
                  <a:lnTo>
                    <a:pt x="20" y="33"/>
                  </a:lnTo>
                  <a:lnTo>
                    <a:pt x="9" y="33"/>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2" name="Freeform 486"/>
            <p:cNvSpPr>
              <a:spLocks/>
            </p:cNvSpPr>
            <p:nvPr/>
          </p:nvSpPr>
          <p:spPr bwMode="auto">
            <a:xfrm>
              <a:off x="3690" y="2540"/>
              <a:ext cx="584" cy="379"/>
            </a:xfrm>
            <a:custGeom>
              <a:avLst/>
              <a:gdLst>
                <a:gd name="T0" fmla="*/ 133 w 584"/>
                <a:gd name="T1" fmla="*/ 43 h 379"/>
                <a:gd name="T2" fmla="*/ 106 w 584"/>
                <a:gd name="T3" fmla="*/ 58 h 379"/>
                <a:gd name="T4" fmla="*/ 105 w 584"/>
                <a:gd name="T5" fmla="*/ 123 h 379"/>
                <a:gd name="T6" fmla="*/ 70 w 584"/>
                <a:gd name="T7" fmla="*/ 159 h 379"/>
                <a:gd name="T8" fmla="*/ 25 w 584"/>
                <a:gd name="T9" fmla="*/ 178 h 379"/>
                <a:gd name="T10" fmla="*/ 0 w 584"/>
                <a:gd name="T11" fmla="*/ 198 h 379"/>
                <a:gd name="T12" fmla="*/ 23 w 584"/>
                <a:gd name="T13" fmla="*/ 223 h 379"/>
                <a:gd name="T14" fmla="*/ 23 w 584"/>
                <a:gd name="T15" fmla="*/ 243 h 379"/>
                <a:gd name="T16" fmla="*/ 48 w 584"/>
                <a:gd name="T17" fmla="*/ 248 h 379"/>
                <a:gd name="T18" fmla="*/ 60 w 584"/>
                <a:gd name="T19" fmla="*/ 278 h 379"/>
                <a:gd name="T20" fmla="*/ 70 w 584"/>
                <a:gd name="T21" fmla="*/ 308 h 379"/>
                <a:gd name="T22" fmla="*/ 85 w 584"/>
                <a:gd name="T23" fmla="*/ 305 h 379"/>
                <a:gd name="T24" fmla="*/ 114 w 584"/>
                <a:gd name="T25" fmla="*/ 307 h 379"/>
                <a:gd name="T26" fmla="*/ 114 w 584"/>
                <a:gd name="T27" fmla="*/ 323 h 379"/>
                <a:gd name="T28" fmla="*/ 133 w 584"/>
                <a:gd name="T29" fmla="*/ 338 h 379"/>
                <a:gd name="T30" fmla="*/ 133 w 584"/>
                <a:gd name="T31" fmla="*/ 356 h 379"/>
                <a:gd name="T32" fmla="*/ 173 w 584"/>
                <a:gd name="T33" fmla="*/ 365 h 379"/>
                <a:gd name="T34" fmla="*/ 229 w 584"/>
                <a:gd name="T35" fmla="*/ 379 h 379"/>
                <a:gd name="T36" fmla="*/ 270 w 584"/>
                <a:gd name="T37" fmla="*/ 369 h 379"/>
                <a:gd name="T38" fmla="*/ 318 w 584"/>
                <a:gd name="T39" fmla="*/ 372 h 379"/>
                <a:gd name="T40" fmla="*/ 345 w 584"/>
                <a:gd name="T41" fmla="*/ 358 h 379"/>
                <a:gd name="T42" fmla="*/ 423 w 584"/>
                <a:gd name="T43" fmla="*/ 326 h 379"/>
                <a:gd name="T44" fmla="*/ 468 w 584"/>
                <a:gd name="T45" fmla="*/ 330 h 379"/>
                <a:gd name="T46" fmla="*/ 503 w 584"/>
                <a:gd name="T47" fmla="*/ 336 h 379"/>
                <a:gd name="T48" fmla="*/ 524 w 584"/>
                <a:gd name="T49" fmla="*/ 320 h 379"/>
                <a:gd name="T50" fmla="*/ 526 w 584"/>
                <a:gd name="T51" fmla="*/ 266 h 379"/>
                <a:gd name="T52" fmla="*/ 547 w 584"/>
                <a:gd name="T53" fmla="*/ 248 h 379"/>
                <a:gd name="T54" fmla="*/ 566 w 584"/>
                <a:gd name="T55" fmla="*/ 248 h 379"/>
                <a:gd name="T56" fmla="*/ 570 w 584"/>
                <a:gd name="T57" fmla="*/ 234 h 379"/>
                <a:gd name="T58" fmla="*/ 584 w 584"/>
                <a:gd name="T59" fmla="*/ 222 h 379"/>
                <a:gd name="T60" fmla="*/ 555 w 584"/>
                <a:gd name="T61" fmla="*/ 213 h 379"/>
                <a:gd name="T62" fmla="*/ 519 w 584"/>
                <a:gd name="T63" fmla="*/ 220 h 379"/>
                <a:gd name="T64" fmla="*/ 485 w 584"/>
                <a:gd name="T65" fmla="*/ 213 h 379"/>
                <a:gd name="T66" fmla="*/ 480 w 584"/>
                <a:gd name="T67" fmla="*/ 189 h 379"/>
                <a:gd name="T68" fmla="*/ 468 w 584"/>
                <a:gd name="T69" fmla="*/ 164 h 379"/>
                <a:gd name="T70" fmla="*/ 462 w 584"/>
                <a:gd name="T71" fmla="*/ 140 h 379"/>
                <a:gd name="T72" fmla="*/ 464 w 584"/>
                <a:gd name="T73" fmla="*/ 117 h 379"/>
                <a:gd name="T74" fmla="*/ 439 w 584"/>
                <a:gd name="T75" fmla="*/ 82 h 379"/>
                <a:gd name="T76" fmla="*/ 430 w 584"/>
                <a:gd name="T77" fmla="*/ 58 h 379"/>
                <a:gd name="T78" fmla="*/ 405 w 584"/>
                <a:gd name="T79" fmla="*/ 39 h 379"/>
                <a:gd name="T80" fmla="*/ 388 w 584"/>
                <a:gd name="T81" fmla="*/ 8 h 379"/>
                <a:gd name="T82" fmla="*/ 370 w 584"/>
                <a:gd name="T83" fmla="*/ 0 h 379"/>
                <a:gd name="T84" fmla="*/ 350 w 584"/>
                <a:gd name="T85" fmla="*/ 12 h 379"/>
                <a:gd name="T86" fmla="*/ 327 w 584"/>
                <a:gd name="T87" fmla="*/ 14 h 379"/>
                <a:gd name="T88" fmla="*/ 307 w 584"/>
                <a:gd name="T89" fmla="*/ 25 h 379"/>
                <a:gd name="T90" fmla="*/ 277 w 584"/>
                <a:gd name="T91" fmla="*/ 28 h 379"/>
                <a:gd name="T92" fmla="*/ 251 w 584"/>
                <a:gd name="T93" fmla="*/ 12 h 379"/>
                <a:gd name="T94" fmla="*/ 220 w 584"/>
                <a:gd name="T95" fmla="*/ 23 h 379"/>
                <a:gd name="T96" fmla="*/ 194 w 584"/>
                <a:gd name="T97" fmla="*/ 21 h 379"/>
                <a:gd name="T98" fmla="*/ 163 w 584"/>
                <a:gd name="T99" fmla="*/ 19 h 379"/>
                <a:gd name="T100" fmla="*/ 147 w 584"/>
                <a:gd name="T101" fmla="*/ 26 h 379"/>
                <a:gd name="T102" fmla="*/ 140 w 584"/>
                <a:gd name="T103" fmla="*/ 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4" h="379">
                  <a:moveTo>
                    <a:pt x="144" y="33"/>
                  </a:moveTo>
                  <a:lnTo>
                    <a:pt x="133" y="43"/>
                  </a:lnTo>
                  <a:lnTo>
                    <a:pt x="126" y="51"/>
                  </a:lnTo>
                  <a:lnTo>
                    <a:pt x="106" y="58"/>
                  </a:lnTo>
                  <a:lnTo>
                    <a:pt x="104" y="96"/>
                  </a:lnTo>
                  <a:lnTo>
                    <a:pt x="105" y="123"/>
                  </a:lnTo>
                  <a:lnTo>
                    <a:pt x="89" y="145"/>
                  </a:lnTo>
                  <a:lnTo>
                    <a:pt x="70" y="159"/>
                  </a:lnTo>
                  <a:lnTo>
                    <a:pt x="58" y="172"/>
                  </a:lnTo>
                  <a:lnTo>
                    <a:pt x="25" y="178"/>
                  </a:lnTo>
                  <a:lnTo>
                    <a:pt x="8" y="191"/>
                  </a:lnTo>
                  <a:lnTo>
                    <a:pt x="0" y="198"/>
                  </a:lnTo>
                  <a:lnTo>
                    <a:pt x="17" y="211"/>
                  </a:lnTo>
                  <a:lnTo>
                    <a:pt x="23" y="223"/>
                  </a:lnTo>
                  <a:lnTo>
                    <a:pt x="21" y="232"/>
                  </a:lnTo>
                  <a:lnTo>
                    <a:pt x="23" y="243"/>
                  </a:lnTo>
                  <a:lnTo>
                    <a:pt x="32" y="248"/>
                  </a:lnTo>
                  <a:lnTo>
                    <a:pt x="48" y="248"/>
                  </a:lnTo>
                  <a:lnTo>
                    <a:pt x="53" y="258"/>
                  </a:lnTo>
                  <a:lnTo>
                    <a:pt x="60" y="278"/>
                  </a:lnTo>
                  <a:lnTo>
                    <a:pt x="62" y="293"/>
                  </a:lnTo>
                  <a:lnTo>
                    <a:pt x="70" y="308"/>
                  </a:lnTo>
                  <a:lnTo>
                    <a:pt x="78" y="309"/>
                  </a:lnTo>
                  <a:lnTo>
                    <a:pt x="85" y="305"/>
                  </a:lnTo>
                  <a:lnTo>
                    <a:pt x="99" y="297"/>
                  </a:lnTo>
                  <a:lnTo>
                    <a:pt x="114" y="307"/>
                  </a:lnTo>
                  <a:lnTo>
                    <a:pt x="112" y="318"/>
                  </a:lnTo>
                  <a:lnTo>
                    <a:pt x="114" y="323"/>
                  </a:lnTo>
                  <a:lnTo>
                    <a:pt x="122" y="326"/>
                  </a:lnTo>
                  <a:lnTo>
                    <a:pt x="133" y="338"/>
                  </a:lnTo>
                  <a:lnTo>
                    <a:pt x="130" y="350"/>
                  </a:lnTo>
                  <a:lnTo>
                    <a:pt x="133" y="356"/>
                  </a:lnTo>
                  <a:lnTo>
                    <a:pt x="151" y="356"/>
                  </a:lnTo>
                  <a:lnTo>
                    <a:pt x="173" y="365"/>
                  </a:lnTo>
                  <a:lnTo>
                    <a:pt x="213" y="379"/>
                  </a:lnTo>
                  <a:lnTo>
                    <a:pt x="229" y="379"/>
                  </a:lnTo>
                  <a:lnTo>
                    <a:pt x="251" y="375"/>
                  </a:lnTo>
                  <a:lnTo>
                    <a:pt x="270" y="369"/>
                  </a:lnTo>
                  <a:lnTo>
                    <a:pt x="302" y="373"/>
                  </a:lnTo>
                  <a:lnTo>
                    <a:pt x="318" y="372"/>
                  </a:lnTo>
                  <a:lnTo>
                    <a:pt x="325" y="371"/>
                  </a:lnTo>
                  <a:lnTo>
                    <a:pt x="345" y="358"/>
                  </a:lnTo>
                  <a:lnTo>
                    <a:pt x="389" y="336"/>
                  </a:lnTo>
                  <a:lnTo>
                    <a:pt x="423" y="326"/>
                  </a:lnTo>
                  <a:lnTo>
                    <a:pt x="441" y="325"/>
                  </a:lnTo>
                  <a:lnTo>
                    <a:pt x="468" y="330"/>
                  </a:lnTo>
                  <a:lnTo>
                    <a:pt x="491" y="332"/>
                  </a:lnTo>
                  <a:lnTo>
                    <a:pt x="503" y="336"/>
                  </a:lnTo>
                  <a:lnTo>
                    <a:pt x="521" y="334"/>
                  </a:lnTo>
                  <a:lnTo>
                    <a:pt x="524" y="320"/>
                  </a:lnTo>
                  <a:lnTo>
                    <a:pt x="524" y="293"/>
                  </a:lnTo>
                  <a:lnTo>
                    <a:pt x="526" y="266"/>
                  </a:lnTo>
                  <a:lnTo>
                    <a:pt x="536" y="252"/>
                  </a:lnTo>
                  <a:lnTo>
                    <a:pt x="547" y="248"/>
                  </a:lnTo>
                  <a:lnTo>
                    <a:pt x="557" y="254"/>
                  </a:lnTo>
                  <a:lnTo>
                    <a:pt x="566" y="248"/>
                  </a:lnTo>
                  <a:lnTo>
                    <a:pt x="572" y="241"/>
                  </a:lnTo>
                  <a:lnTo>
                    <a:pt x="570" y="234"/>
                  </a:lnTo>
                  <a:lnTo>
                    <a:pt x="582" y="231"/>
                  </a:lnTo>
                  <a:lnTo>
                    <a:pt x="584" y="222"/>
                  </a:lnTo>
                  <a:lnTo>
                    <a:pt x="572" y="217"/>
                  </a:lnTo>
                  <a:lnTo>
                    <a:pt x="555" y="213"/>
                  </a:lnTo>
                  <a:lnTo>
                    <a:pt x="540" y="217"/>
                  </a:lnTo>
                  <a:lnTo>
                    <a:pt x="519" y="220"/>
                  </a:lnTo>
                  <a:lnTo>
                    <a:pt x="499" y="220"/>
                  </a:lnTo>
                  <a:lnTo>
                    <a:pt x="485" y="213"/>
                  </a:lnTo>
                  <a:lnTo>
                    <a:pt x="480" y="203"/>
                  </a:lnTo>
                  <a:lnTo>
                    <a:pt x="480" y="189"/>
                  </a:lnTo>
                  <a:lnTo>
                    <a:pt x="478" y="174"/>
                  </a:lnTo>
                  <a:lnTo>
                    <a:pt x="468" y="164"/>
                  </a:lnTo>
                  <a:lnTo>
                    <a:pt x="462" y="154"/>
                  </a:lnTo>
                  <a:lnTo>
                    <a:pt x="462" y="140"/>
                  </a:lnTo>
                  <a:lnTo>
                    <a:pt x="464" y="125"/>
                  </a:lnTo>
                  <a:lnTo>
                    <a:pt x="464" y="117"/>
                  </a:lnTo>
                  <a:lnTo>
                    <a:pt x="455" y="96"/>
                  </a:lnTo>
                  <a:lnTo>
                    <a:pt x="439" y="82"/>
                  </a:lnTo>
                  <a:lnTo>
                    <a:pt x="432" y="68"/>
                  </a:lnTo>
                  <a:lnTo>
                    <a:pt x="430" y="58"/>
                  </a:lnTo>
                  <a:lnTo>
                    <a:pt x="427" y="53"/>
                  </a:lnTo>
                  <a:lnTo>
                    <a:pt x="405" y="39"/>
                  </a:lnTo>
                  <a:lnTo>
                    <a:pt x="398" y="26"/>
                  </a:lnTo>
                  <a:lnTo>
                    <a:pt x="388" y="8"/>
                  </a:lnTo>
                  <a:lnTo>
                    <a:pt x="380" y="2"/>
                  </a:lnTo>
                  <a:lnTo>
                    <a:pt x="370" y="0"/>
                  </a:lnTo>
                  <a:lnTo>
                    <a:pt x="361" y="4"/>
                  </a:lnTo>
                  <a:lnTo>
                    <a:pt x="350" y="12"/>
                  </a:lnTo>
                  <a:lnTo>
                    <a:pt x="345" y="14"/>
                  </a:lnTo>
                  <a:lnTo>
                    <a:pt x="327" y="14"/>
                  </a:lnTo>
                  <a:lnTo>
                    <a:pt x="316" y="16"/>
                  </a:lnTo>
                  <a:lnTo>
                    <a:pt x="307" y="25"/>
                  </a:lnTo>
                  <a:lnTo>
                    <a:pt x="292" y="29"/>
                  </a:lnTo>
                  <a:lnTo>
                    <a:pt x="277" y="28"/>
                  </a:lnTo>
                  <a:lnTo>
                    <a:pt x="268" y="21"/>
                  </a:lnTo>
                  <a:lnTo>
                    <a:pt x="251" y="12"/>
                  </a:lnTo>
                  <a:lnTo>
                    <a:pt x="238" y="16"/>
                  </a:lnTo>
                  <a:lnTo>
                    <a:pt x="220" y="23"/>
                  </a:lnTo>
                  <a:lnTo>
                    <a:pt x="206" y="25"/>
                  </a:lnTo>
                  <a:lnTo>
                    <a:pt x="194" y="21"/>
                  </a:lnTo>
                  <a:lnTo>
                    <a:pt x="181" y="14"/>
                  </a:lnTo>
                  <a:lnTo>
                    <a:pt x="163" y="19"/>
                  </a:lnTo>
                  <a:lnTo>
                    <a:pt x="151" y="25"/>
                  </a:lnTo>
                  <a:lnTo>
                    <a:pt x="147" y="26"/>
                  </a:lnTo>
                  <a:lnTo>
                    <a:pt x="144" y="28"/>
                  </a:lnTo>
                  <a:lnTo>
                    <a:pt x="140" y="29"/>
                  </a:lnTo>
                  <a:lnTo>
                    <a:pt x="144" y="33"/>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3" name="Freeform 487"/>
            <p:cNvSpPr>
              <a:spLocks/>
            </p:cNvSpPr>
            <p:nvPr/>
          </p:nvSpPr>
          <p:spPr bwMode="auto">
            <a:xfrm>
              <a:off x="3391" y="2517"/>
              <a:ext cx="438" cy="241"/>
            </a:xfrm>
            <a:custGeom>
              <a:avLst/>
              <a:gdLst>
                <a:gd name="T0" fmla="*/ 2 w 421"/>
                <a:gd name="T1" fmla="*/ 161 h 254"/>
                <a:gd name="T2" fmla="*/ 15 w 421"/>
                <a:gd name="T3" fmla="*/ 172 h 254"/>
                <a:gd name="T4" fmla="*/ 13 w 421"/>
                <a:gd name="T5" fmla="*/ 178 h 254"/>
                <a:gd name="T6" fmla="*/ 17 w 421"/>
                <a:gd name="T7" fmla="*/ 189 h 254"/>
                <a:gd name="T8" fmla="*/ 28 w 421"/>
                <a:gd name="T9" fmla="*/ 189 h 254"/>
                <a:gd name="T10" fmla="*/ 70 w 421"/>
                <a:gd name="T11" fmla="*/ 230 h 254"/>
                <a:gd name="T12" fmla="*/ 83 w 421"/>
                <a:gd name="T13" fmla="*/ 232 h 254"/>
                <a:gd name="T14" fmla="*/ 117 w 421"/>
                <a:gd name="T15" fmla="*/ 254 h 254"/>
                <a:gd name="T16" fmla="*/ 133 w 421"/>
                <a:gd name="T17" fmla="*/ 241 h 254"/>
                <a:gd name="T18" fmla="*/ 157 w 421"/>
                <a:gd name="T19" fmla="*/ 243 h 254"/>
                <a:gd name="T20" fmla="*/ 165 w 421"/>
                <a:gd name="T21" fmla="*/ 248 h 254"/>
                <a:gd name="T22" fmla="*/ 183 w 421"/>
                <a:gd name="T23" fmla="*/ 241 h 254"/>
                <a:gd name="T24" fmla="*/ 220 w 421"/>
                <a:gd name="T25" fmla="*/ 226 h 254"/>
                <a:gd name="T26" fmla="*/ 264 w 421"/>
                <a:gd name="T27" fmla="*/ 219 h 254"/>
                <a:gd name="T28" fmla="*/ 282 w 421"/>
                <a:gd name="T29" fmla="*/ 222 h 254"/>
                <a:gd name="T30" fmla="*/ 288 w 421"/>
                <a:gd name="T31" fmla="*/ 232 h 254"/>
                <a:gd name="T32" fmla="*/ 303 w 421"/>
                <a:gd name="T33" fmla="*/ 215 h 254"/>
                <a:gd name="T34" fmla="*/ 323 w 421"/>
                <a:gd name="T35" fmla="*/ 208 h 254"/>
                <a:gd name="T36" fmla="*/ 342 w 421"/>
                <a:gd name="T37" fmla="*/ 205 h 254"/>
                <a:gd name="T38" fmla="*/ 375 w 421"/>
                <a:gd name="T39" fmla="*/ 172 h 254"/>
                <a:gd name="T40" fmla="*/ 384 w 421"/>
                <a:gd name="T41" fmla="*/ 152 h 254"/>
                <a:gd name="T42" fmla="*/ 388 w 421"/>
                <a:gd name="T43" fmla="*/ 113 h 254"/>
                <a:gd name="T44" fmla="*/ 392 w 421"/>
                <a:gd name="T45" fmla="*/ 81 h 254"/>
                <a:gd name="T46" fmla="*/ 405 w 421"/>
                <a:gd name="T47" fmla="*/ 80 h 254"/>
                <a:gd name="T48" fmla="*/ 415 w 421"/>
                <a:gd name="T49" fmla="*/ 68 h 254"/>
                <a:gd name="T50" fmla="*/ 421 w 421"/>
                <a:gd name="T51" fmla="*/ 59 h 254"/>
                <a:gd name="T52" fmla="*/ 408 w 421"/>
                <a:gd name="T53" fmla="*/ 50 h 254"/>
                <a:gd name="T54" fmla="*/ 401 w 421"/>
                <a:gd name="T55" fmla="*/ 54 h 254"/>
                <a:gd name="T56" fmla="*/ 382 w 421"/>
                <a:gd name="T57" fmla="*/ 50 h 254"/>
                <a:gd name="T58" fmla="*/ 371 w 421"/>
                <a:gd name="T59" fmla="*/ 35 h 254"/>
                <a:gd name="T60" fmla="*/ 360 w 421"/>
                <a:gd name="T61" fmla="*/ 15 h 254"/>
                <a:gd name="T62" fmla="*/ 347 w 421"/>
                <a:gd name="T63" fmla="*/ 15 h 254"/>
                <a:gd name="T64" fmla="*/ 327 w 421"/>
                <a:gd name="T65" fmla="*/ 0 h 254"/>
                <a:gd name="T66" fmla="*/ 316 w 421"/>
                <a:gd name="T67" fmla="*/ 2 h 254"/>
                <a:gd name="T68" fmla="*/ 275 w 421"/>
                <a:gd name="T69" fmla="*/ 7 h 254"/>
                <a:gd name="T70" fmla="*/ 267 w 421"/>
                <a:gd name="T71" fmla="*/ 19 h 254"/>
                <a:gd name="T72" fmla="*/ 256 w 421"/>
                <a:gd name="T73" fmla="*/ 33 h 254"/>
                <a:gd name="T74" fmla="*/ 241 w 421"/>
                <a:gd name="T75" fmla="*/ 41 h 254"/>
                <a:gd name="T76" fmla="*/ 227 w 421"/>
                <a:gd name="T77" fmla="*/ 44 h 254"/>
                <a:gd name="T78" fmla="*/ 216 w 421"/>
                <a:gd name="T79" fmla="*/ 41 h 254"/>
                <a:gd name="T80" fmla="*/ 207 w 421"/>
                <a:gd name="T81" fmla="*/ 35 h 254"/>
                <a:gd name="T82" fmla="*/ 200 w 421"/>
                <a:gd name="T83" fmla="*/ 33 h 254"/>
                <a:gd name="T84" fmla="*/ 187 w 421"/>
                <a:gd name="T85" fmla="*/ 39 h 254"/>
                <a:gd name="T86" fmla="*/ 170 w 421"/>
                <a:gd name="T87" fmla="*/ 48 h 254"/>
                <a:gd name="T88" fmla="*/ 135 w 421"/>
                <a:gd name="T89" fmla="*/ 63 h 254"/>
                <a:gd name="T90" fmla="*/ 120 w 421"/>
                <a:gd name="T91" fmla="*/ 65 h 254"/>
                <a:gd name="T92" fmla="*/ 83 w 421"/>
                <a:gd name="T93" fmla="*/ 63 h 254"/>
                <a:gd name="T94" fmla="*/ 78 w 421"/>
                <a:gd name="T95" fmla="*/ 61 h 254"/>
                <a:gd name="T96" fmla="*/ 68 w 421"/>
                <a:gd name="T97" fmla="*/ 46 h 254"/>
                <a:gd name="T98" fmla="*/ 56 w 421"/>
                <a:gd name="T99" fmla="*/ 39 h 254"/>
                <a:gd name="T100" fmla="*/ 52 w 421"/>
                <a:gd name="T101" fmla="*/ 44 h 254"/>
                <a:gd name="T102" fmla="*/ 50 w 421"/>
                <a:gd name="T103" fmla="*/ 59 h 254"/>
                <a:gd name="T104" fmla="*/ 43 w 421"/>
                <a:gd name="T105" fmla="*/ 74 h 254"/>
                <a:gd name="T106" fmla="*/ 30 w 421"/>
                <a:gd name="T107" fmla="*/ 74 h 254"/>
                <a:gd name="T108" fmla="*/ 26 w 421"/>
                <a:gd name="T109" fmla="*/ 78 h 254"/>
                <a:gd name="T110" fmla="*/ 33 w 421"/>
                <a:gd name="T111" fmla="*/ 93 h 254"/>
                <a:gd name="T112" fmla="*/ 31 w 421"/>
                <a:gd name="T113" fmla="*/ 108 h 254"/>
                <a:gd name="T114" fmla="*/ 22 w 421"/>
                <a:gd name="T115" fmla="*/ 122 h 254"/>
                <a:gd name="T116" fmla="*/ 15 w 421"/>
                <a:gd name="T117" fmla="*/ 128 h 254"/>
                <a:gd name="T118" fmla="*/ 4 w 421"/>
                <a:gd name="T119" fmla="*/ 133 h 254"/>
                <a:gd name="T120" fmla="*/ 0 w 421"/>
                <a:gd name="T121" fmla="*/ 145 h 254"/>
                <a:gd name="T122" fmla="*/ 2 w 421"/>
                <a:gd name="T123" fmla="*/ 16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1" h="254">
                  <a:moveTo>
                    <a:pt x="2" y="161"/>
                  </a:moveTo>
                  <a:lnTo>
                    <a:pt x="15" y="172"/>
                  </a:lnTo>
                  <a:lnTo>
                    <a:pt x="13" y="178"/>
                  </a:lnTo>
                  <a:lnTo>
                    <a:pt x="17" y="189"/>
                  </a:lnTo>
                  <a:lnTo>
                    <a:pt x="28" y="189"/>
                  </a:lnTo>
                  <a:lnTo>
                    <a:pt x="70" y="230"/>
                  </a:lnTo>
                  <a:lnTo>
                    <a:pt x="83" y="232"/>
                  </a:lnTo>
                  <a:lnTo>
                    <a:pt x="117" y="254"/>
                  </a:lnTo>
                  <a:lnTo>
                    <a:pt x="133" y="241"/>
                  </a:lnTo>
                  <a:lnTo>
                    <a:pt x="157" y="243"/>
                  </a:lnTo>
                  <a:lnTo>
                    <a:pt x="165" y="248"/>
                  </a:lnTo>
                  <a:lnTo>
                    <a:pt x="183" y="241"/>
                  </a:lnTo>
                  <a:lnTo>
                    <a:pt x="220" y="226"/>
                  </a:lnTo>
                  <a:lnTo>
                    <a:pt x="264" y="219"/>
                  </a:lnTo>
                  <a:lnTo>
                    <a:pt x="282" y="222"/>
                  </a:lnTo>
                  <a:lnTo>
                    <a:pt x="288" y="232"/>
                  </a:lnTo>
                  <a:lnTo>
                    <a:pt x="303" y="215"/>
                  </a:lnTo>
                  <a:lnTo>
                    <a:pt x="323" y="208"/>
                  </a:lnTo>
                  <a:lnTo>
                    <a:pt x="342" y="205"/>
                  </a:lnTo>
                  <a:lnTo>
                    <a:pt x="375" y="172"/>
                  </a:lnTo>
                  <a:lnTo>
                    <a:pt x="384" y="152"/>
                  </a:lnTo>
                  <a:lnTo>
                    <a:pt x="388" y="113"/>
                  </a:lnTo>
                  <a:lnTo>
                    <a:pt x="392" y="81"/>
                  </a:lnTo>
                  <a:lnTo>
                    <a:pt x="405" y="80"/>
                  </a:lnTo>
                  <a:lnTo>
                    <a:pt x="415" y="68"/>
                  </a:lnTo>
                  <a:lnTo>
                    <a:pt x="421" y="59"/>
                  </a:lnTo>
                  <a:lnTo>
                    <a:pt x="408" y="50"/>
                  </a:lnTo>
                  <a:lnTo>
                    <a:pt x="401" y="54"/>
                  </a:lnTo>
                  <a:lnTo>
                    <a:pt x="382" y="50"/>
                  </a:lnTo>
                  <a:lnTo>
                    <a:pt x="371" y="35"/>
                  </a:lnTo>
                  <a:lnTo>
                    <a:pt x="360" y="15"/>
                  </a:lnTo>
                  <a:lnTo>
                    <a:pt x="347" y="15"/>
                  </a:lnTo>
                  <a:lnTo>
                    <a:pt x="327" y="0"/>
                  </a:lnTo>
                  <a:lnTo>
                    <a:pt x="316" y="2"/>
                  </a:lnTo>
                  <a:lnTo>
                    <a:pt x="275" y="7"/>
                  </a:lnTo>
                  <a:lnTo>
                    <a:pt x="267" y="19"/>
                  </a:lnTo>
                  <a:lnTo>
                    <a:pt x="256" y="33"/>
                  </a:lnTo>
                  <a:lnTo>
                    <a:pt x="241" y="41"/>
                  </a:lnTo>
                  <a:lnTo>
                    <a:pt x="227" y="44"/>
                  </a:lnTo>
                  <a:lnTo>
                    <a:pt x="216" y="41"/>
                  </a:lnTo>
                  <a:lnTo>
                    <a:pt x="207" y="35"/>
                  </a:lnTo>
                  <a:lnTo>
                    <a:pt x="200" y="33"/>
                  </a:lnTo>
                  <a:lnTo>
                    <a:pt x="187" y="39"/>
                  </a:lnTo>
                  <a:lnTo>
                    <a:pt x="170" y="48"/>
                  </a:lnTo>
                  <a:lnTo>
                    <a:pt x="135" y="63"/>
                  </a:lnTo>
                  <a:lnTo>
                    <a:pt x="120" y="65"/>
                  </a:lnTo>
                  <a:lnTo>
                    <a:pt x="83" y="63"/>
                  </a:lnTo>
                  <a:lnTo>
                    <a:pt x="78" y="61"/>
                  </a:lnTo>
                  <a:lnTo>
                    <a:pt x="68" y="46"/>
                  </a:lnTo>
                  <a:lnTo>
                    <a:pt x="56" y="39"/>
                  </a:lnTo>
                  <a:lnTo>
                    <a:pt x="52" y="44"/>
                  </a:lnTo>
                  <a:lnTo>
                    <a:pt x="50" y="59"/>
                  </a:lnTo>
                  <a:lnTo>
                    <a:pt x="43" y="74"/>
                  </a:lnTo>
                  <a:lnTo>
                    <a:pt x="30" y="74"/>
                  </a:lnTo>
                  <a:lnTo>
                    <a:pt x="26" y="78"/>
                  </a:lnTo>
                  <a:lnTo>
                    <a:pt x="33" y="93"/>
                  </a:lnTo>
                  <a:lnTo>
                    <a:pt x="31" y="108"/>
                  </a:lnTo>
                  <a:lnTo>
                    <a:pt x="22" y="122"/>
                  </a:lnTo>
                  <a:lnTo>
                    <a:pt x="15" y="128"/>
                  </a:lnTo>
                  <a:lnTo>
                    <a:pt x="4" y="133"/>
                  </a:lnTo>
                  <a:lnTo>
                    <a:pt x="0" y="145"/>
                  </a:lnTo>
                  <a:lnTo>
                    <a:pt x="2" y="161"/>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4" name="Freeform 488"/>
            <p:cNvSpPr>
              <a:spLocks/>
            </p:cNvSpPr>
            <p:nvPr/>
          </p:nvSpPr>
          <p:spPr bwMode="auto">
            <a:xfrm>
              <a:off x="3434" y="2429"/>
              <a:ext cx="370" cy="149"/>
            </a:xfrm>
            <a:custGeom>
              <a:avLst/>
              <a:gdLst>
                <a:gd name="T0" fmla="*/ 120 w 353"/>
                <a:gd name="T1" fmla="*/ 8 h 157"/>
                <a:gd name="T2" fmla="*/ 132 w 353"/>
                <a:gd name="T3" fmla="*/ 0 h 157"/>
                <a:gd name="T4" fmla="*/ 146 w 353"/>
                <a:gd name="T5" fmla="*/ 0 h 157"/>
                <a:gd name="T6" fmla="*/ 152 w 353"/>
                <a:gd name="T7" fmla="*/ 11 h 157"/>
                <a:gd name="T8" fmla="*/ 165 w 353"/>
                <a:gd name="T9" fmla="*/ 2 h 157"/>
                <a:gd name="T10" fmla="*/ 178 w 353"/>
                <a:gd name="T11" fmla="*/ 6 h 157"/>
                <a:gd name="T12" fmla="*/ 199 w 353"/>
                <a:gd name="T13" fmla="*/ 27 h 157"/>
                <a:gd name="T14" fmla="*/ 221 w 353"/>
                <a:gd name="T15" fmla="*/ 36 h 157"/>
                <a:gd name="T16" fmla="*/ 229 w 353"/>
                <a:gd name="T17" fmla="*/ 38 h 157"/>
                <a:gd name="T18" fmla="*/ 240 w 353"/>
                <a:gd name="T19" fmla="*/ 29 h 157"/>
                <a:gd name="T20" fmla="*/ 251 w 353"/>
                <a:gd name="T21" fmla="*/ 25 h 157"/>
                <a:gd name="T22" fmla="*/ 281 w 353"/>
                <a:gd name="T23" fmla="*/ 33 h 157"/>
                <a:gd name="T24" fmla="*/ 321 w 353"/>
                <a:gd name="T25" fmla="*/ 42 h 157"/>
                <a:gd name="T26" fmla="*/ 353 w 353"/>
                <a:gd name="T27" fmla="*/ 51 h 157"/>
                <a:gd name="T28" fmla="*/ 342 w 353"/>
                <a:gd name="T29" fmla="*/ 64 h 157"/>
                <a:gd name="T30" fmla="*/ 321 w 353"/>
                <a:gd name="T31" fmla="*/ 85 h 157"/>
                <a:gd name="T32" fmla="*/ 316 w 353"/>
                <a:gd name="T33" fmla="*/ 92 h 157"/>
                <a:gd name="T34" fmla="*/ 318 w 353"/>
                <a:gd name="T35" fmla="*/ 107 h 157"/>
                <a:gd name="T36" fmla="*/ 303 w 353"/>
                <a:gd name="T37" fmla="*/ 107 h 157"/>
                <a:gd name="T38" fmla="*/ 288 w 353"/>
                <a:gd name="T39" fmla="*/ 96 h 157"/>
                <a:gd name="T40" fmla="*/ 273 w 353"/>
                <a:gd name="T41" fmla="*/ 92 h 157"/>
                <a:gd name="T42" fmla="*/ 234 w 353"/>
                <a:gd name="T43" fmla="*/ 101 h 157"/>
                <a:gd name="T44" fmla="*/ 224 w 353"/>
                <a:gd name="T45" fmla="*/ 110 h 157"/>
                <a:gd name="T46" fmla="*/ 213 w 353"/>
                <a:gd name="T47" fmla="*/ 124 h 157"/>
                <a:gd name="T48" fmla="*/ 192 w 353"/>
                <a:gd name="T49" fmla="*/ 137 h 157"/>
                <a:gd name="T50" fmla="*/ 179 w 353"/>
                <a:gd name="T51" fmla="*/ 137 h 157"/>
                <a:gd name="T52" fmla="*/ 166 w 353"/>
                <a:gd name="T53" fmla="*/ 126 h 157"/>
                <a:gd name="T54" fmla="*/ 155 w 353"/>
                <a:gd name="T55" fmla="*/ 126 h 157"/>
                <a:gd name="T56" fmla="*/ 115 w 353"/>
                <a:gd name="T57" fmla="*/ 145 h 157"/>
                <a:gd name="T58" fmla="*/ 96 w 353"/>
                <a:gd name="T59" fmla="*/ 155 h 157"/>
                <a:gd name="T60" fmla="*/ 82 w 353"/>
                <a:gd name="T61" fmla="*/ 157 h 157"/>
                <a:gd name="T62" fmla="*/ 50 w 353"/>
                <a:gd name="T63" fmla="*/ 155 h 157"/>
                <a:gd name="T64" fmla="*/ 37 w 353"/>
                <a:gd name="T65" fmla="*/ 155 h 157"/>
                <a:gd name="T66" fmla="*/ 27 w 353"/>
                <a:gd name="T67" fmla="*/ 140 h 157"/>
                <a:gd name="T68" fmla="*/ 22 w 353"/>
                <a:gd name="T69" fmla="*/ 135 h 157"/>
                <a:gd name="T70" fmla="*/ 11 w 353"/>
                <a:gd name="T71" fmla="*/ 129 h 157"/>
                <a:gd name="T72" fmla="*/ 5 w 353"/>
                <a:gd name="T73" fmla="*/ 122 h 157"/>
                <a:gd name="T74" fmla="*/ 0 w 353"/>
                <a:gd name="T75" fmla="*/ 107 h 157"/>
                <a:gd name="T76" fmla="*/ 0 w 353"/>
                <a:gd name="T77" fmla="*/ 90 h 157"/>
                <a:gd name="T78" fmla="*/ 34 w 353"/>
                <a:gd name="T79" fmla="*/ 76 h 157"/>
                <a:gd name="T80" fmla="*/ 72 w 353"/>
                <a:gd name="T81" fmla="*/ 76 h 157"/>
                <a:gd name="T82" fmla="*/ 95 w 353"/>
                <a:gd name="T83" fmla="*/ 55 h 157"/>
                <a:gd name="T84" fmla="*/ 98 w 353"/>
                <a:gd name="T85" fmla="*/ 19 h 157"/>
                <a:gd name="T86" fmla="*/ 120 w 353"/>
                <a:gd name="T87" fmla="*/ 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3" h="157">
                  <a:moveTo>
                    <a:pt x="120" y="8"/>
                  </a:moveTo>
                  <a:lnTo>
                    <a:pt x="132" y="0"/>
                  </a:lnTo>
                  <a:lnTo>
                    <a:pt x="146" y="0"/>
                  </a:lnTo>
                  <a:lnTo>
                    <a:pt x="152" y="11"/>
                  </a:lnTo>
                  <a:lnTo>
                    <a:pt x="165" y="2"/>
                  </a:lnTo>
                  <a:lnTo>
                    <a:pt x="178" y="6"/>
                  </a:lnTo>
                  <a:lnTo>
                    <a:pt x="199" y="27"/>
                  </a:lnTo>
                  <a:lnTo>
                    <a:pt x="221" y="36"/>
                  </a:lnTo>
                  <a:lnTo>
                    <a:pt x="229" y="38"/>
                  </a:lnTo>
                  <a:lnTo>
                    <a:pt x="240" y="29"/>
                  </a:lnTo>
                  <a:lnTo>
                    <a:pt x="251" y="25"/>
                  </a:lnTo>
                  <a:lnTo>
                    <a:pt x="281" y="33"/>
                  </a:lnTo>
                  <a:lnTo>
                    <a:pt x="321" y="42"/>
                  </a:lnTo>
                  <a:lnTo>
                    <a:pt x="353" y="51"/>
                  </a:lnTo>
                  <a:lnTo>
                    <a:pt x="342" y="64"/>
                  </a:lnTo>
                  <a:lnTo>
                    <a:pt x="321" y="85"/>
                  </a:lnTo>
                  <a:lnTo>
                    <a:pt x="316" y="92"/>
                  </a:lnTo>
                  <a:lnTo>
                    <a:pt x="318" y="107"/>
                  </a:lnTo>
                  <a:lnTo>
                    <a:pt x="303" y="107"/>
                  </a:lnTo>
                  <a:lnTo>
                    <a:pt x="288" y="96"/>
                  </a:lnTo>
                  <a:lnTo>
                    <a:pt x="273" y="92"/>
                  </a:lnTo>
                  <a:lnTo>
                    <a:pt x="234" y="101"/>
                  </a:lnTo>
                  <a:lnTo>
                    <a:pt x="224" y="110"/>
                  </a:lnTo>
                  <a:lnTo>
                    <a:pt x="213" y="124"/>
                  </a:lnTo>
                  <a:lnTo>
                    <a:pt x="192" y="137"/>
                  </a:lnTo>
                  <a:lnTo>
                    <a:pt x="179" y="137"/>
                  </a:lnTo>
                  <a:lnTo>
                    <a:pt x="166" y="126"/>
                  </a:lnTo>
                  <a:lnTo>
                    <a:pt x="155" y="126"/>
                  </a:lnTo>
                  <a:lnTo>
                    <a:pt x="115" y="145"/>
                  </a:lnTo>
                  <a:lnTo>
                    <a:pt x="96" y="155"/>
                  </a:lnTo>
                  <a:lnTo>
                    <a:pt x="82" y="157"/>
                  </a:lnTo>
                  <a:lnTo>
                    <a:pt x="50" y="155"/>
                  </a:lnTo>
                  <a:lnTo>
                    <a:pt x="37" y="155"/>
                  </a:lnTo>
                  <a:lnTo>
                    <a:pt x="27" y="140"/>
                  </a:lnTo>
                  <a:lnTo>
                    <a:pt x="22" y="135"/>
                  </a:lnTo>
                  <a:lnTo>
                    <a:pt x="11" y="129"/>
                  </a:lnTo>
                  <a:lnTo>
                    <a:pt x="5" y="122"/>
                  </a:lnTo>
                  <a:lnTo>
                    <a:pt x="0" y="107"/>
                  </a:lnTo>
                  <a:lnTo>
                    <a:pt x="0" y="90"/>
                  </a:lnTo>
                  <a:lnTo>
                    <a:pt x="34" y="76"/>
                  </a:lnTo>
                  <a:lnTo>
                    <a:pt x="72" y="76"/>
                  </a:lnTo>
                  <a:lnTo>
                    <a:pt x="95" y="55"/>
                  </a:lnTo>
                  <a:lnTo>
                    <a:pt x="98" y="19"/>
                  </a:lnTo>
                  <a:lnTo>
                    <a:pt x="120" y="8"/>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5" name="Freeform 489"/>
            <p:cNvSpPr>
              <a:spLocks/>
            </p:cNvSpPr>
            <p:nvPr/>
          </p:nvSpPr>
          <p:spPr bwMode="auto">
            <a:xfrm>
              <a:off x="3160" y="2304"/>
              <a:ext cx="419" cy="213"/>
            </a:xfrm>
            <a:custGeom>
              <a:avLst/>
              <a:gdLst>
                <a:gd name="T0" fmla="*/ 99 w 402"/>
                <a:gd name="T1" fmla="*/ 211 h 220"/>
                <a:gd name="T2" fmla="*/ 96 w 402"/>
                <a:gd name="T3" fmla="*/ 199 h 220"/>
                <a:gd name="T4" fmla="*/ 83 w 402"/>
                <a:gd name="T5" fmla="*/ 192 h 220"/>
                <a:gd name="T6" fmla="*/ 36 w 402"/>
                <a:gd name="T7" fmla="*/ 149 h 220"/>
                <a:gd name="T8" fmla="*/ 33 w 402"/>
                <a:gd name="T9" fmla="*/ 126 h 220"/>
                <a:gd name="T10" fmla="*/ 12 w 402"/>
                <a:gd name="T11" fmla="*/ 123 h 220"/>
                <a:gd name="T12" fmla="*/ 13 w 402"/>
                <a:gd name="T13" fmla="*/ 102 h 220"/>
                <a:gd name="T14" fmla="*/ 6 w 402"/>
                <a:gd name="T15" fmla="*/ 82 h 220"/>
                <a:gd name="T16" fmla="*/ 0 w 402"/>
                <a:gd name="T17" fmla="*/ 71 h 220"/>
                <a:gd name="T18" fmla="*/ 4 w 402"/>
                <a:gd name="T19" fmla="*/ 59 h 220"/>
                <a:gd name="T20" fmla="*/ 19 w 402"/>
                <a:gd name="T21" fmla="*/ 59 h 220"/>
                <a:gd name="T22" fmla="*/ 45 w 402"/>
                <a:gd name="T23" fmla="*/ 53 h 220"/>
                <a:gd name="T24" fmla="*/ 126 w 402"/>
                <a:gd name="T25" fmla="*/ 11 h 220"/>
                <a:gd name="T26" fmla="*/ 143 w 402"/>
                <a:gd name="T27" fmla="*/ 0 h 220"/>
                <a:gd name="T28" fmla="*/ 154 w 402"/>
                <a:gd name="T29" fmla="*/ 13 h 220"/>
                <a:gd name="T30" fmla="*/ 171 w 402"/>
                <a:gd name="T31" fmla="*/ 6 h 220"/>
                <a:gd name="T32" fmla="*/ 187 w 402"/>
                <a:gd name="T33" fmla="*/ 7 h 220"/>
                <a:gd name="T34" fmla="*/ 197 w 402"/>
                <a:gd name="T35" fmla="*/ 14 h 220"/>
                <a:gd name="T36" fmla="*/ 197 w 402"/>
                <a:gd name="T37" fmla="*/ 33 h 220"/>
                <a:gd name="T38" fmla="*/ 226 w 402"/>
                <a:gd name="T39" fmla="*/ 52 h 220"/>
                <a:gd name="T40" fmla="*/ 228 w 402"/>
                <a:gd name="T41" fmla="*/ 65 h 220"/>
                <a:gd name="T42" fmla="*/ 239 w 402"/>
                <a:gd name="T43" fmla="*/ 80 h 220"/>
                <a:gd name="T44" fmla="*/ 247 w 402"/>
                <a:gd name="T45" fmla="*/ 86 h 220"/>
                <a:gd name="T46" fmla="*/ 252 w 402"/>
                <a:gd name="T47" fmla="*/ 80 h 220"/>
                <a:gd name="T48" fmla="*/ 273 w 402"/>
                <a:gd name="T49" fmla="*/ 69 h 220"/>
                <a:gd name="T50" fmla="*/ 282 w 402"/>
                <a:gd name="T51" fmla="*/ 71 h 220"/>
                <a:gd name="T52" fmla="*/ 308 w 402"/>
                <a:gd name="T53" fmla="*/ 100 h 220"/>
                <a:gd name="T54" fmla="*/ 314 w 402"/>
                <a:gd name="T55" fmla="*/ 99 h 220"/>
                <a:gd name="T56" fmla="*/ 341 w 402"/>
                <a:gd name="T57" fmla="*/ 115 h 220"/>
                <a:gd name="T58" fmla="*/ 381 w 402"/>
                <a:gd name="T59" fmla="*/ 113 h 220"/>
                <a:gd name="T60" fmla="*/ 402 w 402"/>
                <a:gd name="T61" fmla="*/ 126 h 220"/>
                <a:gd name="T62" fmla="*/ 358 w 402"/>
                <a:gd name="T63" fmla="*/ 151 h 220"/>
                <a:gd name="T64" fmla="*/ 356 w 402"/>
                <a:gd name="T65" fmla="*/ 181 h 220"/>
                <a:gd name="T66" fmla="*/ 329 w 402"/>
                <a:gd name="T67" fmla="*/ 206 h 220"/>
                <a:gd name="T68" fmla="*/ 300 w 402"/>
                <a:gd name="T69" fmla="*/ 205 h 220"/>
                <a:gd name="T70" fmla="*/ 284 w 402"/>
                <a:gd name="T71" fmla="*/ 212 h 220"/>
                <a:gd name="T72" fmla="*/ 264 w 402"/>
                <a:gd name="T73" fmla="*/ 220 h 220"/>
                <a:gd name="T74" fmla="*/ 239 w 402"/>
                <a:gd name="T75" fmla="*/ 204 h 220"/>
                <a:gd name="T76" fmla="*/ 223 w 402"/>
                <a:gd name="T77" fmla="*/ 212 h 220"/>
                <a:gd name="T78" fmla="*/ 209 w 402"/>
                <a:gd name="T79" fmla="*/ 215 h 220"/>
                <a:gd name="T80" fmla="*/ 197 w 402"/>
                <a:gd name="T81" fmla="*/ 196 h 220"/>
                <a:gd name="T82" fmla="*/ 162 w 402"/>
                <a:gd name="T83" fmla="*/ 197 h 220"/>
                <a:gd name="T84" fmla="*/ 151 w 402"/>
                <a:gd name="T85" fmla="*/ 205 h 220"/>
                <a:gd name="T86" fmla="*/ 143 w 402"/>
                <a:gd name="T87" fmla="*/ 213 h 220"/>
                <a:gd name="T88" fmla="*/ 128 w 402"/>
                <a:gd name="T89" fmla="*/ 213 h 220"/>
                <a:gd name="T90" fmla="*/ 112 w 402"/>
                <a:gd name="T91" fmla="*/ 216 h 220"/>
                <a:gd name="T92" fmla="*/ 99 w 402"/>
                <a:gd name="T93" fmla="*/ 2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2" h="220">
                  <a:moveTo>
                    <a:pt x="99" y="211"/>
                  </a:moveTo>
                  <a:lnTo>
                    <a:pt x="96" y="199"/>
                  </a:lnTo>
                  <a:lnTo>
                    <a:pt x="83" y="192"/>
                  </a:lnTo>
                  <a:lnTo>
                    <a:pt x="36" y="149"/>
                  </a:lnTo>
                  <a:lnTo>
                    <a:pt x="33" y="126"/>
                  </a:lnTo>
                  <a:lnTo>
                    <a:pt x="12" y="123"/>
                  </a:lnTo>
                  <a:lnTo>
                    <a:pt x="13" y="102"/>
                  </a:lnTo>
                  <a:lnTo>
                    <a:pt x="6" y="82"/>
                  </a:lnTo>
                  <a:lnTo>
                    <a:pt x="0" y="71"/>
                  </a:lnTo>
                  <a:lnTo>
                    <a:pt x="4" y="59"/>
                  </a:lnTo>
                  <a:lnTo>
                    <a:pt x="19" y="59"/>
                  </a:lnTo>
                  <a:lnTo>
                    <a:pt x="45" y="53"/>
                  </a:lnTo>
                  <a:lnTo>
                    <a:pt x="126" y="11"/>
                  </a:lnTo>
                  <a:lnTo>
                    <a:pt x="143" y="0"/>
                  </a:lnTo>
                  <a:lnTo>
                    <a:pt x="154" y="13"/>
                  </a:lnTo>
                  <a:lnTo>
                    <a:pt x="171" y="6"/>
                  </a:lnTo>
                  <a:lnTo>
                    <a:pt x="187" y="7"/>
                  </a:lnTo>
                  <a:lnTo>
                    <a:pt x="197" y="14"/>
                  </a:lnTo>
                  <a:lnTo>
                    <a:pt x="197" y="33"/>
                  </a:lnTo>
                  <a:lnTo>
                    <a:pt x="226" y="52"/>
                  </a:lnTo>
                  <a:lnTo>
                    <a:pt x="228" y="65"/>
                  </a:lnTo>
                  <a:lnTo>
                    <a:pt x="239" y="80"/>
                  </a:lnTo>
                  <a:lnTo>
                    <a:pt x="247" y="86"/>
                  </a:lnTo>
                  <a:lnTo>
                    <a:pt x="252" y="80"/>
                  </a:lnTo>
                  <a:lnTo>
                    <a:pt x="273" y="69"/>
                  </a:lnTo>
                  <a:lnTo>
                    <a:pt x="282" y="71"/>
                  </a:lnTo>
                  <a:lnTo>
                    <a:pt x="308" y="100"/>
                  </a:lnTo>
                  <a:lnTo>
                    <a:pt x="314" y="99"/>
                  </a:lnTo>
                  <a:lnTo>
                    <a:pt x="341" y="115"/>
                  </a:lnTo>
                  <a:lnTo>
                    <a:pt x="381" y="113"/>
                  </a:lnTo>
                  <a:lnTo>
                    <a:pt x="402" y="126"/>
                  </a:lnTo>
                  <a:lnTo>
                    <a:pt x="358" y="151"/>
                  </a:lnTo>
                  <a:lnTo>
                    <a:pt x="356" y="181"/>
                  </a:lnTo>
                  <a:lnTo>
                    <a:pt x="329" y="206"/>
                  </a:lnTo>
                  <a:lnTo>
                    <a:pt x="300" y="205"/>
                  </a:lnTo>
                  <a:lnTo>
                    <a:pt x="284" y="212"/>
                  </a:lnTo>
                  <a:lnTo>
                    <a:pt x="264" y="220"/>
                  </a:lnTo>
                  <a:lnTo>
                    <a:pt x="239" y="204"/>
                  </a:lnTo>
                  <a:lnTo>
                    <a:pt x="223" y="212"/>
                  </a:lnTo>
                  <a:lnTo>
                    <a:pt x="209" y="215"/>
                  </a:lnTo>
                  <a:lnTo>
                    <a:pt x="197" y="196"/>
                  </a:lnTo>
                  <a:lnTo>
                    <a:pt x="162" y="197"/>
                  </a:lnTo>
                  <a:lnTo>
                    <a:pt x="151" y="205"/>
                  </a:lnTo>
                  <a:lnTo>
                    <a:pt x="143" y="213"/>
                  </a:lnTo>
                  <a:lnTo>
                    <a:pt x="128" y="213"/>
                  </a:lnTo>
                  <a:lnTo>
                    <a:pt x="112" y="216"/>
                  </a:lnTo>
                  <a:lnTo>
                    <a:pt x="99" y="211"/>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6" name="Freeform 490"/>
            <p:cNvSpPr>
              <a:spLocks/>
            </p:cNvSpPr>
            <p:nvPr/>
          </p:nvSpPr>
          <p:spPr bwMode="auto">
            <a:xfrm>
              <a:off x="3787" y="1581"/>
              <a:ext cx="226" cy="181"/>
            </a:xfrm>
            <a:custGeom>
              <a:avLst/>
              <a:gdLst>
                <a:gd name="T0" fmla="*/ 207 w 214"/>
                <a:gd name="T1" fmla="*/ 180 h 191"/>
                <a:gd name="T2" fmla="*/ 205 w 214"/>
                <a:gd name="T3" fmla="*/ 169 h 191"/>
                <a:gd name="T4" fmla="*/ 212 w 214"/>
                <a:gd name="T5" fmla="*/ 159 h 191"/>
                <a:gd name="T6" fmla="*/ 212 w 214"/>
                <a:gd name="T7" fmla="*/ 145 h 191"/>
                <a:gd name="T8" fmla="*/ 197 w 214"/>
                <a:gd name="T9" fmla="*/ 134 h 191"/>
                <a:gd name="T10" fmla="*/ 192 w 214"/>
                <a:gd name="T11" fmla="*/ 128 h 191"/>
                <a:gd name="T12" fmla="*/ 188 w 214"/>
                <a:gd name="T13" fmla="*/ 109 h 191"/>
                <a:gd name="T14" fmla="*/ 179 w 214"/>
                <a:gd name="T15" fmla="*/ 93 h 191"/>
                <a:gd name="T16" fmla="*/ 169 w 214"/>
                <a:gd name="T17" fmla="*/ 80 h 191"/>
                <a:gd name="T18" fmla="*/ 169 w 214"/>
                <a:gd name="T19" fmla="*/ 69 h 191"/>
                <a:gd name="T20" fmla="*/ 175 w 214"/>
                <a:gd name="T21" fmla="*/ 61 h 191"/>
                <a:gd name="T22" fmla="*/ 199 w 214"/>
                <a:gd name="T23" fmla="*/ 63 h 191"/>
                <a:gd name="T24" fmla="*/ 208 w 214"/>
                <a:gd name="T25" fmla="*/ 52 h 191"/>
                <a:gd name="T26" fmla="*/ 214 w 214"/>
                <a:gd name="T27" fmla="*/ 24 h 191"/>
                <a:gd name="T28" fmla="*/ 212 w 214"/>
                <a:gd name="T29" fmla="*/ 15 h 191"/>
                <a:gd name="T30" fmla="*/ 201 w 214"/>
                <a:gd name="T31" fmla="*/ 13 h 191"/>
                <a:gd name="T32" fmla="*/ 181 w 214"/>
                <a:gd name="T33" fmla="*/ 15 h 191"/>
                <a:gd name="T34" fmla="*/ 153 w 214"/>
                <a:gd name="T35" fmla="*/ 15 h 191"/>
                <a:gd name="T36" fmla="*/ 132 w 214"/>
                <a:gd name="T37" fmla="*/ 6 h 191"/>
                <a:gd name="T38" fmla="*/ 117 w 214"/>
                <a:gd name="T39" fmla="*/ 2 h 191"/>
                <a:gd name="T40" fmla="*/ 104 w 214"/>
                <a:gd name="T41" fmla="*/ 0 h 191"/>
                <a:gd name="T42" fmla="*/ 91 w 214"/>
                <a:gd name="T43" fmla="*/ 17 h 191"/>
                <a:gd name="T44" fmla="*/ 76 w 214"/>
                <a:gd name="T45" fmla="*/ 28 h 191"/>
                <a:gd name="T46" fmla="*/ 54 w 214"/>
                <a:gd name="T47" fmla="*/ 26 h 191"/>
                <a:gd name="T48" fmla="*/ 41 w 214"/>
                <a:gd name="T49" fmla="*/ 35 h 191"/>
                <a:gd name="T50" fmla="*/ 20 w 214"/>
                <a:gd name="T51" fmla="*/ 56 h 191"/>
                <a:gd name="T52" fmla="*/ 4 w 214"/>
                <a:gd name="T53" fmla="*/ 69 h 191"/>
                <a:gd name="T54" fmla="*/ 0 w 214"/>
                <a:gd name="T55" fmla="*/ 78 h 191"/>
                <a:gd name="T56" fmla="*/ 9 w 214"/>
                <a:gd name="T57" fmla="*/ 95 h 191"/>
                <a:gd name="T58" fmla="*/ 19 w 214"/>
                <a:gd name="T59" fmla="*/ 117 h 191"/>
                <a:gd name="T60" fmla="*/ 30 w 214"/>
                <a:gd name="T61" fmla="*/ 130 h 191"/>
                <a:gd name="T62" fmla="*/ 41 w 214"/>
                <a:gd name="T63" fmla="*/ 126 h 191"/>
                <a:gd name="T64" fmla="*/ 60 w 214"/>
                <a:gd name="T65" fmla="*/ 119 h 191"/>
                <a:gd name="T66" fmla="*/ 58 w 214"/>
                <a:gd name="T67" fmla="*/ 137 h 191"/>
                <a:gd name="T68" fmla="*/ 52 w 214"/>
                <a:gd name="T69" fmla="*/ 159 h 191"/>
                <a:gd name="T70" fmla="*/ 54 w 214"/>
                <a:gd name="T71" fmla="*/ 163 h 191"/>
                <a:gd name="T72" fmla="*/ 63 w 214"/>
                <a:gd name="T73" fmla="*/ 163 h 191"/>
                <a:gd name="T74" fmla="*/ 76 w 214"/>
                <a:gd name="T75" fmla="*/ 159 h 191"/>
                <a:gd name="T76" fmla="*/ 104 w 214"/>
                <a:gd name="T77" fmla="*/ 162 h 191"/>
                <a:gd name="T78" fmla="*/ 112 w 214"/>
                <a:gd name="T79" fmla="*/ 172 h 191"/>
                <a:gd name="T80" fmla="*/ 128 w 214"/>
                <a:gd name="T81" fmla="*/ 178 h 191"/>
                <a:gd name="T82" fmla="*/ 141 w 214"/>
                <a:gd name="T83" fmla="*/ 191 h 191"/>
                <a:gd name="T84" fmla="*/ 150 w 214"/>
                <a:gd name="T85" fmla="*/ 189 h 191"/>
                <a:gd name="T86" fmla="*/ 167 w 214"/>
                <a:gd name="T87" fmla="*/ 180 h 191"/>
                <a:gd name="T88" fmla="*/ 184 w 214"/>
                <a:gd name="T89" fmla="*/ 178 h 191"/>
                <a:gd name="T90" fmla="*/ 207 w 214"/>
                <a:gd name="T91"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 h="191">
                  <a:moveTo>
                    <a:pt x="207" y="180"/>
                  </a:moveTo>
                  <a:lnTo>
                    <a:pt x="205" y="169"/>
                  </a:lnTo>
                  <a:lnTo>
                    <a:pt x="212" y="159"/>
                  </a:lnTo>
                  <a:lnTo>
                    <a:pt x="212" y="145"/>
                  </a:lnTo>
                  <a:lnTo>
                    <a:pt x="197" y="134"/>
                  </a:lnTo>
                  <a:lnTo>
                    <a:pt x="192" y="128"/>
                  </a:lnTo>
                  <a:lnTo>
                    <a:pt x="188" y="109"/>
                  </a:lnTo>
                  <a:lnTo>
                    <a:pt x="179" y="93"/>
                  </a:lnTo>
                  <a:lnTo>
                    <a:pt x="169" y="80"/>
                  </a:lnTo>
                  <a:lnTo>
                    <a:pt x="169" y="69"/>
                  </a:lnTo>
                  <a:lnTo>
                    <a:pt x="175" y="61"/>
                  </a:lnTo>
                  <a:lnTo>
                    <a:pt x="199" y="63"/>
                  </a:lnTo>
                  <a:lnTo>
                    <a:pt x="208" y="52"/>
                  </a:lnTo>
                  <a:lnTo>
                    <a:pt x="214" y="24"/>
                  </a:lnTo>
                  <a:lnTo>
                    <a:pt x="212" y="15"/>
                  </a:lnTo>
                  <a:lnTo>
                    <a:pt x="201" y="13"/>
                  </a:lnTo>
                  <a:lnTo>
                    <a:pt x="181" y="15"/>
                  </a:lnTo>
                  <a:lnTo>
                    <a:pt x="153" y="15"/>
                  </a:lnTo>
                  <a:lnTo>
                    <a:pt x="132" y="6"/>
                  </a:lnTo>
                  <a:lnTo>
                    <a:pt x="117" y="2"/>
                  </a:lnTo>
                  <a:lnTo>
                    <a:pt x="104" y="0"/>
                  </a:lnTo>
                  <a:lnTo>
                    <a:pt x="91" y="17"/>
                  </a:lnTo>
                  <a:lnTo>
                    <a:pt x="76" y="28"/>
                  </a:lnTo>
                  <a:lnTo>
                    <a:pt x="54" y="26"/>
                  </a:lnTo>
                  <a:lnTo>
                    <a:pt x="41" y="35"/>
                  </a:lnTo>
                  <a:lnTo>
                    <a:pt x="20" y="56"/>
                  </a:lnTo>
                  <a:lnTo>
                    <a:pt x="4" y="69"/>
                  </a:lnTo>
                  <a:lnTo>
                    <a:pt x="0" y="78"/>
                  </a:lnTo>
                  <a:lnTo>
                    <a:pt x="9" y="95"/>
                  </a:lnTo>
                  <a:lnTo>
                    <a:pt x="19" y="117"/>
                  </a:lnTo>
                  <a:lnTo>
                    <a:pt x="30" y="130"/>
                  </a:lnTo>
                  <a:lnTo>
                    <a:pt x="41" y="126"/>
                  </a:lnTo>
                  <a:lnTo>
                    <a:pt x="60" y="119"/>
                  </a:lnTo>
                  <a:lnTo>
                    <a:pt x="58" y="137"/>
                  </a:lnTo>
                  <a:lnTo>
                    <a:pt x="52" y="159"/>
                  </a:lnTo>
                  <a:lnTo>
                    <a:pt x="54" y="163"/>
                  </a:lnTo>
                  <a:lnTo>
                    <a:pt x="63" y="163"/>
                  </a:lnTo>
                  <a:lnTo>
                    <a:pt x="76" y="159"/>
                  </a:lnTo>
                  <a:lnTo>
                    <a:pt x="104" y="162"/>
                  </a:lnTo>
                  <a:lnTo>
                    <a:pt x="112" y="172"/>
                  </a:lnTo>
                  <a:lnTo>
                    <a:pt x="128" y="178"/>
                  </a:lnTo>
                  <a:lnTo>
                    <a:pt x="141" y="191"/>
                  </a:lnTo>
                  <a:lnTo>
                    <a:pt x="150" y="189"/>
                  </a:lnTo>
                  <a:lnTo>
                    <a:pt x="167" y="180"/>
                  </a:lnTo>
                  <a:lnTo>
                    <a:pt x="184" y="178"/>
                  </a:lnTo>
                  <a:lnTo>
                    <a:pt x="207" y="18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7" name="Freeform 491"/>
            <p:cNvSpPr>
              <a:spLocks/>
            </p:cNvSpPr>
            <p:nvPr/>
          </p:nvSpPr>
          <p:spPr bwMode="auto">
            <a:xfrm>
              <a:off x="3301" y="1988"/>
              <a:ext cx="575" cy="492"/>
            </a:xfrm>
            <a:custGeom>
              <a:avLst/>
              <a:gdLst>
                <a:gd name="T0" fmla="*/ 11 w 551"/>
                <a:gd name="T1" fmla="*/ 130 h 518"/>
                <a:gd name="T2" fmla="*/ 0 w 551"/>
                <a:gd name="T3" fmla="*/ 165 h 518"/>
                <a:gd name="T4" fmla="*/ 24 w 551"/>
                <a:gd name="T5" fmla="*/ 198 h 518"/>
                <a:gd name="T6" fmla="*/ 20 w 551"/>
                <a:gd name="T7" fmla="*/ 226 h 518"/>
                <a:gd name="T8" fmla="*/ 30 w 551"/>
                <a:gd name="T9" fmla="*/ 250 h 518"/>
                <a:gd name="T10" fmla="*/ 37 w 551"/>
                <a:gd name="T11" fmla="*/ 297 h 518"/>
                <a:gd name="T12" fmla="*/ 39 w 551"/>
                <a:gd name="T13" fmla="*/ 315 h 518"/>
                <a:gd name="T14" fmla="*/ 33 w 551"/>
                <a:gd name="T15" fmla="*/ 332 h 518"/>
                <a:gd name="T16" fmla="*/ 48 w 551"/>
                <a:gd name="T17" fmla="*/ 341 h 518"/>
                <a:gd name="T18" fmla="*/ 63 w 551"/>
                <a:gd name="T19" fmla="*/ 352 h 518"/>
                <a:gd name="T20" fmla="*/ 78 w 551"/>
                <a:gd name="T21" fmla="*/ 380 h 518"/>
                <a:gd name="T22" fmla="*/ 94 w 551"/>
                <a:gd name="T23" fmla="*/ 399 h 518"/>
                <a:gd name="T24" fmla="*/ 126 w 551"/>
                <a:gd name="T25" fmla="*/ 408 h 518"/>
                <a:gd name="T26" fmla="*/ 148 w 551"/>
                <a:gd name="T27" fmla="*/ 406 h 518"/>
                <a:gd name="T28" fmla="*/ 180 w 551"/>
                <a:gd name="T29" fmla="*/ 436 h 518"/>
                <a:gd name="T30" fmla="*/ 218 w 551"/>
                <a:gd name="T31" fmla="*/ 452 h 518"/>
                <a:gd name="T32" fmla="*/ 246 w 551"/>
                <a:gd name="T33" fmla="*/ 447 h 518"/>
                <a:gd name="T34" fmla="*/ 276 w 551"/>
                <a:gd name="T35" fmla="*/ 467 h 518"/>
                <a:gd name="T36" fmla="*/ 291 w 551"/>
                <a:gd name="T37" fmla="*/ 469 h 518"/>
                <a:gd name="T38" fmla="*/ 314 w 551"/>
                <a:gd name="T39" fmla="*/ 478 h 518"/>
                <a:gd name="T40" fmla="*/ 340 w 551"/>
                <a:gd name="T41" fmla="*/ 498 h 518"/>
                <a:gd name="T42" fmla="*/ 362 w 551"/>
                <a:gd name="T43" fmla="*/ 501 h 518"/>
                <a:gd name="T44" fmla="*/ 379 w 551"/>
                <a:gd name="T45" fmla="*/ 490 h 518"/>
                <a:gd name="T46" fmla="*/ 482 w 551"/>
                <a:gd name="T47" fmla="*/ 518 h 518"/>
                <a:gd name="T48" fmla="*/ 486 w 551"/>
                <a:gd name="T49" fmla="*/ 490 h 518"/>
                <a:gd name="T50" fmla="*/ 536 w 551"/>
                <a:gd name="T51" fmla="*/ 408 h 518"/>
                <a:gd name="T52" fmla="*/ 551 w 551"/>
                <a:gd name="T53" fmla="*/ 374 h 518"/>
                <a:gd name="T54" fmla="*/ 532 w 551"/>
                <a:gd name="T55" fmla="*/ 324 h 518"/>
                <a:gd name="T56" fmla="*/ 505 w 551"/>
                <a:gd name="T57" fmla="*/ 287 h 518"/>
                <a:gd name="T58" fmla="*/ 505 w 551"/>
                <a:gd name="T59" fmla="*/ 254 h 518"/>
                <a:gd name="T60" fmla="*/ 503 w 551"/>
                <a:gd name="T61" fmla="*/ 226 h 518"/>
                <a:gd name="T62" fmla="*/ 503 w 551"/>
                <a:gd name="T63" fmla="*/ 208 h 518"/>
                <a:gd name="T64" fmla="*/ 523 w 551"/>
                <a:gd name="T65" fmla="*/ 182 h 518"/>
                <a:gd name="T66" fmla="*/ 514 w 551"/>
                <a:gd name="T67" fmla="*/ 128 h 518"/>
                <a:gd name="T68" fmla="*/ 508 w 551"/>
                <a:gd name="T69" fmla="*/ 91 h 518"/>
                <a:gd name="T70" fmla="*/ 482 w 551"/>
                <a:gd name="T71" fmla="*/ 59 h 518"/>
                <a:gd name="T72" fmla="*/ 418 w 551"/>
                <a:gd name="T73" fmla="*/ 56 h 518"/>
                <a:gd name="T74" fmla="*/ 344 w 551"/>
                <a:gd name="T75" fmla="*/ 50 h 518"/>
                <a:gd name="T76" fmla="*/ 304 w 551"/>
                <a:gd name="T77" fmla="*/ 39 h 518"/>
                <a:gd name="T78" fmla="*/ 280 w 551"/>
                <a:gd name="T79" fmla="*/ 52 h 518"/>
                <a:gd name="T80" fmla="*/ 257 w 551"/>
                <a:gd name="T81" fmla="*/ 37 h 518"/>
                <a:gd name="T82" fmla="*/ 239 w 551"/>
                <a:gd name="T83" fmla="*/ 32 h 518"/>
                <a:gd name="T84" fmla="*/ 218 w 551"/>
                <a:gd name="T85" fmla="*/ 2 h 518"/>
                <a:gd name="T86" fmla="*/ 183 w 551"/>
                <a:gd name="T87" fmla="*/ 6 h 518"/>
                <a:gd name="T88" fmla="*/ 150 w 551"/>
                <a:gd name="T89" fmla="*/ 20 h 518"/>
                <a:gd name="T90" fmla="*/ 98 w 551"/>
                <a:gd name="T91" fmla="*/ 43 h 518"/>
                <a:gd name="T92" fmla="*/ 52 w 551"/>
                <a:gd name="T93" fmla="*/ 63 h 518"/>
                <a:gd name="T94" fmla="*/ 24 w 551"/>
                <a:gd name="T95" fmla="*/ 9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1" h="518">
                  <a:moveTo>
                    <a:pt x="13" y="98"/>
                  </a:moveTo>
                  <a:lnTo>
                    <a:pt x="11" y="130"/>
                  </a:lnTo>
                  <a:lnTo>
                    <a:pt x="11" y="150"/>
                  </a:lnTo>
                  <a:lnTo>
                    <a:pt x="0" y="165"/>
                  </a:lnTo>
                  <a:lnTo>
                    <a:pt x="22" y="191"/>
                  </a:lnTo>
                  <a:lnTo>
                    <a:pt x="24" y="198"/>
                  </a:lnTo>
                  <a:lnTo>
                    <a:pt x="19" y="215"/>
                  </a:lnTo>
                  <a:lnTo>
                    <a:pt x="20" y="226"/>
                  </a:lnTo>
                  <a:lnTo>
                    <a:pt x="31" y="241"/>
                  </a:lnTo>
                  <a:lnTo>
                    <a:pt x="30" y="250"/>
                  </a:lnTo>
                  <a:lnTo>
                    <a:pt x="28" y="278"/>
                  </a:lnTo>
                  <a:lnTo>
                    <a:pt x="37" y="297"/>
                  </a:lnTo>
                  <a:lnTo>
                    <a:pt x="44" y="308"/>
                  </a:lnTo>
                  <a:lnTo>
                    <a:pt x="39" y="315"/>
                  </a:lnTo>
                  <a:lnTo>
                    <a:pt x="39" y="326"/>
                  </a:lnTo>
                  <a:lnTo>
                    <a:pt x="33" y="332"/>
                  </a:lnTo>
                  <a:lnTo>
                    <a:pt x="33" y="339"/>
                  </a:lnTo>
                  <a:lnTo>
                    <a:pt x="48" y="341"/>
                  </a:lnTo>
                  <a:lnTo>
                    <a:pt x="59" y="345"/>
                  </a:lnTo>
                  <a:lnTo>
                    <a:pt x="63" y="352"/>
                  </a:lnTo>
                  <a:lnTo>
                    <a:pt x="63" y="365"/>
                  </a:lnTo>
                  <a:lnTo>
                    <a:pt x="78" y="380"/>
                  </a:lnTo>
                  <a:lnTo>
                    <a:pt x="91" y="386"/>
                  </a:lnTo>
                  <a:lnTo>
                    <a:pt x="94" y="399"/>
                  </a:lnTo>
                  <a:lnTo>
                    <a:pt x="111" y="421"/>
                  </a:lnTo>
                  <a:lnTo>
                    <a:pt x="126" y="408"/>
                  </a:lnTo>
                  <a:lnTo>
                    <a:pt x="139" y="404"/>
                  </a:lnTo>
                  <a:lnTo>
                    <a:pt x="148" y="406"/>
                  </a:lnTo>
                  <a:lnTo>
                    <a:pt x="174" y="434"/>
                  </a:lnTo>
                  <a:lnTo>
                    <a:pt x="180" y="436"/>
                  </a:lnTo>
                  <a:lnTo>
                    <a:pt x="211" y="450"/>
                  </a:lnTo>
                  <a:lnTo>
                    <a:pt x="218" y="452"/>
                  </a:lnTo>
                  <a:lnTo>
                    <a:pt x="231" y="449"/>
                  </a:lnTo>
                  <a:lnTo>
                    <a:pt x="246" y="447"/>
                  </a:lnTo>
                  <a:lnTo>
                    <a:pt x="259" y="452"/>
                  </a:lnTo>
                  <a:lnTo>
                    <a:pt x="276" y="467"/>
                  </a:lnTo>
                  <a:lnTo>
                    <a:pt x="283" y="475"/>
                  </a:lnTo>
                  <a:lnTo>
                    <a:pt x="291" y="469"/>
                  </a:lnTo>
                  <a:lnTo>
                    <a:pt x="300" y="467"/>
                  </a:lnTo>
                  <a:lnTo>
                    <a:pt x="314" y="478"/>
                  </a:lnTo>
                  <a:lnTo>
                    <a:pt x="329" y="490"/>
                  </a:lnTo>
                  <a:lnTo>
                    <a:pt x="340" y="498"/>
                  </a:lnTo>
                  <a:lnTo>
                    <a:pt x="355" y="503"/>
                  </a:lnTo>
                  <a:lnTo>
                    <a:pt x="362" y="501"/>
                  </a:lnTo>
                  <a:lnTo>
                    <a:pt x="369" y="494"/>
                  </a:lnTo>
                  <a:lnTo>
                    <a:pt x="379" y="490"/>
                  </a:lnTo>
                  <a:lnTo>
                    <a:pt x="397" y="496"/>
                  </a:lnTo>
                  <a:lnTo>
                    <a:pt x="482" y="518"/>
                  </a:lnTo>
                  <a:lnTo>
                    <a:pt x="495" y="507"/>
                  </a:lnTo>
                  <a:lnTo>
                    <a:pt x="486" y="490"/>
                  </a:lnTo>
                  <a:lnTo>
                    <a:pt x="477" y="462"/>
                  </a:lnTo>
                  <a:lnTo>
                    <a:pt x="536" y="408"/>
                  </a:lnTo>
                  <a:lnTo>
                    <a:pt x="547" y="395"/>
                  </a:lnTo>
                  <a:lnTo>
                    <a:pt x="551" y="374"/>
                  </a:lnTo>
                  <a:lnTo>
                    <a:pt x="542" y="347"/>
                  </a:lnTo>
                  <a:lnTo>
                    <a:pt x="532" y="324"/>
                  </a:lnTo>
                  <a:lnTo>
                    <a:pt x="516" y="298"/>
                  </a:lnTo>
                  <a:lnTo>
                    <a:pt x="505" y="287"/>
                  </a:lnTo>
                  <a:lnTo>
                    <a:pt x="503" y="271"/>
                  </a:lnTo>
                  <a:lnTo>
                    <a:pt x="505" y="254"/>
                  </a:lnTo>
                  <a:lnTo>
                    <a:pt x="510" y="237"/>
                  </a:lnTo>
                  <a:lnTo>
                    <a:pt x="503" y="226"/>
                  </a:lnTo>
                  <a:lnTo>
                    <a:pt x="494" y="219"/>
                  </a:lnTo>
                  <a:lnTo>
                    <a:pt x="503" y="208"/>
                  </a:lnTo>
                  <a:lnTo>
                    <a:pt x="518" y="187"/>
                  </a:lnTo>
                  <a:lnTo>
                    <a:pt x="523" y="182"/>
                  </a:lnTo>
                  <a:lnTo>
                    <a:pt x="520" y="146"/>
                  </a:lnTo>
                  <a:lnTo>
                    <a:pt x="514" y="128"/>
                  </a:lnTo>
                  <a:lnTo>
                    <a:pt x="508" y="109"/>
                  </a:lnTo>
                  <a:lnTo>
                    <a:pt x="508" y="91"/>
                  </a:lnTo>
                  <a:lnTo>
                    <a:pt x="497" y="74"/>
                  </a:lnTo>
                  <a:lnTo>
                    <a:pt x="482" y="59"/>
                  </a:lnTo>
                  <a:lnTo>
                    <a:pt x="466" y="57"/>
                  </a:lnTo>
                  <a:lnTo>
                    <a:pt x="418" y="56"/>
                  </a:lnTo>
                  <a:lnTo>
                    <a:pt x="392" y="54"/>
                  </a:lnTo>
                  <a:lnTo>
                    <a:pt x="344" y="50"/>
                  </a:lnTo>
                  <a:lnTo>
                    <a:pt x="325" y="41"/>
                  </a:lnTo>
                  <a:lnTo>
                    <a:pt x="304" y="39"/>
                  </a:lnTo>
                  <a:lnTo>
                    <a:pt x="293" y="43"/>
                  </a:lnTo>
                  <a:lnTo>
                    <a:pt x="280" y="52"/>
                  </a:lnTo>
                  <a:lnTo>
                    <a:pt x="268" y="48"/>
                  </a:lnTo>
                  <a:lnTo>
                    <a:pt x="257" y="37"/>
                  </a:lnTo>
                  <a:lnTo>
                    <a:pt x="244" y="37"/>
                  </a:lnTo>
                  <a:lnTo>
                    <a:pt x="239" y="32"/>
                  </a:lnTo>
                  <a:lnTo>
                    <a:pt x="235" y="15"/>
                  </a:lnTo>
                  <a:lnTo>
                    <a:pt x="218" y="2"/>
                  </a:lnTo>
                  <a:lnTo>
                    <a:pt x="206" y="0"/>
                  </a:lnTo>
                  <a:lnTo>
                    <a:pt x="183" y="6"/>
                  </a:lnTo>
                  <a:lnTo>
                    <a:pt x="165" y="11"/>
                  </a:lnTo>
                  <a:lnTo>
                    <a:pt x="150" y="20"/>
                  </a:lnTo>
                  <a:lnTo>
                    <a:pt x="124" y="35"/>
                  </a:lnTo>
                  <a:lnTo>
                    <a:pt x="98" y="43"/>
                  </a:lnTo>
                  <a:lnTo>
                    <a:pt x="76" y="52"/>
                  </a:lnTo>
                  <a:lnTo>
                    <a:pt x="52" y="63"/>
                  </a:lnTo>
                  <a:lnTo>
                    <a:pt x="39" y="78"/>
                  </a:lnTo>
                  <a:lnTo>
                    <a:pt x="24" y="91"/>
                  </a:lnTo>
                  <a:lnTo>
                    <a:pt x="13" y="98"/>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sp>
          <p:nvSpPr>
            <p:cNvPr id="78" name="Freeform 492"/>
            <p:cNvSpPr>
              <a:spLocks/>
            </p:cNvSpPr>
            <p:nvPr/>
          </p:nvSpPr>
          <p:spPr bwMode="auto">
            <a:xfrm>
              <a:off x="3203" y="2670"/>
              <a:ext cx="206" cy="105"/>
            </a:xfrm>
            <a:custGeom>
              <a:avLst/>
              <a:gdLst>
                <a:gd name="T0" fmla="*/ 17 w 198"/>
                <a:gd name="T1" fmla="*/ 63 h 115"/>
                <a:gd name="T2" fmla="*/ 37 w 198"/>
                <a:gd name="T3" fmla="*/ 83 h 115"/>
                <a:gd name="T4" fmla="*/ 31 w 198"/>
                <a:gd name="T5" fmla="*/ 93 h 115"/>
                <a:gd name="T6" fmla="*/ 22 w 198"/>
                <a:gd name="T7" fmla="*/ 100 h 115"/>
                <a:gd name="T8" fmla="*/ 11 w 198"/>
                <a:gd name="T9" fmla="*/ 102 h 115"/>
                <a:gd name="T10" fmla="*/ 0 w 198"/>
                <a:gd name="T11" fmla="*/ 104 h 115"/>
                <a:gd name="T12" fmla="*/ 20 w 198"/>
                <a:gd name="T13" fmla="*/ 113 h 115"/>
                <a:gd name="T14" fmla="*/ 28 w 198"/>
                <a:gd name="T15" fmla="*/ 115 h 115"/>
                <a:gd name="T16" fmla="*/ 53 w 198"/>
                <a:gd name="T17" fmla="*/ 100 h 115"/>
                <a:gd name="T18" fmla="*/ 108 w 198"/>
                <a:gd name="T19" fmla="*/ 114 h 115"/>
                <a:gd name="T20" fmla="*/ 144 w 198"/>
                <a:gd name="T21" fmla="*/ 74 h 115"/>
                <a:gd name="T22" fmla="*/ 151 w 198"/>
                <a:gd name="T23" fmla="*/ 57 h 115"/>
                <a:gd name="T24" fmla="*/ 158 w 198"/>
                <a:gd name="T25" fmla="*/ 52 h 115"/>
                <a:gd name="T26" fmla="*/ 178 w 198"/>
                <a:gd name="T27" fmla="*/ 54 h 115"/>
                <a:gd name="T28" fmla="*/ 198 w 198"/>
                <a:gd name="T29" fmla="*/ 30 h 115"/>
                <a:gd name="T30" fmla="*/ 196 w 198"/>
                <a:gd name="T31" fmla="*/ 15 h 115"/>
                <a:gd name="T32" fmla="*/ 182 w 198"/>
                <a:gd name="T33" fmla="*/ 0 h 115"/>
                <a:gd name="T34" fmla="*/ 173 w 198"/>
                <a:gd name="T35" fmla="*/ 2 h 115"/>
                <a:gd name="T36" fmla="*/ 163 w 198"/>
                <a:gd name="T37" fmla="*/ 5 h 115"/>
                <a:gd name="T38" fmla="*/ 145 w 198"/>
                <a:gd name="T39" fmla="*/ 1 h 115"/>
                <a:gd name="T40" fmla="*/ 127 w 198"/>
                <a:gd name="T41" fmla="*/ 2 h 115"/>
                <a:gd name="T42" fmla="*/ 109 w 198"/>
                <a:gd name="T43" fmla="*/ 7 h 115"/>
                <a:gd name="T44" fmla="*/ 84 w 198"/>
                <a:gd name="T45" fmla="*/ 5 h 115"/>
                <a:gd name="T46" fmla="*/ 73 w 198"/>
                <a:gd name="T47" fmla="*/ 20 h 115"/>
                <a:gd name="T48" fmla="*/ 31 w 198"/>
                <a:gd name="T49" fmla="*/ 7 h 115"/>
                <a:gd name="T50" fmla="*/ 15 w 198"/>
                <a:gd name="T51" fmla="*/ 7 h 115"/>
                <a:gd name="T52" fmla="*/ 15 w 198"/>
                <a:gd name="T53" fmla="*/ 32 h 115"/>
                <a:gd name="T54" fmla="*/ 17 w 198"/>
                <a:gd name="T55" fmla="*/ 6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8" h="115">
                  <a:moveTo>
                    <a:pt x="17" y="63"/>
                  </a:moveTo>
                  <a:lnTo>
                    <a:pt x="37" y="83"/>
                  </a:lnTo>
                  <a:lnTo>
                    <a:pt x="31" y="93"/>
                  </a:lnTo>
                  <a:lnTo>
                    <a:pt x="22" y="100"/>
                  </a:lnTo>
                  <a:lnTo>
                    <a:pt x="11" y="102"/>
                  </a:lnTo>
                  <a:lnTo>
                    <a:pt x="0" y="104"/>
                  </a:lnTo>
                  <a:lnTo>
                    <a:pt x="20" y="113"/>
                  </a:lnTo>
                  <a:lnTo>
                    <a:pt x="28" y="115"/>
                  </a:lnTo>
                  <a:lnTo>
                    <a:pt x="53" y="100"/>
                  </a:lnTo>
                  <a:lnTo>
                    <a:pt x="108" y="114"/>
                  </a:lnTo>
                  <a:lnTo>
                    <a:pt x="144" y="74"/>
                  </a:lnTo>
                  <a:lnTo>
                    <a:pt x="151" y="57"/>
                  </a:lnTo>
                  <a:lnTo>
                    <a:pt x="158" y="52"/>
                  </a:lnTo>
                  <a:lnTo>
                    <a:pt x="178" y="54"/>
                  </a:lnTo>
                  <a:lnTo>
                    <a:pt x="198" y="30"/>
                  </a:lnTo>
                  <a:lnTo>
                    <a:pt x="196" y="15"/>
                  </a:lnTo>
                  <a:lnTo>
                    <a:pt x="182" y="0"/>
                  </a:lnTo>
                  <a:lnTo>
                    <a:pt x="173" y="2"/>
                  </a:lnTo>
                  <a:lnTo>
                    <a:pt x="163" y="5"/>
                  </a:lnTo>
                  <a:lnTo>
                    <a:pt x="145" y="1"/>
                  </a:lnTo>
                  <a:lnTo>
                    <a:pt x="127" y="2"/>
                  </a:lnTo>
                  <a:lnTo>
                    <a:pt x="109" y="7"/>
                  </a:lnTo>
                  <a:lnTo>
                    <a:pt x="84" y="5"/>
                  </a:lnTo>
                  <a:lnTo>
                    <a:pt x="73" y="20"/>
                  </a:lnTo>
                  <a:lnTo>
                    <a:pt x="31" y="7"/>
                  </a:lnTo>
                  <a:lnTo>
                    <a:pt x="15" y="7"/>
                  </a:lnTo>
                  <a:lnTo>
                    <a:pt x="15" y="32"/>
                  </a:lnTo>
                  <a:lnTo>
                    <a:pt x="17" y="63"/>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de-DE" sz="1800" b="0" i="0" u="none" strike="noStrike" kern="0" cap="none" spc="0" normalizeH="0" baseline="0" noProof="0">
                <a:ln>
                  <a:noFill/>
                </a:ln>
                <a:solidFill>
                  <a:srgbClr val="004A7A"/>
                </a:solidFill>
                <a:effectLst/>
                <a:uLnTx/>
                <a:uFillTx/>
              </a:endParaRPr>
            </a:p>
          </p:txBody>
        </p:sp>
      </p:grpSp>
      <p:sp>
        <p:nvSpPr>
          <p:cNvPr id="91" name="Rectangle 1"/>
          <p:cNvSpPr/>
          <p:nvPr/>
        </p:nvSpPr>
        <p:spPr>
          <a:xfrm flipV="1">
            <a:off x="773991" y="1907092"/>
            <a:ext cx="831267" cy="24282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92" name="TextBox 3"/>
          <p:cNvSpPr txBox="1"/>
          <p:nvPr/>
        </p:nvSpPr>
        <p:spPr>
          <a:xfrm>
            <a:off x="706286" y="1899753"/>
            <a:ext cx="1250342" cy="1107996"/>
          </a:xfrm>
          <a:prstGeom prst="rect">
            <a:avLst/>
          </a:prstGeom>
          <a:noFill/>
        </p:spPr>
        <p:txBody>
          <a:bodyPr wrap="square" lIns="0" tIns="0" rIns="0" bIns="0" rtlCol="0">
            <a:spAutoFit/>
          </a:bodyPr>
          <a:lstStyle/>
          <a:p>
            <a:pPr algn="ctr"/>
            <a:r>
              <a:rPr lang="en-GB" dirty="0">
                <a:latin typeface="Calibri" panose="020F0502020204030204" pitchFamily="34" charset="0"/>
              </a:rPr>
              <a:t>               =</a:t>
            </a:r>
          </a:p>
          <a:p>
            <a:pPr algn="ctr"/>
            <a:r>
              <a:rPr lang="en-GB" dirty="0">
                <a:latin typeface="Calibri" panose="020F0502020204030204" pitchFamily="34" charset="0"/>
              </a:rPr>
              <a:t>Countries to be coupled in 1</a:t>
            </a:r>
            <a:r>
              <a:rPr lang="en-GB" baseline="30000" dirty="0">
                <a:latin typeface="Calibri" panose="020F0502020204030204" pitchFamily="34" charset="0"/>
              </a:rPr>
              <a:t>st</a:t>
            </a:r>
            <a:r>
              <a:rPr lang="en-GB" dirty="0">
                <a:latin typeface="Calibri" panose="020F0502020204030204" pitchFamily="34" charset="0"/>
              </a:rPr>
              <a:t> </a:t>
            </a:r>
            <a:r>
              <a:rPr lang="en-GB" dirty="0" err="1">
                <a:latin typeface="Calibri" panose="020F0502020204030204" pitchFamily="34" charset="0"/>
              </a:rPr>
              <a:t>go-live</a:t>
            </a:r>
            <a:endParaRPr lang="en-GB" dirty="0">
              <a:latin typeface="Calibri" panose="020F0502020204030204" pitchFamily="34" charset="0"/>
            </a:endParaRPr>
          </a:p>
        </p:txBody>
      </p:sp>
    </p:spTree>
    <p:extLst>
      <p:ext uri="{BB962C8B-B14F-4D97-AF65-F5344CB8AC3E}">
        <p14:creationId xmlns:p14="http://schemas.microsoft.com/office/powerpoint/2010/main" val="10416573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40386" y="838583"/>
            <a:ext cx="8046000" cy="583015"/>
          </a:xfrm>
        </p:spPr>
        <p:txBody>
          <a:bodyPr/>
          <a:lstStyle/>
          <a:p>
            <a:r>
              <a:rPr lang="en-GB" dirty="0"/>
              <a:t>Project parties</a:t>
            </a:r>
          </a:p>
        </p:txBody>
      </p:sp>
      <p:grpSp>
        <p:nvGrpSpPr>
          <p:cNvPr id="5" name="Group 14"/>
          <p:cNvGrpSpPr/>
          <p:nvPr/>
        </p:nvGrpSpPr>
        <p:grpSpPr>
          <a:xfrm>
            <a:off x="4520742" y="1009291"/>
            <a:ext cx="6072941" cy="5624422"/>
            <a:chOff x="1934262" y="1341438"/>
            <a:chExt cx="5346913" cy="4927121"/>
          </a:xfrm>
        </p:grpSpPr>
        <p:sp>
          <p:nvSpPr>
            <p:cNvPr id="6" name="ee4p_10_1_43215"/>
            <p:cNvSpPr>
              <a:spLocks noChangeAspect="1"/>
            </p:cNvSpPr>
            <p:nvPr>
              <p:custDataLst>
                <p:tags r:id="rId2"/>
              </p:custDataLst>
            </p:nvPr>
          </p:nvSpPr>
          <p:spPr bwMode="gray">
            <a:xfrm>
              <a:off x="4126433" y="4343991"/>
              <a:ext cx="643619" cy="309503"/>
            </a:xfrm>
            <a:custGeom>
              <a:avLst/>
              <a:gdLst/>
              <a:ahLst/>
              <a:cxnLst/>
              <a:rect l="0" t="0" r="0" b="0"/>
              <a:pathLst>
                <a:path w="643619" h="309503">
                  <a:moveTo>
                    <a:pt x="253847" y="17929"/>
                  </a:moveTo>
                  <a:lnTo>
                    <a:pt x="271136" y="18124"/>
                  </a:lnTo>
                  <a:lnTo>
                    <a:pt x="269488" y="0"/>
                  </a:lnTo>
                  <a:lnTo>
                    <a:pt x="293970" y="1574"/>
                  </a:lnTo>
                  <a:lnTo>
                    <a:pt x="300917" y="19092"/>
                  </a:lnTo>
                  <a:lnTo>
                    <a:pt x="354476" y="42048"/>
                  </a:lnTo>
                  <a:lnTo>
                    <a:pt x="400900" y="44573"/>
                  </a:lnTo>
                  <a:lnTo>
                    <a:pt x="410751" y="55000"/>
                  </a:lnTo>
                  <a:lnTo>
                    <a:pt x="386638" y="73734"/>
                  </a:lnTo>
                  <a:lnTo>
                    <a:pt x="402629" y="80448"/>
                  </a:lnTo>
                  <a:lnTo>
                    <a:pt x="435967" y="116260"/>
                  </a:lnTo>
                  <a:lnTo>
                    <a:pt x="466390" y="93213"/>
                  </a:lnTo>
                  <a:lnTo>
                    <a:pt x="475179" y="77185"/>
                  </a:lnTo>
                  <a:lnTo>
                    <a:pt x="497725" y="93105"/>
                  </a:lnTo>
                  <a:lnTo>
                    <a:pt x="524192" y="94685"/>
                  </a:lnTo>
                  <a:lnTo>
                    <a:pt x="522948" y="106844"/>
                  </a:lnTo>
                  <a:lnTo>
                    <a:pt x="547794" y="130889"/>
                  </a:lnTo>
                  <a:lnTo>
                    <a:pt x="572541" y="129195"/>
                  </a:lnTo>
                  <a:lnTo>
                    <a:pt x="602901" y="136265"/>
                  </a:lnTo>
                  <a:lnTo>
                    <a:pt x="621911" y="163474"/>
                  </a:lnTo>
                  <a:lnTo>
                    <a:pt x="639073" y="168941"/>
                  </a:lnTo>
                  <a:lnTo>
                    <a:pt x="643618" y="189271"/>
                  </a:lnTo>
                  <a:lnTo>
                    <a:pt x="614022" y="191397"/>
                  </a:lnTo>
                  <a:lnTo>
                    <a:pt x="597882" y="212694"/>
                  </a:lnTo>
                  <a:lnTo>
                    <a:pt x="579043" y="218180"/>
                  </a:lnTo>
                  <a:lnTo>
                    <a:pt x="563561" y="251392"/>
                  </a:lnTo>
                  <a:lnTo>
                    <a:pt x="550085" y="263056"/>
                  </a:lnTo>
                  <a:lnTo>
                    <a:pt x="515594" y="277449"/>
                  </a:lnTo>
                  <a:lnTo>
                    <a:pt x="483974" y="269258"/>
                  </a:lnTo>
                  <a:lnTo>
                    <a:pt x="458682" y="301727"/>
                  </a:lnTo>
                  <a:lnTo>
                    <a:pt x="420023" y="277203"/>
                  </a:lnTo>
                  <a:lnTo>
                    <a:pt x="404275" y="287891"/>
                  </a:lnTo>
                  <a:lnTo>
                    <a:pt x="377655" y="285784"/>
                  </a:lnTo>
                  <a:lnTo>
                    <a:pt x="351016" y="270129"/>
                  </a:lnTo>
                  <a:lnTo>
                    <a:pt x="337360" y="271876"/>
                  </a:lnTo>
                  <a:lnTo>
                    <a:pt x="316356" y="260199"/>
                  </a:lnTo>
                  <a:lnTo>
                    <a:pt x="272936" y="251476"/>
                  </a:lnTo>
                  <a:lnTo>
                    <a:pt x="266662" y="284204"/>
                  </a:lnTo>
                  <a:lnTo>
                    <a:pt x="253982" y="281002"/>
                  </a:lnTo>
                  <a:lnTo>
                    <a:pt x="232125" y="300773"/>
                  </a:lnTo>
                  <a:lnTo>
                    <a:pt x="207214" y="309502"/>
                  </a:lnTo>
                  <a:lnTo>
                    <a:pt x="178261" y="302273"/>
                  </a:lnTo>
                  <a:lnTo>
                    <a:pt x="174609" y="290468"/>
                  </a:lnTo>
                  <a:lnTo>
                    <a:pt x="158649" y="282520"/>
                  </a:lnTo>
                  <a:lnTo>
                    <a:pt x="133594" y="257672"/>
                  </a:lnTo>
                  <a:lnTo>
                    <a:pt x="100248" y="239830"/>
                  </a:lnTo>
                  <a:lnTo>
                    <a:pt x="80234" y="215972"/>
                  </a:lnTo>
                  <a:lnTo>
                    <a:pt x="56738" y="210827"/>
                  </a:lnTo>
                  <a:lnTo>
                    <a:pt x="44121" y="199646"/>
                  </a:lnTo>
                  <a:lnTo>
                    <a:pt x="31131" y="167951"/>
                  </a:lnTo>
                  <a:lnTo>
                    <a:pt x="33971" y="140439"/>
                  </a:lnTo>
                  <a:lnTo>
                    <a:pt x="28059" y="130761"/>
                  </a:lnTo>
                  <a:lnTo>
                    <a:pt x="0" y="114478"/>
                  </a:lnTo>
                  <a:lnTo>
                    <a:pt x="30414" y="78151"/>
                  </a:lnTo>
                  <a:lnTo>
                    <a:pt x="80448" y="63932"/>
                  </a:lnTo>
                  <a:lnTo>
                    <a:pt x="96127" y="64712"/>
                  </a:lnTo>
                  <a:lnTo>
                    <a:pt x="115358" y="46507"/>
                  </a:lnTo>
                  <a:lnTo>
                    <a:pt x="141916" y="35607"/>
                  </a:lnTo>
                  <a:lnTo>
                    <a:pt x="160228" y="36192"/>
                  </a:lnTo>
                  <a:lnTo>
                    <a:pt x="182583" y="23758"/>
                  </a:lnTo>
                  <a:lnTo>
                    <a:pt x="232155" y="3042"/>
                  </a:lnTo>
                  <a:lnTo>
                    <a:pt x="234054" y="19555"/>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7" name="ee4p_24_1_43215"/>
            <p:cNvSpPr>
              <a:spLocks noChangeAspect="1"/>
            </p:cNvSpPr>
            <p:nvPr>
              <p:custDataLst>
                <p:tags r:id="rId3"/>
              </p:custDataLst>
            </p:nvPr>
          </p:nvSpPr>
          <p:spPr bwMode="gray">
            <a:xfrm>
              <a:off x="4021691" y="1708122"/>
              <a:ext cx="1261538" cy="2067542"/>
            </a:xfrm>
            <a:custGeom>
              <a:avLst/>
              <a:gdLst/>
              <a:ahLst/>
              <a:cxnLst/>
              <a:rect l="l" t="t" r="r" b="b"/>
              <a:pathLst>
                <a:path w="1261538" h="2067542">
                  <a:moveTo>
                    <a:pt x="578702" y="1793781"/>
                  </a:moveTo>
                  <a:lnTo>
                    <a:pt x="576336" y="1815411"/>
                  </a:lnTo>
                  <a:lnTo>
                    <a:pt x="557324" y="1843957"/>
                  </a:lnTo>
                  <a:lnTo>
                    <a:pt x="554274" y="1865163"/>
                  </a:lnTo>
                  <a:lnTo>
                    <a:pt x="535319" y="1900509"/>
                  </a:lnTo>
                  <a:lnTo>
                    <a:pt x="527408" y="1927223"/>
                  </a:lnTo>
                  <a:lnTo>
                    <a:pt x="510500" y="1938366"/>
                  </a:lnTo>
                  <a:lnTo>
                    <a:pt x="509143" y="1906432"/>
                  </a:lnTo>
                  <a:lnTo>
                    <a:pt x="533555" y="1857467"/>
                  </a:lnTo>
                  <a:lnTo>
                    <a:pt x="558110" y="1826711"/>
                  </a:lnTo>
                  <a:lnTo>
                    <a:pt x="565237" y="1799822"/>
                  </a:lnTo>
                  <a:close/>
                  <a:moveTo>
                    <a:pt x="764959" y="1713679"/>
                  </a:moveTo>
                  <a:lnTo>
                    <a:pt x="757872" y="1737121"/>
                  </a:lnTo>
                  <a:lnTo>
                    <a:pt x="744424" y="1742071"/>
                  </a:lnTo>
                  <a:lnTo>
                    <a:pt x="742877" y="1777640"/>
                  </a:lnTo>
                  <a:lnTo>
                    <a:pt x="731359" y="1808223"/>
                  </a:lnTo>
                  <a:lnTo>
                    <a:pt x="685905" y="1829194"/>
                  </a:lnTo>
                  <a:lnTo>
                    <a:pt x="683916" y="1786015"/>
                  </a:lnTo>
                  <a:lnTo>
                    <a:pt x="676239" y="1765978"/>
                  </a:lnTo>
                  <a:lnTo>
                    <a:pt x="691030" y="1754386"/>
                  </a:lnTo>
                  <a:lnTo>
                    <a:pt x="710527" y="1726247"/>
                  </a:lnTo>
                  <a:lnTo>
                    <a:pt x="741165" y="1719489"/>
                  </a:lnTo>
                  <a:close/>
                  <a:moveTo>
                    <a:pt x="56635" y="1658033"/>
                  </a:moveTo>
                  <a:lnTo>
                    <a:pt x="70872" y="1677228"/>
                  </a:lnTo>
                  <a:lnTo>
                    <a:pt x="42681" y="1688607"/>
                  </a:lnTo>
                  <a:lnTo>
                    <a:pt x="28015" y="1680696"/>
                  </a:lnTo>
                  <a:close/>
                  <a:moveTo>
                    <a:pt x="912571" y="0"/>
                  </a:moveTo>
                  <a:lnTo>
                    <a:pt x="993644" y="49935"/>
                  </a:lnTo>
                  <a:lnTo>
                    <a:pt x="996742" y="61354"/>
                  </a:lnTo>
                  <a:lnTo>
                    <a:pt x="1042260" y="80346"/>
                  </a:lnTo>
                  <a:lnTo>
                    <a:pt x="1057283" y="97978"/>
                  </a:lnTo>
                  <a:lnTo>
                    <a:pt x="1086691" y="97529"/>
                  </a:lnTo>
                  <a:lnTo>
                    <a:pt x="1156550" y="127981"/>
                  </a:lnTo>
                  <a:lnTo>
                    <a:pt x="1187372" y="170109"/>
                  </a:lnTo>
                  <a:lnTo>
                    <a:pt x="1212463" y="184279"/>
                  </a:lnTo>
                  <a:lnTo>
                    <a:pt x="1197599" y="200612"/>
                  </a:lnTo>
                  <a:lnTo>
                    <a:pt x="1202493" y="246836"/>
                  </a:lnTo>
                  <a:lnTo>
                    <a:pt x="1188988" y="260577"/>
                  </a:lnTo>
                  <a:lnTo>
                    <a:pt x="1223749" y="272559"/>
                  </a:lnTo>
                  <a:lnTo>
                    <a:pt x="1219673" y="296475"/>
                  </a:lnTo>
                  <a:lnTo>
                    <a:pt x="1203419" y="315317"/>
                  </a:lnTo>
                  <a:lnTo>
                    <a:pt x="1246060" y="372014"/>
                  </a:lnTo>
                  <a:lnTo>
                    <a:pt x="1234586" y="382768"/>
                  </a:lnTo>
                  <a:lnTo>
                    <a:pt x="1232657" y="414615"/>
                  </a:lnTo>
                  <a:lnTo>
                    <a:pt x="1212683" y="431080"/>
                  </a:lnTo>
                  <a:lnTo>
                    <a:pt x="1212236" y="455832"/>
                  </a:lnTo>
                  <a:lnTo>
                    <a:pt x="1238614" y="478333"/>
                  </a:lnTo>
                  <a:lnTo>
                    <a:pt x="1261538" y="533598"/>
                  </a:lnTo>
                  <a:lnTo>
                    <a:pt x="1230759" y="541657"/>
                  </a:lnTo>
                  <a:lnTo>
                    <a:pt x="1145487" y="541876"/>
                  </a:lnTo>
                  <a:lnTo>
                    <a:pt x="1122499" y="533420"/>
                  </a:lnTo>
                  <a:lnTo>
                    <a:pt x="1083034" y="538932"/>
                  </a:lnTo>
                  <a:lnTo>
                    <a:pt x="1089368" y="571419"/>
                  </a:lnTo>
                  <a:lnTo>
                    <a:pt x="1052774" y="581852"/>
                  </a:lnTo>
                  <a:lnTo>
                    <a:pt x="1052469" y="598028"/>
                  </a:lnTo>
                  <a:lnTo>
                    <a:pt x="1004068" y="605799"/>
                  </a:lnTo>
                  <a:lnTo>
                    <a:pt x="1013331" y="639144"/>
                  </a:lnTo>
                  <a:lnTo>
                    <a:pt x="967252" y="697703"/>
                  </a:lnTo>
                  <a:lnTo>
                    <a:pt x="1003213" y="730043"/>
                  </a:lnTo>
                  <a:lnTo>
                    <a:pt x="1005894" y="754546"/>
                  </a:lnTo>
                  <a:lnTo>
                    <a:pt x="952101" y="798472"/>
                  </a:lnTo>
                  <a:lnTo>
                    <a:pt x="933529" y="839152"/>
                  </a:lnTo>
                  <a:lnTo>
                    <a:pt x="859474" y="870533"/>
                  </a:lnTo>
                  <a:lnTo>
                    <a:pt x="832982" y="894359"/>
                  </a:lnTo>
                  <a:lnTo>
                    <a:pt x="787793" y="902419"/>
                  </a:lnTo>
                  <a:lnTo>
                    <a:pt x="786569" y="921791"/>
                  </a:lnTo>
                  <a:lnTo>
                    <a:pt x="758719" y="939462"/>
                  </a:lnTo>
                  <a:lnTo>
                    <a:pt x="748126" y="927546"/>
                  </a:lnTo>
                  <a:lnTo>
                    <a:pt x="709352" y="965581"/>
                  </a:lnTo>
                  <a:lnTo>
                    <a:pt x="709244" y="991339"/>
                  </a:lnTo>
                  <a:lnTo>
                    <a:pt x="676602" y="1006899"/>
                  </a:lnTo>
                  <a:lnTo>
                    <a:pt x="672127" y="1030677"/>
                  </a:lnTo>
                  <a:lnTo>
                    <a:pt x="638993" y="1045794"/>
                  </a:lnTo>
                  <a:lnTo>
                    <a:pt x="604660" y="1070971"/>
                  </a:lnTo>
                  <a:lnTo>
                    <a:pt x="619922" y="1085543"/>
                  </a:lnTo>
                  <a:lnTo>
                    <a:pt x="614355" y="1115639"/>
                  </a:lnTo>
                  <a:lnTo>
                    <a:pt x="601727" y="1135266"/>
                  </a:lnTo>
                  <a:lnTo>
                    <a:pt x="580063" y="1187796"/>
                  </a:lnTo>
                  <a:lnTo>
                    <a:pt x="577778" y="1211543"/>
                  </a:lnTo>
                  <a:lnTo>
                    <a:pt x="591074" y="1227845"/>
                  </a:lnTo>
                  <a:lnTo>
                    <a:pt x="584950" y="1278312"/>
                  </a:lnTo>
                  <a:lnTo>
                    <a:pt x="594999" y="1287845"/>
                  </a:lnTo>
                  <a:lnTo>
                    <a:pt x="598301" y="1320395"/>
                  </a:lnTo>
                  <a:lnTo>
                    <a:pt x="626725" y="1321679"/>
                  </a:lnTo>
                  <a:lnTo>
                    <a:pt x="644838" y="1333082"/>
                  </a:lnTo>
                  <a:lnTo>
                    <a:pt x="664914" y="1329409"/>
                  </a:lnTo>
                  <a:lnTo>
                    <a:pt x="680501" y="1356325"/>
                  </a:lnTo>
                  <a:lnTo>
                    <a:pt x="710388" y="1367025"/>
                  </a:lnTo>
                  <a:lnTo>
                    <a:pt x="744184" y="1398485"/>
                  </a:lnTo>
                  <a:lnTo>
                    <a:pt x="757712" y="1435760"/>
                  </a:lnTo>
                  <a:lnTo>
                    <a:pt x="726875" y="1479117"/>
                  </a:lnTo>
                  <a:lnTo>
                    <a:pt x="695881" y="1495667"/>
                  </a:lnTo>
                  <a:lnTo>
                    <a:pt x="680783" y="1512486"/>
                  </a:lnTo>
                  <a:lnTo>
                    <a:pt x="705496" y="1530501"/>
                  </a:lnTo>
                  <a:lnTo>
                    <a:pt x="701936" y="1541356"/>
                  </a:lnTo>
                  <a:lnTo>
                    <a:pt x="671843" y="1552155"/>
                  </a:lnTo>
                  <a:lnTo>
                    <a:pt x="644322" y="1577405"/>
                  </a:lnTo>
                  <a:lnTo>
                    <a:pt x="616248" y="1588131"/>
                  </a:lnTo>
                  <a:lnTo>
                    <a:pt x="571484" y="1612644"/>
                  </a:lnTo>
                  <a:lnTo>
                    <a:pt x="549990" y="1616835"/>
                  </a:lnTo>
                  <a:lnTo>
                    <a:pt x="543909" y="1641763"/>
                  </a:lnTo>
                  <a:lnTo>
                    <a:pt x="555140" y="1676662"/>
                  </a:lnTo>
                  <a:lnTo>
                    <a:pt x="544978" y="1704849"/>
                  </a:lnTo>
                  <a:lnTo>
                    <a:pt x="520480" y="1714665"/>
                  </a:lnTo>
                  <a:lnTo>
                    <a:pt x="539366" y="1744489"/>
                  </a:lnTo>
                  <a:lnTo>
                    <a:pt x="530827" y="1760036"/>
                  </a:lnTo>
                  <a:lnTo>
                    <a:pt x="533357" y="1787712"/>
                  </a:lnTo>
                  <a:lnTo>
                    <a:pt x="517561" y="1818918"/>
                  </a:lnTo>
                  <a:lnTo>
                    <a:pt x="509060" y="1887281"/>
                  </a:lnTo>
                  <a:lnTo>
                    <a:pt x="493863" y="1895378"/>
                  </a:lnTo>
                  <a:lnTo>
                    <a:pt x="472074" y="1950287"/>
                  </a:lnTo>
                  <a:lnTo>
                    <a:pt x="448216" y="1958283"/>
                  </a:lnTo>
                  <a:lnTo>
                    <a:pt x="379512" y="1953023"/>
                  </a:lnTo>
                  <a:lnTo>
                    <a:pt x="344599" y="1960848"/>
                  </a:lnTo>
                  <a:lnTo>
                    <a:pt x="312000" y="1983045"/>
                  </a:lnTo>
                  <a:lnTo>
                    <a:pt x="298720" y="2018219"/>
                  </a:lnTo>
                  <a:lnTo>
                    <a:pt x="313836" y="2038121"/>
                  </a:lnTo>
                  <a:lnTo>
                    <a:pt x="297780" y="2061165"/>
                  </a:lnTo>
                  <a:lnTo>
                    <a:pt x="251564" y="2055332"/>
                  </a:lnTo>
                  <a:lnTo>
                    <a:pt x="216901" y="2067542"/>
                  </a:lnTo>
                  <a:lnTo>
                    <a:pt x="178841" y="2058710"/>
                  </a:lnTo>
                  <a:lnTo>
                    <a:pt x="171486" y="2036719"/>
                  </a:lnTo>
                  <a:lnTo>
                    <a:pt x="187379" y="2019217"/>
                  </a:lnTo>
                  <a:lnTo>
                    <a:pt x="165715" y="1997344"/>
                  </a:lnTo>
                  <a:lnTo>
                    <a:pt x="140333" y="1956807"/>
                  </a:lnTo>
                  <a:lnTo>
                    <a:pt x="135237" y="1937245"/>
                  </a:lnTo>
                  <a:lnTo>
                    <a:pt x="156020" y="1912983"/>
                  </a:lnTo>
                  <a:lnTo>
                    <a:pt x="175962" y="1909750"/>
                  </a:lnTo>
                  <a:lnTo>
                    <a:pt x="170448" y="1888424"/>
                  </a:lnTo>
                  <a:lnTo>
                    <a:pt x="156126" y="1887620"/>
                  </a:lnTo>
                  <a:lnTo>
                    <a:pt x="144228" y="1864956"/>
                  </a:lnTo>
                  <a:lnTo>
                    <a:pt x="120254" y="1850313"/>
                  </a:lnTo>
                  <a:lnTo>
                    <a:pt x="101177" y="1800798"/>
                  </a:lnTo>
                  <a:lnTo>
                    <a:pt x="77022" y="1778668"/>
                  </a:lnTo>
                  <a:lnTo>
                    <a:pt x="79434" y="1760310"/>
                  </a:lnTo>
                  <a:lnTo>
                    <a:pt x="53828" y="1722102"/>
                  </a:lnTo>
                  <a:lnTo>
                    <a:pt x="61764" y="1713039"/>
                  </a:lnTo>
                  <a:lnTo>
                    <a:pt x="73069" y="1669696"/>
                  </a:lnTo>
                  <a:lnTo>
                    <a:pt x="59741" y="1654682"/>
                  </a:lnTo>
                  <a:lnTo>
                    <a:pt x="42659" y="1667877"/>
                  </a:lnTo>
                  <a:lnTo>
                    <a:pt x="17443" y="1649233"/>
                  </a:lnTo>
                  <a:lnTo>
                    <a:pt x="12722" y="1586499"/>
                  </a:lnTo>
                  <a:lnTo>
                    <a:pt x="0" y="1564043"/>
                  </a:lnTo>
                  <a:lnTo>
                    <a:pt x="21503" y="1543520"/>
                  </a:lnTo>
                  <a:lnTo>
                    <a:pt x="33228" y="1561165"/>
                  </a:lnTo>
                  <a:lnTo>
                    <a:pt x="55314" y="1565694"/>
                  </a:lnTo>
                  <a:lnTo>
                    <a:pt x="63698" y="1547160"/>
                  </a:lnTo>
                  <a:lnTo>
                    <a:pt x="67618" y="1510327"/>
                  </a:lnTo>
                  <a:lnTo>
                    <a:pt x="55512" y="1475215"/>
                  </a:lnTo>
                  <a:lnTo>
                    <a:pt x="79581" y="1460111"/>
                  </a:lnTo>
                  <a:lnTo>
                    <a:pt x="69891" y="1439047"/>
                  </a:lnTo>
                  <a:lnTo>
                    <a:pt x="102263" y="1431970"/>
                  </a:lnTo>
                  <a:lnTo>
                    <a:pt x="128904" y="1410219"/>
                  </a:lnTo>
                  <a:lnTo>
                    <a:pt x="137834" y="1388043"/>
                  </a:lnTo>
                  <a:lnTo>
                    <a:pt x="133663" y="1369129"/>
                  </a:lnTo>
                  <a:lnTo>
                    <a:pt x="144121" y="1341606"/>
                  </a:lnTo>
                  <a:lnTo>
                    <a:pt x="123655" y="1309314"/>
                  </a:lnTo>
                  <a:lnTo>
                    <a:pt x="107072" y="1268383"/>
                  </a:lnTo>
                  <a:lnTo>
                    <a:pt x="151446" y="1261307"/>
                  </a:lnTo>
                  <a:lnTo>
                    <a:pt x="169662" y="1217786"/>
                  </a:lnTo>
                  <a:lnTo>
                    <a:pt x="140486" y="1186374"/>
                  </a:lnTo>
                  <a:lnTo>
                    <a:pt x="126000" y="1187229"/>
                  </a:lnTo>
                  <a:lnTo>
                    <a:pt x="98719" y="1163356"/>
                  </a:lnTo>
                  <a:lnTo>
                    <a:pt x="114366" y="1082193"/>
                  </a:lnTo>
                  <a:lnTo>
                    <a:pt x="90831" y="1030398"/>
                  </a:lnTo>
                  <a:lnTo>
                    <a:pt x="98595" y="1009864"/>
                  </a:lnTo>
                  <a:lnTo>
                    <a:pt x="92626" y="986460"/>
                  </a:lnTo>
                  <a:lnTo>
                    <a:pt x="106515" y="971628"/>
                  </a:lnTo>
                  <a:lnTo>
                    <a:pt x="82939" y="930716"/>
                  </a:lnTo>
                  <a:lnTo>
                    <a:pt x="105997" y="898733"/>
                  </a:lnTo>
                  <a:lnTo>
                    <a:pt x="99890" y="881061"/>
                  </a:lnTo>
                  <a:lnTo>
                    <a:pt x="151541" y="822558"/>
                  </a:lnTo>
                  <a:lnTo>
                    <a:pt x="202586" y="803840"/>
                  </a:lnTo>
                  <a:lnTo>
                    <a:pt x="275778" y="817347"/>
                  </a:lnTo>
                  <a:lnTo>
                    <a:pt x="294122" y="788407"/>
                  </a:lnTo>
                  <a:lnTo>
                    <a:pt x="289938" y="746872"/>
                  </a:lnTo>
                  <a:lnTo>
                    <a:pt x="245466" y="728506"/>
                  </a:lnTo>
                  <a:lnTo>
                    <a:pt x="310463" y="644086"/>
                  </a:lnTo>
                  <a:lnTo>
                    <a:pt x="327962" y="613981"/>
                  </a:lnTo>
                  <a:lnTo>
                    <a:pt x="327182" y="580481"/>
                  </a:lnTo>
                  <a:lnTo>
                    <a:pt x="339442" y="534270"/>
                  </a:lnTo>
                  <a:lnTo>
                    <a:pt x="328877" y="482960"/>
                  </a:lnTo>
                  <a:lnTo>
                    <a:pt x="379134" y="479594"/>
                  </a:lnTo>
                  <a:lnTo>
                    <a:pt x="422584" y="458881"/>
                  </a:lnTo>
                  <a:lnTo>
                    <a:pt x="412182" y="426347"/>
                  </a:lnTo>
                  <a:lnTo>
                    <a:pt x="435805" y="408560"/>
                  </a:lnTo>
                  <a:lnTo>
                    <a:pt x="476193" y="356931"/>
                  </a:lnTo>
                  <a:lnTo>
                    <a:pt x="509961" y="335251"/>
                  </a:lnTo>
                  <a:lnTo>
                    <a:pt x="511543" y="309180"/>
                  </a:lnTo>
                  <a:lnTo>
                    <a:pt x="481134" y="271397"/>
                  </a:lnTo>
                  <a:lnTo>
                    <a:pt x="511888" y="255134"/>
                  </a:lnTo>
                  <a:lnTo>
                    <a:pt x="526268" y="236484"/>
                  </a:lnTo>
                  <a:lnTo>
                    <a:pt x="543863" y="192290"/>
                  </a:lnTo>
                  <a:lnTo>
                    <a:pt x="596443" y="158269"/>
                  </a:lnTo>
                  <a:lnTo>
                    <a:pt x="656264" y="183130"/>
                  </a:lnTo>
                  <a:lnTo>
                    <a:pt x="680608" y="144934"/>
                  </a:lnTo>
                  <a:lnTo>
                    <a:pt x="678148" y="88391"/>
                  </a:lnTo>
                  <a:lnTo>
                    <a:pt x="705218" y="80767"/>
                  </a:lnTo>
                  <a:lnTo>
                    <a:pt x="726073" y="93355"/>
                  </a:lnTo>
                  <a:lnTo>
                    <a:pt x="761157" y="91675"/>
                  </a:lnTo>
                  <a:lnTo>
                    <a:pt x="851879" y="118658"/>
                  </a:lnTo>
                  <a:lnTo>
                    <a:pt x="881405" y="96064"/>
                  </a:lnTo>
                  <a:lnTo>
                    <a:pt x="853437" y="84791"/>
                  </a:lnTo>
                  <a:lnTo>
                    <a:pt x="879111" y="66624"/>
                  </a:lnTo>
                  <a:lnTo>
                    <a:pt x="889151" y="22679"/>
                  </a:lnTo>
                  <a:lnTo>
                    <a:pt x="865295" y="2411"/>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8" name="ee4p_15_1_43215"/>
            <p:cNvSpPr>
              <a:spLocks noChangeAspect="1"/>
            </p:cNvSpPr>
            <p:nvPr>
              <p:custDataLst>
                <p:tags r:id="rId4"/>
              </p:custDataLst>
            </p:nvPr>
          </p:nvSpPr>
          <p:spPr bwMode="gray">
            <a:xfrm>
              <a:off x="3727462" y="3460545"/>
              <a:ext cx="684979" cy="412971"/>
            </a:xfrm>
            <a:custGeom>
              <a:avLst/>
              <a:gdLst/>
              <a:ahLst/>
              <a:cxnLst/>
              <a:rect l="l" t="t" r="r" b="b"/>
              <a:pathLst>
                <a:path w="684979" h="412971">
                  <a:moveTo>
                    <a:pt x="367704" y="368910"/>
                  </a:moveTo>
                  <a:lnTo>
                    <a:pt x="395774" y="382749"/>
                  </a:lnTo>
                  <a:lnTo>
                    <a:pt x="377775" y="400596"/>
                  </a:lnTo>
                  <a:lnTo>
                    <a:pt x="356111" y="379966"/>
                  </a:lnTo>
                  <a:close/>
                  <a:moveTo>
                    <a:pt x="308772" y="366420"/>
                  </a:moveTo>
                  <a:lnTo>
                    <a:pt x="330407" y="382571"/>
                  </a:lnTo>
                  <a:lnTo>
                    <a:pt x="346623" y="373773"/>
                  </a:lnTo>
                  <a:lnTo>
                    <a:pt x="365303" y="390948"/>
                  </a:lnTo>
                  <a:lnTo>
                    <a:pt x="361110" y="408555"/>
                  </a:lnTo>
                  <a:lnTo>
                    <a:pt x="339937" y="405523"/>
                  </a:lnTo>
                  <a:lnTo>
                    <a:pt x="327365" y="412971"/>
                  </a:lnTo>
                  <a:lnTo>
                    <a:pt x="283060" y="392376"/>
                  </a:lnTo>
                  <a:lnTo>
                    <a:pt x="289434" y="368812"/>
                  </a:lnTo>
                  <a:close/>
                  <a:moveTo>
                    <a:pt x="642134" y="330337"/>
                  </a:moveTo>
                  <a:lnTo>
                    <a:pt x="662627" y="330962"/>
                  </a:lnTo>
                  <a:lnTo>
                    <a:pt x="684979" y="343375"/>
                  </a:lnTo>
                  <a:lnTo>
                    <a:pt x="677871" y="362175"/>
                  </a:lnTo>
                  <a:lnTo>
                    <a:pt x="645243" y="351940"/>
                  </a:lnTo>
                  <a:close/>
                  <a:moveTo>
                    <a:pt x="216379" y="276418"/>
                  </a:moveTo>
                  <a:lnTo>
                    <a:pt x="236871" y="297631"/>
                  </a:lnTo>
                  <a:lnTo>
                    <a:pt x="250660" y="299846"/>
                  </a:lnTo>
                  <a:lnTo>
                    <a:pt x="265215" y="318456"/>
                  </a:lnTo>
                  <a:lnTo>
                    <a:pt x="261172" y="346875"/>
                  </a:lnTo>
                  <a:lnTo>
                    <a:pt x="236117" y="356960"/>
                  </a:lnTo>
                  <a:lnTo>
                    <a:pt x="217086" y="353236"/>
                  </a:lnTo>
                  <a:lnTo>
                    <a:pt x="175467" y="327623"/>
                  </a:lnTo>
                  <a:lnTo>
                    <a:pt x="160834" y="292240"/>
                  </a:lnTo>
                  <a:lnTo>
                    <a:pt x="180434" y="291390"/>
                  </a:lnTo>
                  <a:close/>
                  <a:moveTo>
                    <a:pt x="411899" y="208490"/>
                  </a:moveTo>
                  <a:lnTo>
                    <a:pt x="440175" y="219844"/>
                  </a:lnTo>
                  <a:lnTo>
                    <a:pt x="429783" y="235736"/>
                  </a:lnTo>
                  <a:lnTo>
                    <a:pt x="437669" y="267514"/>
                  </a:lnTo>
                  <a:lnTo>
                    <a:pt x="427063" y="279553"/>
                  </a:lnTo>
                  <a:lnTo>
                    <a:pt x="404329" y="285796"/>
                  </a:lnTo>
                  <a:lnTo>
                    <a:pt x="401200" y="303050"/>
                  </a:lnTo>
                  <a:lnTo>
                    <a:pt x="422858" y="323298"/>
                  </a:lnTo>
                  <a:lnTo>
                    <a:pt x="390220" y="336544"/>
                  </a:lnTo>
                  <a:lnTo>
                    <a:pt x="396216" y="360033"/>
                  </a:lnTo>
                  <a:lnTo>
                    <a:pt x="384671" y="365570"/>
                  </a:lnTo>
                  <a:lnTo>
                    <a:pt x="361174" y="355489"/>
                  </a:lnTo>
                  <a:lnTo>
                    <a:pt x="345006" y="336865"/>
                  </a:lnTo>
                  <a:lnTo>
                    <a:pt x="306399" y="332523"/>
                  </a:lnTo>
                  <a:lnTo>
                    <a:pt x="303674" y="307591"/>
                  </a:lnTo>
                  <a:lnTo>
                    <a:pt x="291773" y="270487"/>
                  </a:lnTo>
                  <a:lnTo>
                    <a:pt x="347690" y="236858"/>
                  </a:lnTo>
                  <a:lnTo>
                    <a:pt x="355309" y="260614"/>
                  </a:lnTo>
                  <a:lnTo>
                    <a:pt x="382082" y="238733"/>
                  </a:lnTo>
                  <a:lnTo>
                    <a:pt x="398535" y="209639"/>
                  </a:lnTo>
                  <a:close/>
                  <a:moveTo>
                    <a:pt x="80325" y="102088"/>
                  </a:moveTo>
                  <a:lnTo>
                    <a:pt x="63249" y="131805"/>
                  </a:lnTo>
                  <a:lnTo>
                    <a:pt x="47168" y="124932"/>
                  </a:lnTo>
                  <a:lnTo>
                    <a:pt x="53301" y="105753"/>
                  </a:lnTo>
                  <a:lnTo>
                    <a:pt x="56166" y="103437"/>
                  </a:lnTo>
                  <a:close/>
                  <a:moveTo>
                    <a:pt x="189971" y="79558"/>
                  </a:moveTo>
                  <a:lnTo>
                    <a:pt x="204652" y="89551"/>
                  </a:lnTo>
                  <a:lnTo>
                    <a:pt x="221262" y="134481"/>
                  </a:lnTo>
                  <a:lnTo>
                    <a:pt x="234939" y="154847"/>
                  </a:lnTo>
                  <a:lnTo>
                    <a:pt x="262200" y="151433"/>
                  </a:lnTo>
                  <a:lnTo>
                    <a:pt x="275878" y="160829"/>
                  </a:lnTo>
                  <a:lnTo>
                    <a:pt x="274597" y="178243"/>
                  </a:lnTo>
                  <a:lnTo>
                    <a:pt x="251570" y="197502"/>
                  </a:lnTo>
                  <a:lnTo>
                    <a:pt x="207792" y="201981"/>
                  </a:lnTo>
                  <a:lnTo>
                    <a:pt x="210978" y="236420"/>
                  </a:lnTo>
                  <a:lnTo>
                    <a:pt x="197593" y="243182"/>
                  </a:lnTo>
                  <a:lnTo>
                    <a:pt x="187027" y="265807"/>
                  </a:lnTo>
                  <a:lnTo>
                    <a:pt x="160737" y="271533"/>
                  </a:lnTo>
                  <a:lnTo>
                    <a:pt x="163922" y="283708"/>
                  </a:lnTo>
                  <a:lnTo>
                    <a:pt x="147052" y="303261"/>
                  </a:lnTo>
                  <a:lnTo>
                    <a:pt x="158848" y="326542"/>
                  </a:lnTo>
                  <a:lnTo>
                    <a:pt x="137613" y="339411"/>
                  </a:lnTo>
                  <a:lnTo>
                    <a:pt x="150354" y="359161"/>
                  </a:lnTo>
                  <a:lnTo>
                    <a:pt x="148024" y="372531"/>
                  </a:lnTo>
                  <a:lnTo>
                    <a:pt x="122760" y="387122"/>
                  </a:lnTo>
                  <a:lnTo>
                    <a:pt x="84343" y="373646"/>
                  </a:lnTo>
                  <a:lnTo>
                    <a:pt x="62106" y="374572"/>
                  </a:lnTo>
                  <a:lnTo>
                    <a:pt x="53751" y="355179"/>
                  </a:lnTo>
                  <a:lnTo>
                    <a:pt x="58910" y="341093"/>
                  </a:lnTo>
                  <a:lnTo>
                    <a:pt x="52609" y="302704"/>
                  </a:lnTo>
                  <a:lnTo>
                    <a:pt x="36104" y="298797"/>
                  </a:lnTo>
                  <a:lnTo>
                    <a:pt x="18766" y="280126"/>
                  </a:lnTo>
                  <a:lnTo>
                    <a:pt x="0" y="285332"/>
                  </a:lnTo>
                  <a:lnTo>
                    <a:pt x="17835" y="243270"/>
                  </a:lnTo>
                  <a:lnTo>
                    <a:pt x="29980" y="237737"/>
                  </a:lnTo>
                  <a:lnTo>
                    <a:pt x="22120" y="217292"/>
                  </a:lnTo>
                  <a:lnTo>
                    <a:pt x="6063" y="210043"/>
                  </a:lnTo>
                  <a:lnTo>
                    <a:pt x="7914" y="137284"/>
                  </a:lnTo>
                  <a:lnTo>
                    <a:pt x="24781" y="146095"/>
                  </a:lnTo>
                  <a:lnTo>
                    <a:pt x="60470" y="144932"/>
                  </a:lnTo>
                  <a:lnTo>
                    <a:pt x="86194" y="115317"/>
                  </a:lnTo>
                  <a:lnTo>
                    <a:pt x="105612" y="114585"/>
                  </a:lnTo>
                  <a:lnTo>
                    <a:pt x="117846" y="88013"/>
                  </a:lnTo>
                  <a:close/>
                  <a:moveTo>
                    <a:pt x="216406" y="0"/>
                  </a:moveTo>
                  <a:lnTo>
                    <a:pt x="227348" y="5948"/>
                  </a:lnTo>
                  <a:lnTo>
                    <a:pt x="238260" y="23157"/>
                  </a:lnTo>
                  <a:lnTo>
                    <a:pt x="238913" y="56849"/>
                  </a:lnTo>
                  <a:lnTo>
                    <a:pt x="218187" y="89301"/>
                  </a:lnTo>
                  <a:lnTo>
                    <a:pt x="186492" y="75402"/>
                  </a:lnTo>
                  <a:lnTo>
                    <a:pt x="170368" y="75147"/>
                  </a:lnTo>
                  <a:lnTo>
                    <a:pt x="112549" y="89097"/>
                  </a:lnTo>
                  <a:lnTo>
                    <a:pt x="102436" y="82284"/>
                  </a:lnTo>
                  <a:lnTo>
                    <a:pt x="66304" y="95241"/>
                  </a:lnTo>
                  <a:lnTo>
                    <a:pt x="56166" y="103437"/>
                  </a:lnTo>
                  <a:lnTo>
                    <a:pt x="54003" y="103558"/>
                  </a:lnTo>
                  <a:lnTo>
                    <a:pt x="53301" y="105753"/>
                  </a:lnTo>
                  <a:lnTo>
                    <a:pt x="38090" y="118051"/>
                  </a:lnTo>
                  <a:lnTo>
                    <a:pt x="15120" y="115651"/>
                  </a:lnTo>
                  <a:lnTo>
                    <a:pt x="27870" y="93288"/>
                  </a:lnTo>
                  <a:lnTo>
                    <a:pt x="52740" y="70323"/>
                  </a:lnTo>
                  <a:lnTo>
                    <a:pt x="127973" y="65057"/>
                  </a:lnTo>
                  <a:lnTo>
                    <a:pt x="142215" y="55719"/>
                  </a:lnTo>
                  <a:lnTo>
                    <a:pt x="182071" y="5097"/>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9" name="ee4p_20_1_43215"/>
            <p:cNvSpPr>
              <a:spLocks noChangeAspect="1"/>
            </p:cNvSpPr>
            <p:nvPr>
              <p:custDataLst>
                <p:tags r:id="rId5"/>
              </p:custDataLst>
            </p:nvPr>
          </p:nvSpPr>
          <p:spPr bwMode="gray">
            <a:xfrm>
              <a:off x="3500957" y="4456021"/>
              <a:ext cx="75609" cy="84903"/>
            </a:xfrm>
            <a:custGeom>
              <a:avLst/>
              <a:gdLst/>
              <a:ahLst/>
              <a:cxnLst/>
              <a:rect l="0" t="0" r="0" b="0"/>
              <a:pathLst>
                <a:path w="75609" h="84903">
                  <a:moveTo>
                    <a:pt x="38889" y="0"/>
                  </a:moveTo>
                  <a:lnTo>
                    <a:pt x="48356" y="29153"/>
                  </a:lnTo>
                  <a:lnTo>
                    <a:pt x="75608" y="51207"/>
                  </a:lnTo>
                  <a:lnTo>
                    <a:pt x="60161" y="70322"/>
                  </a:lnTo>
                  <a:lnTo>
                    <a:pt x="61090" y="83229"/>
                  </a:lnTo>
                  <a:lnTo>
                    <a:pt x="42949" y="78508"/>
                  </a:lnTo>
                  <a:lnTo>
                    <a:pt x="24196" y="84902"/>
                  </a:lnTo>
                  <a:lnTo>
                    <a:pt x="7969" y="73582"/>
                  </a:lnTo>
                  <a:lnTo>
                    <a:pt x="14568" y="53074"/>
                  </a:lnTo>
                  <a:lnTo>
                    <a:pt x="0" y="29432"/>
                  </a:lnTo>
                  <a:lnTo>
                    <a:pt x="15434" y="2244"/>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0" name="ee4p_21_1_43215"/>
            <p:cNvSpPr>
              <a:spLocks noChangeAspect="1"/>
            </p:cNvSpPr>
            <p:nvPr>
              <p:custDataLst>
                <p:tags r:id="rId6"/>
              </p:custDataLst>
            </p:nvPr>
          </p:nvSpPr>
          <p:spPr bwMode="gray">
            <a:xfrm>
              <a:off x="3271774" y="4025635"/>
              <a:ext cx="372102" cy="351110"/>
            </a:xfrm>
            <a:custGeom>
              <a:avLst/>
              <a:gdLst/>
              <a:ahLst/>
              <a:cxnLst/>
              <a:rect l="l" t="t" r="r" b="b"/>
              <a:pathLst>
                <a:path w="372102" h="351110">
                  <a:moveTo>
                    <a:pt x="14560" y="267495"/>
                  </a:moveTo>
                  <a:lnTo>
                    <a:pt x="48350" y="276651"/>
                  </a:lnTo>
                  <a:lnTo>
                    <a:pt x="83950" y="275142"/>
                  </a:lnTo>
                  <a:lnTo>
                    <a:pt x="57245" y="292109"/>
                  </a:lnTo>
                  <a:lnTo>
                    <a:pt x="21748" y="280638"/>
                  </a:lnTo>
                  <a:lnTo>
                    <a:pt x="5820" y="288437"/>
                  </a:lnTo>
                  <a:lnTo>
                    <a:pt x="0" y="272590"/>
                  </a:lnTo>
                  <a:close/>
                  <a:moveTo>
                    <a:pt x="333594" y="0"/>
                  </a:moveTo>
                  <a:lnTo>
                    <a:pt x="344552" y="17889"/>
                  </a:lnTo>
                  <a:lnTo>
                    <a:pt x="370965" y="29842"/>
                  </a:lnTo>
                  <a:lnTo>
                    <a:pt x="372102" y="59504"/>
                  </a:lnTo>
                  <a:lnTo>
                    <a:pt x="359960" y="80585"/>
                  </a:lnTo>
                  <a:lnTo>
                    <a:pt x="356888" y="107564"/>
                  </a:lnTo>
                  <a:lnTo>
                    <a:pt x="326660" y="107249"/>
                  </a:lnTo>
                  <a:lnTo>
                    <a:pt x="322276" y="128034"/>
                  </a:lnTo>
                  <a:lnTo>
                    <a:pt x="346398" y="134498"/>
                  </a:lnTo>
                  <a:lnTo>
                    <a:pt x="358494" y="145466"/>
                  </a:lnTo>
                  <a:lnTo>
                    <a:pt x="350540" y="161743"/>
                  </a:lnTo>
                  <a:lnTo>
                    <a:pt x="323901" y="185984"/>
                  </a:lnTo>
                  <a:lnTo>
                    <a:pt x="331067" y="200266"/>
                  </a:lnTo>
                  <a:lnTo>
                    <a:pt x="292443" y="212699"/>
                  </a:lnTo>
                  <a:lnTo>
                    <a:pt x="260098" y="210241"/>
                  </a:lnTo>
                  <a:lnTo>
                    <a:pt x="257844" y="232964"/>
                  </a:lnTo>
                  <a:lnTo>
                    <a:pt x="276366" y="258867"/>
                  </a:lnTo>
                  <a:lnTo>
                    <a:pt x="261781" y="288697"/>
                  </a:lnTo>
                  <a:lnTo>
                    <a:pt x="263640" y="302482"/>
                  </a:lnTo>
                  <a:lnTo>
                    <a:pt x="246349" y="311217"/>
                  </a:lnTo>
                  <a:lnTo>
                    <a:pt x="263284" y="336044"/>
                  </a:lnTo>
                  <a:lnTo>
                    <a:pt x="256782" y="351110"/>
                  </a:lnTo>
                  <a:lnTo>
                    <a:pt x="225836" y="347539"/>
                  </a:lnTo>
                  <a:lnTo>
                    <a:pt x="240783" y="301251"/>
                  </a:lnTo>
                  <a:lnTo>
                    <a:pt x="181318" y="280607"/>
                  </a:lnTo>
                  <a:lnTo>
                    <a:pt x="164864" y="269343"/>
                  </a:lnTo>
                  <a:lnTo>
                    <a:pt x="123307" y="265679"/>
                  </a:lnTo>
                  <a:lnTo>
                    <a:pt x="113305" y="257910"/>
                  </a:lnTo>
                  <a:lnTo>
                    <a:pt x="84806" y="271743"/>
                  </a:lnTo>
                  <a:lnTo>
                    <a:pt x="58848" y="260576"/>
                  </a:lnTo>
                  <a:lnTo>
                    <a:pt x="43398" y="270475"/>
                  </a:lnTo>
                  <a:lnTo>
                    <a:pt x="20079" y="263528"/>
                  </a:lnTo>
                  <a:lnTo>
                    <a:pt x="17968" y="244232"/>
                  </a:lnTo>
                  <a:lnTo>
                    <a:pt x="42284" y="242126"/>
                  </a:lnTo>
                  <a:lnTo>
                    <a:pt x="48314" y="214628"/>
                  </a:lnTo>
                  <a:lnTo>
                    <a:pt x="62018" y="210474"/>
                  </a:lnTo>
                  <a:lnTo>
                    <a:pt x="73594" y="191077"/>
                  </a:lnTo>
                  <a:lnTo>
                    <a:pt x="97440" y="166911"/>
                  </a:lnTo>
                  <a:lnTo>
                    <a:pt x="114562" y="137200"/>
                  </a:lnTo>
                  <a:lnTo>
                    <a:pt x="130360" y="68916"/>
                  </a:lnTo>
                  <a:lnTo>
                    <a:pt x="145850" y="75411"/>
                  </a:lnTo>
                  <a:lnTo>
                    <a:pt x="162566" y="68635"/>
                  </a:lnTo>
                  <a:lnTo>
                    <a:pt x="197484" y="43748"/>
                  </a:lnTo>
                  <a:lnTo>
                    <a:pt x="214786" y="21396"/>
                  </a:lnTo>
                  <a:lnTo>
                    <a:pt x="244104" y="9856"/>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1" name="ee4p_52_1_43215"/>
            <p:cNvSpPr>
              <a:spLocks noChangeAspect="1"/>
            </p:cNvSpPr>
            <p:nvPr>
              <p:custDataLst>
                <p:tags r:id="rId7"/>
              </p:custDataLst>
            </p:nvPr>
          </p:nvSpPr>
          <p:spPr bwMode="gray">
            <a:xfrm>
              <a:off x="4314473" y="3843578"/>
              <a:ext cx="963466" cy="749537"/>
            </a:xfrm>
            <a:custGeom>
              <a:avLst/>
              <a:gdLst/>
              <a:ahLst/>
              <a:cxnLst/>
              <a:rect l="0" t="0" r="0" b="0"/>
              <a:pathLst>
                <a:path w="963466" h="749537">
                  <a:moveTo>
                    <a:pt x="836868" y="62773"/>
                  </a:moveTo>
                  <a:lnTo>
                    <a:pt x="889651" y="77650"/>
                  </a:lnTo>
                  <a:lnTo>
                    <a:pt x="903999" y="90759"/>
                  </a:lnTo>
                  <a:lnTo>
                    <a:pt x="906783" y="116885"/>
                  </a:lnTo>
                  <a:lnTo>
                    <a:pt x="910112" y="141897"/>
                  </a:lnTo>
                  <a:lnTo>
                    <a:pt x="936208" y="210973"/>
                  </a:lnTo>
                  <a:lnTo>
                    <a:pt x="945597" y="224247"/>
                  </a:lnTo>
                  <a:lnTo>
                    <a:pt x="947809" y="280546"/>
                  </a:lnTo>
                  <a:lnTo>
                    <a:pt x="931109" y="292930"/>
                  </a:lnTo>
                  <a:lnTo>
                    <a:pt x="896478" y="306807"/>
                  </a:lnTo>
                  <a:lnTo>
                    <a:pt x="877845" y="330462"/>
                  </a:lnTo>
                  <a:lnTo>
                    <a:pt x="876692" y="343849"/>
                  </a:lnTo>
                  <a:lnTo>
                    <a:pt x="904669" y="350730"/>
                  </a:lnTo>
                  <a:lnTo>
                    <a:pt x="923655" y="374252"/>
                  </a:lnTo>
                  <a:lnTo>
                    <a:pt x="909624" y="424190"/>
                  </a:lnTo>
                  <a:lnTo>
                    <a:pt x="924448" y="449786"/>
                  </a:lnTo>
                  <a:lnTo>
                    <a:pt x="918516" y="460952"/>
                  </a:lnTo>
                  <a:lnTo>
                    <a:pt x="940371" y="481678"/>
                  </a:lnTo>
                  <a:lnTo>
                    <a:pt x="950890" y="508118"/>
                  </a:lnTo>
                  <a:lnTo>
                    <a:pt x="963465" y="522759"/>
                  </a:lnTo>
                  <a:lnTo>
                    <a:pt x="963293" y="552875"/>
                  </a:lnTo>
                  <a:lnTo>
                    <a:pt x="953509" y="576685"/>
                  </a:lnTo>
                  <a:lnTo>
                    <a:pt x="925018" y="581361"/>
                  </a:lnTo>
                  <a:lnTo>
                    <a:pt x="884011" y="617968"/>
                  </a:lnTo>
                  <a:lnTo>
                    <a:pt x="822221" y="688079"/>
                  </a:lnTo>
                  <a:lnTo>
                    <a:pt x="832231" y="708184"/>
                  </a:lnTo>
                  <a:lnTo>
                    <a:pt x="826037" y="749536"/>
                  </a:lnTo>
                  <a:lnTo>
                    <a:pt x="815072" y="743411"/>
                  </a:lnTo>
                  <a:lnTo>
                    <a:pt x="800271" y="741700"/>
                  </a:lnTo>
                  <a:lnTo>
                    <a:pt x="763272" y="726355"/>
                  </a:lnTo>
                  <a:lnTo>
                    <a:pt x="753837" y="711153"/>
                  </a:lnTo>
                  <a:lnTo>
                    <a:pt x="721673" y="699969"/>
                  </a:lnTo>
                  <a:lnTo>
                    <a:pt x="690339" y="696763"/>
                  </a:lnTo>
                  <a:lnTo>
                    <a:pt x="656874" y="717272"/>
                  </a:lnTo>
                  <a:lnTo>
                    <a:pt x="625864" y="702691"/>
                  </a:lnTo>
                  <a:lnTo>
                    <a:pt x="597902" y="704162"/>
                  </a:lnTo>
                  <a:lnTo>
                    <a:pt x="580840" y="714679"/>
                  </a:lnTo>
                  <a:lnTo>
                    <a:pt x="573390" y="731857"/>
                  </a:lnTo>
                  <a:lnTo>
                    <a:pt x="546623" y="720943"/>
                  </a:lnTo>
                  <a:lnTo>
                    <a:pt x="546436" y="702997"/>
                  </a:lnTo>
                  <a:lnTo>
                    <a:pt x="532302" y="703067"/>
                  </a:lnTo>
                  <a:lnTo>
                    <a:pt x="515167" y="677546"/>
                  </a:lnTo>
                  <a:lnTo>
                    <a:pt x="492551" y="690479"/>
                  </a:lnTo>
                  <a:lnTo>
                    <a:pt x="484785" y="703920"/>
                  </a:lnTo>
                  <a:lnTo>
                    <a:pt x="455578" y="689684"/>
                  </a:lnTo>
                  <a:lnTo>
                    <a:pt x="451033" y="669354"/>
                  </a:lnTo>
                  <a:lnTo>
                    <a:pt x="433871" y="663887"/>
                  </a:lnTo>
                  <a:lnTo>
                    <a:pt x="414861" y="636678"/>
                  </a:lnTo>
                  <a:lnTo>
                    <a:pt x="384501" y="629608"/>
                  </a:lnTo>
                  <a:lnTo>
                    <a:pt x="359754" y="631302"/>
                  </a:lnTo>
                  <a:lnTo>
                    <a:pt x="334908" y="607257"/>
                  </a:lnTo>
                  <a:lnTo>
                    <a:pt x="336152" y="595098"/>
                  </a:lnTo>
                  <a:lnTo>
                    <a:pt x="309685" y="593518"/>
                  </a:lnTo>
                  <a:lnTo>
                    <a:pt x="287139" y="577598"/>
                  </a:lnTo>
                  <a:lnTo>
                    <a:pt x="278350" y="593626"/>
                  </a:lnTo>
                  <a:lnTo>
                    <a:pt x="247927" y="616673"/>
                  </a:lnTo>
                  <a:lnTo>
                    <a:pt x="214589" y="580861"/>
                  </a:lnTo>
                  <a:lnTo>
                    <a:pt x="198598" y="574147"/>
                  </a:lnTo>
                  <a:lnTo>
                    <a:pt x="222711" y="555413"/>
                  </a:lnTo>
                  <a:lnTo>
                    <a:pt x="212860" y="544986"/>
                  </a:lnTo>
                  <a:lnTo>
                    <a:pt x="166436" y="542461"/>
                  </a:lnTo>
                  <a:lnTo>
                    <a:pt x="112877" y="519505"/>
                  </a:lnTo>
                  <a:lnTo>
                    <a:pt x="105930" y="501987"/>
                  </a:lnTo>
                  <a:lnTo>
                    <a:pt x="81448" y="500413"/>
                  </a:lnTo>
                  <a:lnTo>
                    <a:pt x="83096" y="518537"/>
                  </a:lnTo>
                  <a:lnTo>
                    <a:pt x="65807" y="518342"/>
                  </a:lnTo>
                  <a:lnTo>
                    <a:pt x="81346" y="490101"/>
                  </a:lnTo>
                  <a:lnTo>
                    <a:pt x="86505" y="470605"/>
                  </a:lnTo>
                  <a:lnTo>
                    <a:pt x="77896" y="441333"/>
                  </a:lnTo>
                  <a:lnTo>
                    <a:pt x="57332" y="434366"/>
                  </a:lnTo>
                  <a:lnTo>
                    <a:pt x="58970" y="416193"/>
                  </a:lnTo>
                  <a:lnTo>
                    <a:pt x="43494" y="395238"/>
                  </a:lnTo>
                  <a:lnTo>
                    <a:pt x="59589" y="364702"/>
                  </a:lnTo>
                  <a:lnTo>
                    <a:pt x="53164" y="340060"/>
                  </a:lnTo>
                  <a:lnTo>
                    <a:pt x="37844" y="321968"/>
                  </a:lnTo>
                  <a:lnTo>
                    <a:pt x="47617" y="308779"/>
                  </a:lnTo>
                  <a:lnTo>
                    <a:pt x="43998" y="294020"/>
                  </a:lnTo>
                  <a:lnTo>
                    <a:pt x="0" y="266053"/>
                  </a:lnTo>
                  <a:lnTo>
                    <a:pt x="39" y="248059"/>
                  </a:lnTo>
                  <a:lnTo>
                    <a:pt x="19562" y="236220"/>
                  </a:lnTo>
                  <a:lnTo>
                    <a:pt x="28015" y="211372"/>
                  </a:lnTo>
                  <a:lnTo>
                    <a:pt x="12338" y="155359"/>
                  </a:lnTo>
                  <a:lnTo>
                    <a:pt x="38895" y="153921"/>
                  </a:lnTo>
                  <a:lnTo>
                    <a:pt x="49050" y="124802"/>
                  </a:lnTo>
                  <a:lnTo>
                    <a:pt x="63047" y="106830"/>
                  </a:lnTo>
                  <a:lnTo>
                    <a:pt x="111073" y="91514"/>
                  </a:lnTo>
                  <a:lnTo>
                    <a:pt x="194284" y="72429"/>
                  </a:lnTo>
                  <a:lnTo>
                    <a:pt x="231479" y="38890"/>
                  </a:lnTo>
                  <a:lnTo>
                    <a:pt x="271785" y="29474"/>
                  </a:lnTo>
                  <a:lnTo>
                    <a:pt x="301207" y="13369"/>
                  </a:lnTo>
                  <a:lnTo>
                    <a:pt x="370056" y="226"/>
                  </a:lnTo>
                  <a:lnTo>
                    <a:pt x="405744" y="0"/>
                  </a:lnTo>
                  <a:lnTo>
                    <a:pt x="427306" y="37691"/>
                  </a:lnTo>
                  <a:lnTo>
                    <a:pt x="430382" y="53856"/>
                  </a:lnTo>
                  <a:lnTo>
                    <a:pt x="455039" y="64123"/>
                  </a:lnTo>
                  <a:lnTo>
                    <a:pt x="493839" y="67258"/>
                  </a:lnTo>
                  <a:lnTo>
                    <a:pt x="508531" y="76501"/>
                  </a:lnTo>
                  <a:lnTo>
                    <a:pt x="547715" y="52225"/>
                  </a:lnTo>
                  <a:lnTo>
                    <a:pt x="627766" y="62380"/>
                  </a:lnTo>
                  <a:lnTo>
                    <a:pt x="706629" y="68792"/>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2" name="ee4p_17_1_43215"/>
            <p:cNvSpPr>
              <a:spLocks noChangeAspect="1"/>
            </p:cNvSpPr>
            <p:nvPr>
              <p:custDataLst>
                <p:tags r:id="rId8"/>
              </p:custDataLst>
            </p:nvPr>
          </p:nvSpPr>
          <p:spPr bwMode="gray">
            <a:xfrm>
              <a:off x="2483548" y="4333955"/>
              <a:ext cx="1386468" cy="1172643"/>
            </a:xfrm>
            <a:custGeom>
              <a:avLst/>
              <a:gdLst/>
              <a:ahLst/>
              <a:cxnLst/>
              <a:rect l="l" t="t" r="r" b="b"/>
              <a:pathLst>
                <a:path w="1386468" h="1172643">
                  <a:moveTo>
                    <a:pt x="1374576" y="988374"/>
                  </a:moveTo>
                  <a:lnTo>
                    <a:pt x="1380813" y="1013290"/>
                  </a:lnTo>
                  <a:lnTo>
                    <a:pt x="1376452" y="1026321"/>
                  </a:lnTo>
                  <a:lnTo>
                    <a:pt x="1384915" y="1043147"/>
                  </a:lnTo>
                  <a:lnTo>
                    <a:pt x="1386468" y="1094192"/>
                  </a:lnTo>
                  <a:lnTo>
                    <a:pt x="1374311" y="1109590"/>
                  </a:lnTo>
                  <a:lnTo>
                    <a:pt x="1370843" y="1146286"/>
                  </a:lnTo>
                  <a:lnTo>
                    <a:pt x="1355213" y="1172643"/>
                  </a:lnTo>
                  <a:lnTo>
                    <a:pt x="1343406" y="1172622"/>
                  </a:lnTo>
                  <a:lnTo>
                    <a:pt x="1312152" y="1154383"/>
                  </a:lnTo>
                  <a:lnTo>
                    <a:pt x="1321383" y="1146594"/>
                  </a:lnTo>
                  <a:lnTo>
                    <a:pt x="1305927" y="1130082"/>
                  </a:lnTo>
                  <a:lnTo>
                    <a:pt x="1311889" y="1114960"/>
                  </a:lnTo>
                  <a:lnTo>
                    <a:pt x="1292204" y="1088200"/>
                  </a:lnTo>
                  <a:lnTo>
                    <a:pt x="1290299" y="1063098"/>
                  </a:lnTo>
                  <a:lnTo>
                    <a:pt x="1301756" y="1045882"/>
                  </a:lnTo>
                  <a:lnTo>
                    <a:pt x="1345159" y="1021047"/>
                  </a:lnTo>
                  <a:lnTo>
                    <a:pt x="1366520" y="1020728"/>
                  </a:lnTo>
                  <a:lnTo>
                    <a:pt x="1363195" y="1009090"/>
                  </a:lnTo>
                  <a:close/>
                  <a:moveTo>
                    <a:pt x="708767" y="0"/>
                  </a:moveTo>
                  <a:lnTo>
                    <a:pt x="717372" y="35340"/>
                  </a:lnTo>
                  <a:lnTo>
                    <a:pt x="740130" y="49339"/>
                  </a:lnTo>
                  <a:lnTo>
                    <a:pt x="767294" y="39059"/>
                  </a:lnTo>
                  <a:lnTo>
                    <a:pt x="780416" y="71647"/>
                  </a:lnTo>
                  <a:lnTo>
                    <a:pt x="811404" y="75517"/>
                  </a:lnTo>
                  <a:lnTo>
                    <a:pt x="817876" y="96106"/>
                  </a:lnTo>
                  <a:lnTo>
                    <a:pt x="852143" y="93136"/>
                  </a:lnTo>
                  <a:lnTo>
                    <a:pt x="862645" y="103786"/>
                  </a:lnTo>
                  <a:lnTo>
                    <a:pt x="870894" y="130536"/>
                  </a:lnTo>
                  <a:lnTo>
                    <a:pt x="868305" y="143993"/>
                  </a:lnTo>
                  <a:lnTo>
                    <a:pt x="892587" y="146425"/>
                  </a:lnTo>
                  <a:lnTo>
                    <a:pt x="928655" y="139154"/>
                  </a:lnTo>
                  <a:lnTo>
                    <a:pt x="932835" y="165075"/>
                  </a:lnTo>
                  <a:lnTo>
                    <a:pt x="955560" y="168790"/>
                  </a:lnTo>
                  <a:lnTo>
                    <a:pt x="987466" y="189190"/>
                  </a:lnTo>
                  <a:lnTo>
                    <a:pt x="992538" y="201468"/>
                  </a:lnTo>
                  <a:lnTo>
                    <a:pt x="1025378" y="195648"/>
                  </a:lnTo>
                  <a:lnTo>
                    <a:pt x="1041605" y="206968"/>
                  </a:lnTo>
                  <a:lnTo>
                    <a:pt x="1060358" y="200574"/>
                  </a:lnTo>
                  <a:lnTo>
                    <a:pt x="1078499" y="205295"/>
                  </a:lnTo>
                  <a:lnTo>
                    <a:pt x="1094773" y="209735"/>
                  </a:lnTo>
                  <a:lnTo>
                    <a:pt x="1114425" y="243630"/>
                  </a:lnTo>
                  <a:lnTo>
                    <a:pt x="1132487" y="236152"/>
                  </a:lnTo>
                  <a:lnTo>
                    <a:pt x="1155099" y="249002"/>
                  </a:lnTo>
                  <a:lnTo>
                    <a:pt x="1187517" y="243111"/>
                  </a:lnTo>
                  <a:lnTo>
                    <a:pt x="1205024" y="258459"/>
                  </a:lnTo>
                  <a:lnTo>
                    <a:pt x="1229995" y="256824"/>
                  </a:lnTo>
                  <a:lnTo>
                    <a:pt x="1249355" y="266427"/>
                  </a:lnTo>
                  <a:lnTo>
                    <a:pt x="1246288" y="287035"/>
                  </a:lnTo>
                  <a:lnTo>
                    <a:pt x="1221480" y="308263"/>
                  </a:lnTo>
                  <a:lnTo>
                    <a:pt x="1204151" y="360980"/>
                  </a:lnTo>
                  <a:lnTo>
                    <a:pt x="1195658" y="373238"/>
                  </a:lnTo>
                  <a:lnTo>
                    <a:pt x="1199920" y="391352"/>
                  </a:lnTo>
                  <a:lnTo>
                    <a:pt x="1190011" y="429137"/>
                  </a:lnTo>
                  <a:lnTo>
                    <a:pt x="1196734" y="438758"/>
                  </a:lnTo>
                  <a:lnTo>
                    <a:pt x="1176594" y="458159"/>
                  </a:lnTo>
                  <a:lnTo>
                    <a:pt x="1138085" y="450503"/>
                  </a:lnTo>
                  <a:lnTo>
                    <a:pt x="1132103" y="467552"/>
                  </a:lnTo>
                  <a:lnTo>
                    <a:pt x="1135397" y="481292"/>
                  </a:lnTo>
                  <a:lnTo>
                    <a:pt x="1102670" y="512051"/>
                  </a:lnTo>
                  <a:lnTo>
                    <a:pt x="1084850" y="519763"/>
                  </a:lnTo>
                  <a:lnTo>
                    <a:pt x="1084664" y="540656"/>
                  </a:lnTo>
                  <a:lnTo>
                    <a:pt x="1053714" y="562614"/>
                  </a:lnTo>
                  <a:lnTo>
                    <a:pt x="1050024" y="576089"/>
                  </a:lnTo>
                  <a:lnTo>
                    <a:pt x="1059440" y="588143"/>
                  </a:lnTo>
                  <a:lnTo>
                    <a:pt x="1039558" y="615010"/>
                  </a:lnTo>
                  <a:lnTo>
                    <a:pt x="1055229" y="615522"/>
                  </a:lnTo>
                  <a:lnTo>
                    <a:pt x="1069719" y="606469"/>
                  </a:lnTo>
                  <a:lnTo>
                    <a:pt x="1064221" y="594760"/>
                  </a:lnTo>
                  <a:lnTo>
                    <a:pt x="1093206" y="577229"/>
                  </a:lnTo>
                  <a:lnTo>
                    <a:pt x="1122424" y="580775"/>
                  </a:lnTo>
                  <a:lnTo>
                    <a:pt x="1126656" y="598552"/>
                  </a:lnTo>
                  <a:lnTo>
                    <a:pt x="1120730" y="607936"/>
                  </a:lnTo>
                  <a:lnTo>
                    <a:pt x="1144081" y="641881"/>
                  </a:lnTo>
                  <a:lnTo>
                    <a:pt x="1122142" y="652315"/>
                  </a:lnTo>
                  <a:lnTo>
                    <a:pt x="1121222" y="665686"/>
                  </a:lnTo>
                  <a:lnTo>
                    <a:pt x="1139812" y="675929"/>
                  </a:lnTo>
                  <a:lnTo>
                    <a:pt x="1139740" y="692211"/>
                  </a:lnTo>
                  <a:lnTo>
                    <a:pt x="1157694" y="704395"/>
                  </a:lnTo>
                  <a:lnTo>
                    <a:pt x="1153028" y="722081"/>
                  </a:lnTo>
                  <a:lnTo>
                    <a:pt x="1103699" y="740616"/>
                  </a:lnTo>
                  <a:lnTo>
                    <a:pt x="1115402" y="762036"/>
                  </a:lnTo>
                  <a:lnTo>
                    <a:pt x="1139873" y="771565"/>
                  </a:lnTo>
                  <a:lnTo>
                    <a:pt x="1142586" y="784978"/>
                  </a:lnTo>
                  <a:lnTo>
                    <a:pt x="1125533" y="808977"/>
                  </a:lnTo>
                  <a:lnTo>
                    <a:pt x="1129786" y="827221"/>
                  </a:lnTo>
                  <a:lnTo>
                    <a:pt x="1140489" y="843669"/>
                  </a:lnTo>
                  <a:lnTo>
                    <a:pt x="1174350" y="857963"/>
                  </a:lnTo>
                  <a:lnTo>
                    <a:pt x="1204616" y="853382"/>
                  </a:lnTo>
                  <a:lnTo>
                    <a:pt x="1208740" y="861361"/>
                  </a:lnTo>
                  <a:lnTo>
                    <a:pt x="1189251" y="885280"/>
                  </a:lnTo>
                  <a:lnTo>
                    <a:pt x="1191004" y="897280"/>
                  </a:lnTo>
                  <a:lnTo>
                    <a:pt x="1155033" y="912635"/>
                  </a:lnTo>
                  <a:lnTo>
                    <a:pt x="1135052" y="926772"/>
                  </a:lnTo>
                  <a:lnTo>
                    <a:pt x="1129256" y="939220"/>
                  </a:lnTo>
                  <a:lnTo>
                    <a:pt x="1114191" y="941545"/>
                  </a:lnTo>
                  <a:lnTo>
                    <a:pt x="1106836" y="966536"/>
                  </a:lnTo>
                  <a:lnTo>
                    <a:pt x="1062362" y="976053"/>
                  </a:lnTo>
                  <a:lnTo>
                    <a:pt x="1055116" y="980386"/>
                  </a:lnTo>
                  <a:lnTo>
                    <a:pt x="1021782" y="974299"/>
                  </a:lnTo>
                  <a:lnTo>
                    <a:pt x="1012665" y="968479"/>
                  </a:lnTo>
                  <a:lnTo>
                    <a:pt x="985215" y="964581"/>
                  </a:lnTo>
                  <a:lnTo>
                    <a:pt x="980327" y="950475"/>
                  </a:lnTo>
                  <a:lnTo>
                    <a:pt x="951433" y="951482"/>
                  </a:lnTo>
                  <a:lnTo>
                    <a:pt x="943092" y="939497"/>
                  </a:lnTo>
                  <a:lnTo>
                    <a:pt x="924324" y="948578"/>
                  </a:lnTo>
                  <a:lnTo>
                    <a:pt x="907900" y="948023"/>
                  </a:lnTo>
                  <a:lnTo>
                    <a:pt x="899984" y="936232"/>
                  </a:lnTo>
                  <a:lnTo>
                    <a:pt x="871738" y="935483"/>
                  </a:lnTo>
                  <a:lnTo>
                    <a:pt x="850134" y="924703"/>
                  </a:lnTo>
                  <a:lnTo>
                    <a:pt x="829781" y="937738"/>
                  </a:lnTo>
                  <a:lnTo>
                    <a:pt x="818440" y="936241"/>
                  </a:lnTo>
                  <a:lnTo>
                    <a:pt x="767087" y="973218"/>
                  </a:lnTo>
                  <a:lnTo>
                    <a:pt x="748750" y="1007137"/>
                  </a:lnTo>
                  <a:lnTo>
                    <a:pt x="756431" y="1015390"/>
                  </a:lnTo>
                  <a:lnTo>
                    <a:pt x="758303" y="1043831"/>
                  </a:lnTo>
                  <a:lnTo>
                    <a:pt x="769609" y="1055604"/>
                  </a:lnTo>
                  <a:lnTo>
                    <a:pt x="737165" y="1052817"/>
                  </a:lnTo>
                  <a:lnTo>
                    <a:pt x="702700" y="1066748"/>
                  </a:lnTo>
                  <a:lnTo>
                    <a:pt x="680812" y="1055220"/>
                  </a:lnTo>
                  <a:lnTo>
                    <a:pt x="657140" y="1065354"/>
                  </a:lnTo>
                  <a:lnTo>
                    <a:pt x="650405" y="1054547"/>
                  </a:lnTo>
                  <a:lnTo>
                    <a:pt x="629402" y="1047550"/>
                  </a:lnTo>
                  <a:lnTo>
                    <a:pt x="629548" y="1037730"/>
                  </a:lnTo>
                  <a:lnTo>
                    <a:pt x="612320" y="1029860"/>
                  </a:lnTo>
                  <a:lnTo>
                    <a:pt x="601996" y="1035958"/>
                  </a:lnTo>
                  <a:lnTo>
                    <a:pt x="593746" y="1022427"/>
                  </a:lnTo>
                  <a:lnTo>
                    <a:pt x="575697" y="1023747"/>
                  </a:lnTo>
                  <a:lnTo>
                    <a:pt x="566271" y="1015036"/>
                  </a:lnTo>
                  <a:lnTo>
                    <a:pt x="530960" y="1005828"/>
                  </a:lnTo>
                  <a:lnTo>
                    <a:pt x="526287" y="1025757"/>
                  </a:lnTo>
                  <a:lnTo>
                    <a:pt x="490962" y="1027813"/>
                  </a:lnTo>
                  <a:lnTo>
                    <a:pt x="479414" y="1020367"/>
                  </a:lnTo>
                  <a:lnTo>
                    <a:pt x="461555" y="1026492"/>
                  </a:lnTo>
                  <a:lnTo>
                    <a:pt x="435620" y="1008843"/>
                  </a:lnTo>
                  <a:lnTo>
                    <a:pt x="419460" y="1013462"/>
                  </a:lnTo>
                  <a:lnTo>
                    <a:pt x="404184" y="1009280"/>
                  </a:lnTo>
                  <a:lnTo>
                    <a:pt x="391693" y="995998"/>
                  </a:lnTo>
                  <a:lnTo>
                    <a:pt x="370956" y="995027"/>
                  </a:lnTo>
                  <a:lnTo>
                    <a:pt x="354548" y="986762"/>
                  </a:lnTo>
                  <a:lnTo>
                    <a:pt x="322952" y="984132"/>
                  </a:lnTo>
                  <a:lnTo>
                    <a:pt x="328456" y="959786"/>
                  </a:lnTo>
                  <a:lnTo>
                    <a:pt x="289600" y="948399"/>
                  </a:lnTo>
                  <a:lnTo>
                    <a:pt x="308035" y="937850"/>
                  </a:lnTo>
                  <a:lnTo>
                    <a:pt x="322283" y="914016"/>
                  </a:lnTo>
                  <a:lnTo>
                    <a:pt x="335038" y="856465"/>
                  </a:lnTo>
                  <a:lnTo>
                    <a:pt x="341395" y="811666"/>
                  </a:lnTo>
                  <a:lnTo>
                    <a:pt x="340326" y="794787"/>
                  </a:lnTo>
                  <a:lnTo>
                    <a:pt x="349974" y="716828"/>
                  </a:lnTo>
                  <a:lnTo>
                    <a:pt x="355842" y="688012"/>
                  </a:lnTo>
                  <a:lnTo>
                    <a:pt x="384664" y="711449"/>
                  </a:lnTo>
                  <a:lnTo>
                    <a:pt x="383096" y="693730"/>
                  </a:lnTo>
                  <a:lnTo>
                    <a:pt x="345329" y="669089"/>
                  </a:lnTo>
                  <a:lnTo>
                    <a:pt x="360516" y="632046"/>
                  </a:lnTo>
                  <a:lnTo>
                    <a:pt x="344176" y="612284"/>
                  </a:lnTo>
                  <a:lnTo>
                    <a:pt x="343321" y="599019"/>
                  </a:lnTo>
                  <a:lnTo>
                    <a:pt x="320134" y="590744"/>
                  </a:lnTo>
                  <a:lnTo>
                    <a:pt x="287049" y="572729"/>
                  </a:lnTo>
                  <a:lnTo>
                    <a:pt x="282725" y="558577"/>
                  </a:lnTo>
                  <a:lnTo>
                    <a:pt x="255152" y="533116"/>
                  </a:lnTo>
                  <a:lnTo>
                    <a:pt x="253890" y="524497"/>
                  </a:lnTo>
                  <a:lnTo>
                    <a:pt x="270476" y="507425"/>
                  </a:lnTo>
                  <a:lnTo>
                    <a:pt x="240099" y="482376"/>
                  </a:lnTo>
                  <a:lnTo>
                    <a:pt x="221100" y="477342"/>
                  </a:lnTo>
                  <a:lnTo>
                    <a:pt x="217864" y="466592"/>
                  </a:lnTo>
                  <a:lnTo>
                    <a:pt x="226168" y="449920"/>
                  </a:lnTo>
                  <a:lnTo>
                    <a:pt x="198180" y="444604"/>
                  </a:lnTo>
                  <a:lnTo>
                    <a:pt x="190327" y="434770"/>
                  </a:lnTo>
                  <a:lnTo>
                    <a:pt x="162909" y="441881"/>
                  </a:lnTo>
                  <a:lnTo>
                    <a:pt x="140515" y="425018"/>
                  </a:lnTo>
                  <a:lnTo>
                    <a:pt x="121559" y="417881"/>
                  </a:lnTo>
                  <a:lnTo>
                    <a:pt x="89834" y="413245"/>
                  </a:lnTo>
                  <a:lnTo>
                    <a:pt x="84996" y="405208"/>
                  </a:lnTo>
                  <a:lnTo>
                    <a:pt x="41727" y="406863"/>
                  </a:lnTo>
                  <a:lnTo>
                    <a:pt x="34482" y="392872"/>
                  </a:lnTo>
                  <a:lnTo>
                    <a:pt x="15232" y="379785"/>
                  </a:lnTo>
                  <a:lnTo>
                    <a:pt x="49285" y="371830"/>
                  </a:lnTo>
                  <a:lnTo>
                    <a:pt x="26885" y="341486"/>
                  </a:lnTo>
                  <a:lnTo>
                    <a:pt x="1649" y="347717"/>
                  </a:lnTo>
                  <a:lnTo>
                    <a:pt x="0" y="325868"/>
                  </a:lnTo>
                  <a:lnTo>
                    <a:pt x="7241" y="317612"/>
                  </a:lnTo>
                  <a:lnTo>
                    <a:pt x="41587" y="304397"/>
                  </a:lnTo>
                  <a:lnTo>
                    <a:pt x="76417" y="298129"/>
                  </a:lnTo>
                  <a:lnTo>
                    <a:pt x="108673" y="301888"/>
                  </a:lnTo>
                  <a:lnTo>
                    <a:pt x="149545" y="280635"/>
                  </a:lnTo>
                  <a:lnTo>
                    <a:pt x="170600" y="293214"/>
                  </a:lnTo>
                  <a:lnTo>
                    <a:pt x="207916" y="323062"/>
                  </a:lnTo>
                  <a:lnTo>
                    <a:pt x="237173" y="304795"/>
                  </a:lnTo>
                  <a:lnTo>
                    <a:pt x="249072" y="316396"/>
                  </a:lnTo>
                  <a:lnTo>
                    <a:pt x="274846" y="302206"/>
                  </a:lnTo>
                  <a:lnTo>
                    <a:pt x="291368" y="313610"/>
                  </a:lnTo>
                  <a:lnTo>
                    <a:pt x="312488" y="310158"/>
                  </a:lnTo>
                  <a:lnTo>
                    <a:pt x="309063" y="282922"/>
                  </a:lnTo>
                  <a:lnTo>
                    <a:pt x="311815" y="260987"/>
                  </a:lnTo>
                  <a:lnTo>
                    <a:pt x="306887" y="239495"/>
                  </a:lnTo>
                  <a:lnTo>
                    <a:pt x="286040" y="214217"/>
                  </a:lnTo>
                  <a:lnTo>
                    <a:pt x="282921" y="183515"/>
                  </a:lnTo>
                  <a:lnTo>
                    <a:pt x="305293" y="183388"/>
                  </a:lnTo>
                  <a:lnTo>
                    <a:pt x="325008" y="175748"/>
                  </a:lnTo>
                  <a:lnTo>
                    <a:pt x="343584" y="185933"/>
                  </a:lnTo>
                  <a:lnTo>
                    <a:pt x="335872" y="195723"/>
                  </a:lnTo>
                  <a:lnTo>
                    <a:pt x="354245" y="218966"/>
                  </a:lnTo>
                  <a:lnTo>
                    <a:pt x="423949" y="222408"/>
                  </a:lnTo>
                  <a:lnTo>
                    <a:pt x="453979" y="226815"/>
                  </a:lnTo>
                  <a:lnTo>
                    <a:pt x="473219" y="214605"/>
                  </a:lnTo>
                  <a:lnTo>
                    <a:pt x="469962" y="196444"/>
                  </a:lnTo>
                  <a:lnTo>
                    <a:pt x="482344" y="174535"/>
                  </a:lnTo>
                  <a:lnTo>
                    <a:pt x="516825" y="157987"/>
                  </a:lnTo>
                  <a:lnTo>
                    <a:pt x="561663" y="149029"/>
                  </a:lnTo>
                  <a:lnTo>
                    <a:pt x="603079" y="124593"/>
                  </a:lnTo>
                  <a:lnTo>
                    <a:pt x="611220" y="102883"/>
                  </a:lnTo>
                  <a:lnTo>
                    <a:pt x="615417" y="67173"/>
                  </a:lnTo>
                  <a:lnTo>
                    <a:pt x="615387" y="28092"/>
                  </a:lnTo>
                  <a:lnTo>
                    <a:pt x="629438" y="19489"/>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3" name="ee4p_36_1_43215"/>
            <p:cNvSpPr>
              <a:spLocks noChangeAspect="1"/>
            </p:cNvSpPr>
            <p:nvPr>
              <p:custDataLst>
                <p:tags r:id="rId9"/>
              </p:custDataLst>
            </p:nvPr>
          </p:nvSpPr>
          <p:spPr bwMode="gray">
            <a:xfrm>
              <a:off x="3523106" y="4746677"/>
              <a:ext cx="436155" cy="240953"/>
            </a:xfrm>
            <a:custGeom>
              <a:avLst/>
              <a:gdLst/>
              <a:ahLst/>
              <a:cxnLst/>
              <a:rect l="0" t="0" r="0" b="0"/>
              <a:pathLst>
                <a:path w="436155" h="240953">
                  <a:moveTo>
                    <a:pt x="347764" y="31932"/>
                  </a:moveTo>
                  <a:lnTo>
                    <a:pt x="356046" y="45029"/>
                  </a:lnTo>
                  <a:lnTo>
                    <a:pt x="345057" y="65213"/>
                  </a:lnTo>
                  <a:lnTo>
                    <a:pt x="340747" y="76553"/>
                  </a:lnTo>
                  <a:lnTo>
                    <a:pt x="352443" y="90882"/>
                  </a:lnTo>
                  <a:lnTo>
                    <a:pt x="380010" y="99658"/>
                  </a:lnTo>
                  <a:lnTo>
                    <a:pt x="400639" y="117719"/>
                  </a:lnTo>
                  <a:lnTo>
                    <a:pt x="412977" y="114623"/>
                  </a:lnTo>
                  <a:lnTo>
                    <a:pt x="424230" y="99453"/>
                  </a:lnTo>
                  <a:lnTo>
                    <a:pt x="435906" y="116013"/>
                  </a:lnTo>
                  <a:lnTo>
                    <a:pt x="429236" y="130785"/>
                  </a:lnTo>
                  <a:lnTo>
                    <a:pt x="436154" y="153922"/>
                  </a:lnTo>
                  <a:lnTo>
                    <a:pt x="400344" y="145747"/>
                  </a:lnTo>
                  <a:lnTo>
                    <a:pt x="394525" y="164986"/>
                  </a:lnTo>
                  <a:lnTo>
                    <a:pt x="407389" y="188978"/>
                  </a:lnTo>
                  <a:lnTo>
                    <a:pt x="394688" y="191991"/>
                  </a:lnTo>
                  <a:lnTo>
                    <a:pt x="381544" y="173715"/>
                  </a:lnTo>
                  <a:lnTo>
                    <a:pt x="362803" y="184361"/>
                  </a:lnTo>
                  <a:lnTo>
                    <a:pt x="345628" y="182263"/>
                  </a:lnTo>
                  <a:lnTo>
                    <a:pt x="338734" y="162894"/>
                  </a:lnTo>
                  <a:lnTo>
                    <a:pt x="321059" y="159609"/>
                  </a:lnTo>
                  <a:lnTo>
                    <a:pt x="322743" y="180270"/>
                  </a:lnTo>
                  <a:lnTo>
                    <a:pt x="312477" y="198205"/>
                  </a:lnTo>
                  <a:lnTo>
                    <a:pt x="295672" y="213533"/>
                  </a:lnTo>
                  <a:lnTo>
                    <a:pt x="296697" y="240952"/>
                  </a:lnTo>
                  <a:lnTo>
                    <a:pt x="273681" y="218807"/>
                  </a:lnTo>
                  <a:lnTo>
                    <a:pt x="268769" y="205008"/>
                  </a:lnTo>
                  <a:lnTo>
                    <a:pt x="255937" y="203719"/>
                  </a:lnTo>
                  <a:lnTo>
                    <a:pt x="238329" y="183683"/>
                  </a:lnTo>
                  <a:lnTo>
                    <a:pt x="241643" y="165194"/>
                  </a:lnTo>
                  <a:lnTo>
                    <a:pt x="205255" y="187524"/>
                  </a:lnTo>
                  <a:lnTo>
                    <a:pt x="212955" y="197745"/>
                  </a:lnTo>
                  <a:lnTo>
                    <a:pt x="195886" y="220278"/>
                  </a:lnTo>
                  <a:lnTo>
                    <a:pt x="183249" y="229345"/>
                  </a:lnTo>
                  <a:lnTo>
                    <a:pt x="162059" y="223398"/>
                  </a:lnTo>
                  <a:lnTo>
                    <a:pt x="128293" y="229422"/>
                  </a:lnTo>
                  <a:lnTo>
                    <a:pt x="104523" y="229159"/>
                  </a:lnTo>
                  <a:lnTo>
                    <a:pt x="81172" y="195214"/>
                  </a:lnTo>
                  <a:lnTo>
                    <a:pt x="87098" y="185830"/>
                  </a:lnTo>
                  <a:lnTo>
                    <a:pt x="82866" y="168053"/>
                  </a:lnTo>
                  <a:lnTo>
                    <a:pt x="53648" y="164507"/>
                  </a:lnTo>
                  <a:lnTo>
                    <a:pt x="24663" y="182038"/>
                  </a:lnTo>
                  <a:lnTo>
                    <a:pt x="30161" y="193747"/>
                  </a:lnTo>
                  <a:lnTo>
                    <a:pt x="15671" y="202800"/>
                  </a:lnTo>
                  <a:lnTo>
                    <a:pt x="0" y="202288"/>
                  </a:lnTo>
                  <a:lnTo>
                    <a:pt x="19882" y="175421"/>
                  </a:lnTo>
                  <a:lnTo>
                    <a:pt x="10466" y="163367"/>
                  </a:lnTo>
                  <a:lnTo>
                    <a:pt x="14156" y="149892"/>
                  </a:lnTo>
                  <a:lnTo>
                    <a:pt x="45106" y="127934"/>
                  </a:lnTo>
                  <a:lnTo>
                    <a:pt x="45292" y="107041"/>
                  </a:lnTo>
                  <a:lnTo>
                    <a:pt x="63112" y="99329"/>
                  </a:lnTo>
                  <a:lnTo>
                    <a:pt x="95839" y="68570"/>
                  </a:lnTo>
                  <a:lnTo>
                    <a:pt x="92545" y="54830"/>
                  </a:lnTo>
                  <a:lnTo>
                    <a:pt x="98527" y="37781"/>
                  </a:lnTo>
                  <a:lnTo>
                    <a:pt x="137036" y="45437"/>
                  </a:lnTo>
                  <a:lnTo>
                    <a:pt x="157176" y="26036"/>
                  </a:lnTo>
                  <a:lnTo>
                    <a:pt x="167702" y="32996"/>
                  </a:lnTo>
                  <a:lnTo>
                    <a:pt x="185818" y="26160"/>
                  </a:lnTo>
                  <a:lnTo>
                    <a:pt x="198752" y="30881"/>
                  </a:lnTo>
                  <a:lnTo>
                    <a:pt x="217044" y="22209"/>
                  </a:lnTo>
                  <a:lnTo>
                    <a:pt x="228474" y="28228"/>
                  </a:lnTo>
                  <a:lnTo>
                    <a:pt x="244259" y="3472"/>
                  </a:lnTo>
                  <a:lnTo>
                    <a:pt x="256190" y="0"/>
                  </a:lnTo>
                  <a:lnTo>
                    <a:pt x="278512" y="10983"/>
                  </a:lnTo>
                  <a:lnTo>
                    <a:pt x="318527" y="17573"/>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4" name="ee4p_5_1_43215"/>
            <p:cNvSpPr>
              <a:spLocks noChangeAspect="1"/>
            </p:cNvSpPr>
            <p:nvPr>
              <p:custDataLst>
                <p:tags r:id="rId10"/>
              </p:custDataLst>
            </p:nvPr>
          </p:nvSpPr>
          <p:spPr bwMode="gray">
            <a:xfrm>
              <a:off x="4505149" y="4649995"/>
              <a:ext cx="656273" cy="348201"/>
            </a:xfrm>
            <a:custGeom>
              <a:avLst/>
              <a:gdLst/>
              <a:ahLst/>
              <a:cxnLst/>
              <a:rect l="0" t="0" r="0" b="0"/>
              <a:pathLst>
                <a:path w="656273" h="348201">
                  <a:moveTo>
                    <a:pt x="584576" y="22277"/>
                  </a:moveTo>
                  <a:lnTo>
                    <a:pt x="606763" y="43254"/>
                  </a:lnTo>
                  <a:lnTo>
                    <a:pt x="616888" y="40804"/>
                  </a:lnTo>
                  <a:lnTo>
                    <a:pt x="634785" y="60836"/>
                  </a:lnTo>
                  <a:lnTo>
                    <a:pt x="649872" y="58349"/>
                  </a:lnTo>
                  <a:lnTo>
                    <a:pt x="656272" y="77859"/>
                  </a:lnTo>
                  <a:lnTo>
                    <a:pt x="635830" y="97897"/>
                  </a:lnTo>
                  <a:lnTo>
                    <a:pt x="595147" y="105340"/>
                  </a:lnTo>
                  <a:lnTo>
                    <a:pt x="586124" y="122477"/>
                  </a:lnTo>
                  <a:lnTo>
                    <a:pt x="571771" y="131572"/>
                  </a:lnTo>
                  <a:lnTo>
                    <a:pt x="572961" y="142666"/>
                  </a:lnTo>
                  <a:lnTo>
                    <a:pt x="559411" y="156474"/>
                  </a:lnTo>
                  <a:lnTo>
                    <a:pt x="543049" y="182939"/>
                  </a:lnTo>
                  <a:lnTo>
                    <a:pt x="524007" y="229043"/>
                  </a:lnTo>
                  <a:lnTo>
                    <a:pt x="504708" y="239896"/>
                  </a:lnTo>
                  <a:lnTo>
                    <a:pt x="490258" y="279661"/>
                  </a:lnTo>
                  <a:lnTo>
                    <a:pt x="448486" y="286144"/>
                  </a:lnTo>
                  <a:lnTo>
                    <a:pt x="401600" y="301188"/>
                  </a:lnTo>
                  <a:lnTo>
                    <a:pt x="369935" y="295156"/>
                  </a:lnTo>
                  <a:lnTo>
                    <a:pt x="358399" y="301017"/>
                  </a:lnTo>
                  <a:lnTo>
                    <a:pt x="334189" y="294852"/>
                  </a:lnTo>
                  <a:lnTo>
                    <a:pt x="306876" y="316860"/>
                  </a:lnTo>
                  <a:lnTo>
                    <a:pt x="289385" y="311636"/>
                  </a:lnTo>
                  <a:lnTo>
                    <a:pt x="268597" y="325989"/>
                  </a:lnTo>
                  <a:lnTo>
                    <a:pt x="250761" y="326357"/>
                  </a:lnTo>
                  <a:lnTo>
                    <a:pt x="225746" y="348200"/>
                  </a:lnTo>
                  <a:lnTo>
                    <a:pt x="194488" y="341894"/>
                  </a:lnTo>
                  <a:lnTo>
                    <a:pt x="170455" y="343151"/>
                  </a:lnTo>
                  <a:lnTo>
                    <a:pt x="150804" y="336429"/>
                  </a:lnTo>
                  <a:lnTo>
                    <a:pt x="140015" y="323978"/>
                  </a:lnTo>
                  <a:lnTo>
                    <a:pt x="110769" y="314716"/>
                  </a:lnTo>
                  <a:lnTo>
                    <a:pt x="103139" y="298222"/>
                  </a:lnTo>
                  <a:lnTo>
                    <a:pt x="83148" y="289281"/>
                  </a:lnTo>
                  <a:lnTo>
                    <a:pt x="72771" y="273567"/>
                  </a:lnTo>
                  <a:lnTo>
                    <a:pt x="46731" y="258817"/>
                  </a:lnTo>
                  <a:lnTo>
                    <a:pt x="26753" y="239088"/>
                  </a:lnTo>
                  <a:lnTo>
                    <a:pt x="17178" y="210509"/>
                  </a:lnTo>
                  <a:lnTo>
                    <a:pt x="0" y="210968"/>
                  </a:lnTo>
                  <a:lnTo>
                    <a:pt x="16337" y="194474"/>
                  </a:lnTo>
                  <a:lnTo>
                    <a:pt x="36645" y="193752"/>
                  </a:lnTo>
                  <a:lnTo>
                    <a:pt x="31011" y="169310"/>
                  </a:lnTo>
                  <a:lnTo>
                    <a:pt x="57248" y="130946"/>
                  </a:lnTo>
                  <a:lnTo>
                    <a:pt x="61461" y="111461"/>
                  </a:lnTo>
                  <a:lnTo>
                    <a:pt x="92544" y="105704"/>
                  </a:lnTo>
                  <a:lnTo>
                    <a:pt x="101304" y="71373"/>
                  </a:lnTo>
                  <a:lnTo>
                    <a:pt x="118073" y="73014"/>
                  </a:lnTo>
                  <a:lnTo>
                    <a:pt x="129417" y="86016"/>
                  </a:lnTo>
                  <a:lnTo>
                    <a:pt x="160830" y="104150"/>
                  </a:lnTo>
                  <a:lnTo>
                    <a:pt x="210854" y="105310"/>
                  </a:lnTo>
                  <a:lnTo>
                    <a:pt x="247226" y="101471"/>
                  </a:lnTo>
                  <a:lnTo>
                    <a:pt x="259891" y="94093"/>
                  </a:lnTo>
                  <a:lnTo>
                    <a:pt x="256864" y="74033"/>
                  </a:lnTo>
                  <a:lnTo>
                    <a:pt x="267148" y="66412"/>
                  </a:lnTo>
                  <a:lnTo>
                    <a:pt x="323938" y="61934"/>
                  </a:lnTo>
                  <a:lnTo>
                    <a:pt x="340305" y="41276"/>
                  </a:lnTo>
                  <a:lnTo>
                    <a:pt x="358828" y="51329"/>
                  </a:lnTo>
                  <a:lnTo>
                    <a:pt x="378940" y="50317"/>
                  </a:lnTo>
                  <a:lnTo>
                    <a:pt x="403560" y="39800"/>
                  </a:lnTo>
                  <a:lnTo>
                    <a:pt x="424597" y="6904"/>
                  </a:lnTo>
                  <a:lnTo>
                    <a:pt x="456952" y="0"/>
                  </a:lnTo>
                  <a:lnTo>
                    <a:pt x="468548" y="7599"/>
                  </a:lnTo>
                  <a:lnTo>
                    <a:pt x="488218" y="8061"/>
                  </a:lnTo>
                  <a:lnTo>
                    <a:pt x="516400" y="986"/>
                  </a:lnTo>
                  <a:lnTo>
                    <a:pt x="532191" y="9121"/>
                  </a:lnTo>
                  <a:lnTo>
                    <a:pt x="537478" y="24036"/>
                  </a:lnTo>
                  <a:lnTo>
                    <a:pt x="553601" y="30801"/>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5" name="ee4p_6_1_43215"/>
            <p:cNvSpPr>
              <a:spLocks noChangeAspect="1"/>
            </p:cNvSpPr>
            <p:nvPr>
              <p:custDataLst>
                <p:tags r:id="rId11"/>
              </p:custDataLst>
            </p:nvPr>
          </p:nvSpPr>
          <p:spPr bwMode="gray">
            <a:xfrm>
              <a:off x="2046275" y="5233556"/>
              <a:ext cx="1315628" cy="884664"/>
            </a:xfrm>
            <a:custGeom>
              <a:avLst/>
              <a:gdLst/>
              <a:ahLst/>
              <a:cxnLst/>
              <a:rect l="l" t="t" r="r" b="b"/>
              <a:pathLst>
                <a:path w="1315628" h="884664">
                  <a:moveTo>
                    <a:pt x="1048888" y="537400"/>
                  </a:moveTo>
                  <a:lnTo>
                    <a:pt x="1056418" y="546371"/>
                  </a:lnTo>
                  <a:lnTo>
                    <a:pt x="1047612" y="556616"/>
                  </a:lnTo>
                  <a:lnTo>
                    <a:pt x="1029590" y="565105"/>
                  </a:lnTo>
                  <a:lnTo>
                    <a:pt x="1019065" y="554096"/>
                  </a:lnTo>
                  <a:lnTo>
                    <a:pt x="1030774" y="542970"/>
                  </a:lnTo>
                  <a:close/>
                  <a:moveTo>
                    <a:pt x="1210578" y="442015"/>
                  </a:moveTo>
                  <a:lnTo>
                    <a:pt x="1198673" y="447062"/>
                  </a:lnTo>
                  <a:lnTo>
                    <a:pt x="1204373" y="463037"/>
                  </a:lnTo>
                  <a:lnTo>
                    <a:pt x="1234232" y="465951"/>
                  </a:lnTo>
                  <a:lnTo>
                    <a:pt x="1232183" y="478566"/>
                  </a:lnTo>
                  <a:lnTo>
                    <a:pt x="1219094" y="493400"/>
                  </a:lnTo>
                  <a:lnTo>
                    <a:pt x="1212166" y="509850"/>
                  </a:lnTo>
                  <a:lnTo>
                    <a:pt x="1194796" y="520475"/>
                  </a:lnTo>
                  <a:lnTo>
                    <a:pt x="1187485" y="510554"/>
                  </a:lnTo>
                  <a:lnTo>
                    <a:pt x="1169380" y="509394"/>
                  </a:lnTo>
                  <a:lnTo>
                    <a:pt x="1159909" y="487910"/>
                  </a:lnTo>
                  <a:lnTo>
                    <a:pt x="1130566" y="490898"/>
                  </a:lnTo>
                  <a:lnTo>
                    <a:pt x="1128818" y="480941"/>
                  </a:lnTo>
                  <a:lnTo>
                    <a:pt x="1146965" y="471078"/>
                  </a:lnTo>
                  <a:lnTo>
                    <a:pt x="1168537" y="453381"/>
                  </a:lnTo>
                  <a:lnTo>
                    <a:pt x="1185007" y="446233"/>
                  </a:lnTo>
                  <a:close/>
                  <a:moveTo>
                    <a:pt x="1295834" y="430265"/>
                  </a:moveTo>
                  <a:lnTo>
                    <a:pt x="1315628" y="448658"/>
                  </a:lnTo>
                  <a:lnTo>
                    <a:pt x="1309901" y="458044"/>
                  </a:lnTo>
                  <a:lnTo>
                    <a:pt x="1288875" y="445879"/>
                  </a:lnTo>
                  <a:lnTo>
                    <a:pt x="1269302" y="445093"/>
                  </a:lnTo>
                  <a:lnTo>
                    <a:pt x="1271473" y="430798"/>
                  </a:lnTo>
                  <a:close/>
                  <a:moveTo>
                    <a:pt x="152991" y="0"/>
                  </a:moveTo>
                  <a:lnTo>
                    <a:pt x="187893" y="11043"/>
                  </a:lnTo>
                  <a:lnTo>
                    <a:pt x="199582" y="23190"/>
                  </a:lnTo>
                  <a:lnTo>
                    <a:pt x="284840" y="25192"/>
                  </a:lnTo>
                  <a:lnTo>
                    <a:pt x="324215" y="21274"/>
                  </a:lnTo>
                  <a:lnTo>
                    <a:pt x="334437" y="12800"/>
                  </a:lnTo>
                  <a:lnTo>
                    <a:pt x="348639" y="26098"/>
                  </a:lnTo>
                  <a:lnTo>
                    <a:pt x="376439" y="24637"/>
                  </a:lnTo>
                  <a:lnTo>
                    <a:pt x="401853" y="33791"/>
                  </a:lnTo>
                  <a:lnTo>
                    <a:pt x="452729" y="43322"/>
                  </a:lnTo>
                  <a:lnTo>
                    <a:pt x="495746" y="42853"/>
                  </a:lnTo>
                  <a:lnTo>
                    <a:pt x="530945" y="31849"/>
                  </a:lnTo>
                  <a:lnTo>
                    <a:pt x="551649" y="29680"/>
                  </a:lnTo>
                  <a:lnTo>
                    <a:pt x="568121" y="41378"/>
                  </a:lnTo>
                  <a:lnTo>
                    <a:pt x="593750" y="48731"/>
                  </a:lnTo>
                  <a:lnTo>
                    <a:pt x="614684" y="38781"/>
                  </a:lnTo>
                  <a:lnTo>
                    <a:pt x="656932" y="45730"/>
                  </a:lnTo>
                  <a:lnTo>
                    <a:pt x="689619" y="56181"/>
                  </a:lnTo>
                  <a:lnTo>
                    <a:pt x="720679" y="45548"/>
                  </a:lnTo>
                  <a:lnTo>
                    <a:pt x="726873" y="48798"/>
                  </a:lnTo>
                  <a:lnTo>
                    <a:pt x="765729" y="60185"/>
                  </a:lnTo>
                  <a:lnTo>
                    <a:pt x="760225" y="84531"/>
                  </a:lnTo>
                  <a:lnTo>
                    <a:pt x="791821" y="87161"/>
                  </a:lnTo>
                  <a:lnTo>
                    <a:pt x="808229" y="95426"/>
                  </a:lnTo>
                  <a:lnTo>
                    <a:pt x="828966" y="96397"/>
                  </a:lnTo>
                  <a:lnTo>
                    <a:pt x="841457" y="109679"/>
                  </a:lnTo>
                  <a:lnTo>
                    <a:pt x="856733" y="113861"/>
                  </a:lnTo>
                  <a:lnTo>
                    <a:pt x="872893" y="109242"/>
                  </a:lnTo>
                  <a:lnTo>
                    <a:pt x="898828" y="126891"/>
                  </a:lnTo>
                  <a:lnTo>
                    <a:pt x="916687" y="120766"/>
                  </a:lnTo>
                  <a:lnTo>
                    <a:pt x="928235" y="128212"/>
                  </a:lnTo>
                  <a:lnTo>
                    <a:pt x="963560" y="126156"/>
                  </a:lnTo>
                  <a:lnTo>
                    <a:pt x="968233" y="106227"/>
                  </a:lnTo>
                  <a:lnTo>
                    <a:pt x="1003544" y="115435"/>
                  </a:lnTo>
                  <a:lnTo>
                    <a:pt x="1012970" y="124146"/>
                  </a:lnTo>
                  <a:lnTo>
                    <a:pt x="1031019" y="122826"/>
                  </a:lnTo>
                  <a:lnTo>
                    <a:pt x="1039269" y="136357"/>
                  </a:lnTo>
                  <a:lnTo>
                    <a:pt x="1040481" y="155923"/>
                  </a:lnTo>
                  <a:lnTo>
                    <a:pt x="1066675" y="147949"/>
                  </a:lnTo>
                  <a:lnTo>
                    <a:pt x="1087678" y="154946"/>
                  </a:lnTo>
                  <a:lnTo>
                    <a:pt x="1094413" y="165753"/>
                  </a:lnTo>
                  <a:lnTo>
                    <a:pt x="1118085" y="155619"/>
                  </a:lnTo>
                  <a:lnTo>
                    <a:pt x="1139973" y="167147"/>
                  </a:lnTo>
                  <a:lnTo>
                    <a:pt x="1174438" y="153216"/>
                  </a:lnTo>
                  <a:lnTo>
                    <a:pt x="1206882" y="156003"/>
                  </a:lnTo>
                  <a:lnTo>
                    <a:pt x="1201321" y="180805"/>
                  </a:lnTo>
                  <a:lnTo>
                    <a:pt x="1210658" y="199560"/>
                  </a:lnTo>
                  <a:lnTo>
                    <a:pt x="1209625" y="219258"/>
                  </a:lnTo>
                  <a:lnTo>
                    <a:pt x="1168537" y="247415"/>
                  </a:lnTo>
                  <a:lnTo>
                    <a:pt x="1117663" y="270651"/>
                  </a:lnTo>
                  <a:lnTo>
                    <a:pt x="1106700" y="286964"/>
                  </a:lnTo>
                  <a:lnTo>
                    <a:pt x="1025456" y="307577"/>
                  </a:lnTo>
                  <a:lnTo>
                    <a:pt x="993206" y="319050"/>
                  </a:lnTo>
                  <a:lnTo>
                    <a:pt x="976357" y="337661"/>
                  </a:lnTo>
                  <a:lnTo>
                    <a:pt x="983000" y="358248"/>
                  </a:lnTo>
                  <a:lnTo>
                    <a:pt x="958002" y="365754"/>
                  </a:lnTo>
                  <a:lnTo>
                    <a:pt x="933608" y="402695"/>
                  </a:lnTo>
                  <a:lnTo>
                    <a:pt x="904694" y="432632"/>
                  </a:lnTo>
                  <a:lnTo>
                    <a:pt x="899120" y="446512"/>
                  </a:lnTo>
                  <a:lnTo>
                    <a:pt x="883038" y="465873"/>
                  </a:lnTo>
                  <a:lnTo>
                    <a:pt x="867208" y="501243"/>
                  </a:lnTo>
                  <a:lnTo>
                    <a:pt x="885474" y="552409"/>
                  </a:lnTo>
                  <a:lnTo>
                    <a:pt x="898224" y="564997"/>
                  </a:lnTo>
                  <a:lnTo>
                    <a:pt x="922109" y="579466"/>
                  </a:lnTo>
                  <a:lnTo>
                    <a:pt x="884814" y="603129"/>
                  </a:lnTo>
                  <a:lnTo>
                    <a:pt x="863353" y="613508"/>
                  </a:lnTo>
                  <a:lnTo>
                    <a:pt x="850830" y="625731"/>
                  </a:lnTo>
                  <a:lnTo>
                    <a:pt x="850591" y="638680"/>
                  </a:lnTo>
                  <a:lnTo>
                    <a:pt x="838322" y="647191"/>
                  </a:lnTo>
                  <a:lnTo>
                    <a:pt x="835089" y="665776"/>
                  </a:lnTo>
                  <a:lnTo>
                    <a:pt x="816473" y="694396"/>
                  </a:lnTo>
                  <a:lnTo>
                    <a:pt x="829938" y="707326"/>
                  </a:lnTo>
                  <a:lnTo>
                    <a:pt x="810587" y="712942"/>
                  </a:lnTo>
                  <a:lnTo>
                    <a:pt x="779096" y="710623"/>
                  </a:lnTo>
                  <a:lnTo>
                    <a:pt x="737805" y="735242"/>
                  </a:lnTo>
                  <a:lnTo>
                    <a:pt x="725877" y="749363"/>
                  </a:lnTo>
                  <a:lnTo>
                    <a:pt x="715737" y="777206"/>
                  </a:lnTo>
                  <a:lnTo>
                    <a:pt x="694133" y="804723"/>
                  </a:lnTo>
                  <a:lnTo>
                    <a:pt x="670547" y="792546"/>
                  </a:lnTo>
                  <a:lnTo>
                    <a:pt x="651781" y="795308"/>
                  </a:lnTo>
                  <a:lnTo>
                    <a:pt x="643639" y="807973"/>
                  </a:lnTo>
                  <a:lnTo>
                    <a:pt x="631552" y="810394"/>
                  </a:lnTo>
                  <a:lnTo>
                    <a:pt x="617149" y="802665"/>
                  </a:lnTo>
                  <a:lnTo>
                    <a:pt x="585228" y="802186"/>
                  </a:lnTo>
                  <a:lnTo>
                    <a:pt x="568729" y="808914"/>
                  </a:lnTo>
                  <a:lnTo>
                    <a:pt x="528560" y="802257"/>
                  </a:lnTo>
                  <a:lnTo>
                    <a:pt x="472176" y="806347"/>
                  </a:lnTo>
                  <a:lnTo>
                    <a:pt x="450894" y="829659"/>
                  </a:lnTo>
                  <a:lnTo>
                    <a:pt x="429540" y="829620"/>
                  </a:lnTo>
                  <a:lnTo>
                    <a:pt x="398818" y="839902"/>
                  </a:lnTo>
                  <a:lnTo>
                    <a:pt x="368881" y="879740"/>
                  </a:lnTo>
                  <a:lnTo>
                    <a:pt x="357295" y="884664"/>
                  </a:lnTo>
                  <a:lnTo>
                    <a:pt x="338734" y="877114"/>
                  </a:lnTo>
                  <a:lnTo>
                    <a:pt x="327350" y="865342"/>
                  </a:lnTo>
                  <a:lnTo>
                    <a:pt x="315209" y="864504"/>
                  </a:lnTo>
                  <a:lnTo>
                    <a:pt x="295026" y="836132"/>
                  </a:lnTo>
                  <a:lnTo>
                    <a:pt x="297462" y="823517"/>
                  </a:lnTo>
                  <a:lnTo>
                    <a:pt x="281609" y="816180"/>
                  </a:lnTo>
                  <a:lnTo>
                    <a:pt x="280622" y="796181"/>
                  </a:lnTo>
                  <a:lnTo>
                    <a:pt x="261793" y="772626"/>
                  </a:lnTo>
                  <a:lnTo>
                    <a:pt x="219757" y="752276"/>
                  </a:lnTo>
                  <a:lnTo>
                    <a:pt x="183470" y="755444"/>
                  </a:lnTo>
                  <a:lnTo>
                    <a:pt x="178176" y="724535"/>
                  </a:lnTo>
                  <a:lnTo>
                    <a:pt x="171760" y="713186"/>
                  </a:lnTo>
                  <a:lnTo>
                    <a:pt x="181871" y="691760"/>
                  </a:lnTo>
                  <a:lnTo>
                    <a:pt x="198306" y="668281"/>
                  </a:lnTo>
                  <a:lnTo>
                    <a:pt x="213111" y="658367"/>
                  </a:lnTo>
                  <a:lnTo>
                    <a:pt x="222120" y="660633"/>
                  </a:lnTo>
                  <a:lnTo>
                    <a:pt x="228637" y="640686"/>
                  </a:lnTo>
                  <a:lnTo>
                    <a:pt x="214123" y="644172"/>
                  </a:lnTo>
                  <a:lnTo>
                    <a:pt x="191722" y="613745"/>
                  </a:lnTo>
                  <a:lnTo>
                    <a:pt x="197773" y="581346"/>
                  </a:lnTo>
                  <a:lnTo>
                    <a:pt x="219151" y="564370"/>
                  </a:lnTo>
                  <a:lnTo>
                    <a:pt x="227063" y="547808"/>
                  </a:lnTo>
                  <a:lnTo>
                    <a:pt x="219462" y="537343"/>
                  </a:lnTo>
                  <a:lnTo>
                    <a:pt x="199015" y="526921"/>
                  </a:lnTo>
                  <a:lnTo>
                    <a:pt x="192305" y="511899"/>
                  </a:lnTo>
                  <a:lnTo>
                    <a:pt x="193847" y="498849"/>
                  </a:lnTo>
                  <a:lnTo>
                    <a:pt x="174035" y="483625"/>
                  </a:lnTo>
                  <a:lnTo>
                    <a:pt x="190064" y="477795"/>
                  </a:lnTo>
                  <a:lnTo>
                    <a:pt x="220869" y="474425"/>
                  </a:lnTo>
                  <a:lnTo>
                    <a:pt x="231730" y="451443"/>
                  </a:lnTo>
                  <a:lnTo>
                    <a:pt x="233875" y="432218"/>
                  </a:lnTo>
                  <a:lnTo>
                    <a:pt x="221203" y="422434"/>
                  </a:lnTo>
                  <a:lnTo>
                    <a:pt x="221177" y="411051"/>
                  </a:lnTo>
                  <a:lnTo>
                    <a:pt x="234769" y="406971"/>
                  </a:lnTo>
                  <a:lnTo>
                    <a:pt x="243546" y="395243"/>
                  </a:lnTo>
                  <a:lnTo>
                    <a:pt x="237057" y="384856"/>
                  </a:lnTo>
                  <a:lnTo>
                    <a:pt x="242299" y="361201"/>
                  </a:lnTo>
                  <a:lnTo>
                    <a:pt x="235026" y="327130"/>
                  </a:lnTo>
                  <a:lnTo>
                    <a:pt x="244581" y="307965"/>
                  </a:lnTo>
                  <a:lnTo>
                    <a:pt x="284994" y="278705"/>
                  </a:lnTo>
                  <a:lnTo>
                    <a:pt x="300799" y="255954"/>
                  </a:lnTo>
                  <a:lnTo>
                    <a:pt x="284599" y="244146"/>
                  </a:lnTo>
                  <a:lnTo>
                    <a:pt x="266072" y="243150"/>
                  </a:lnTo>
                  <a:lnTo>
                    <a:pt x="269005" y="221152"/>
                  </a:lnTo>
                  <a:lnTo>
                    <a:pt x="261127" y="212698"/>
                  </a:lnTo>
                  <a:lnTo>
                    <a:pt x="215073" y="212335"/>
                  </a:lnTo>
                  <a:lnTo>
                    <a:pt x="191804" y="224926"/>
                  </a:lnTo>
                  <a:lnTo>
                    <a:pt x="166805" y="226429"/>
                  </a:lnTo>
                  <a:lnTo>
                    <a:pt x="154233" y="217384"/>
                  </a:lnTo>
                  <a:lnTo>
                    <a:pt x="126689" y="222047"/>
                  </a:lnTo>
                  <a:lnTo>
                    <a:pt x="113028" y="228857"/>
                  </a:lnTo>
                  <a:lnTo>
                    <a:pt x="109785" y="208690"/>
                  </a:lnTo>
                  <a:lnTo>
                    <a:pt x="93488" y="196895"/>
                  </a:lnTo>
                  <a:lnTo>
                    <a:pt x="74560" y="197661"/>
                  </a:lnTo>
                  <a:lnTo>
                    <a:pt x="42077" y="221537"/>
                  </a:lnTo>
                  <a:lnTo>
                    <a:pt x="38706" y="193675"/>
                  </a:lnTo>
                  <a:lnTo>
                    <a:pt x="46320" y="191713"/>
                  </a:lnTo>
                  <a:lnTo>
                    <a:pt x="46426" y="167415"/>
                  </a:lnTo>
                  <a:lnTo>
                    <a:pt x="37813" y="151250"/>
                  </a:lnTo>
                  <a:lnTo>
                    <a:pt x="50897" y="137541"/>
                  </a:lnTo>
                  <a:lnTo>
                    <a:pt x="43159" y="129160"/>
                  </a:lnTo>
                  <a:lnTo>
                    <a:pt x="29890" y="144282"/>
                  </a:lnTo>
                  <a:lnTo>
                    <a:pt x="21439" y="138608"/>
                  </a:lnTo>
                  <a:lnTo>
                    <a:pt x="34579" y="116466"/>
                  </a:lnTo>
                  <a:lnTo>
                    <a:pt x="17854" y="112212"/>
                  </a:lnTo>
                  <a:lnTo>
                    <a:pt x="16708" y="101053"/>
                  </a:lnTo>
                  <a:lnTo>
                    <a:pt x="0" y="98994"/>
                  </a:lnTo>
                  <a:lnTo>
                    <a:pt x="8292" y="72571"/>
                  </a:lnTo>
                  <a:lnTo>
                    <a:pt x="34676" y="63339"/>
                  </a:lnTo>
                  <a:lnTo>
                    <a:pt x="45754" y="51389"/>
                  </a:lnTo>
                  <a:lnTo>
                    <a:pt x="73931" y="52946"/>
                  </a:lnTo>
                  <a:lnTo>
                    <a:pt x="96041" y="42447"/>
                  </a:lnTo>
                  <a:lnTo>
                    <a:pt x="94224" y="28273"/>
                  </a:lnTo>
                  <a:lnTo>
                    <a:pt x="119567" y="7038"/>
                  </a:lnTo>
                  <a:close/>
                </a:path>
              </a:pathLst>
            </a:custGeom>
            <a:solidFill>
              <a:schemeClr val="accent1">
                <a:lumMod val="40000"/>
                <a:lumOff val="6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6" name="ee4p_9_1_43215"/>
            <p:cNvSpPr>
              <a:spLocks noChangeAspect="1"/>
            </p:cNvSpPr>
            <p:nvPr>
              <p:custDataLst>
                <p:tags r:id="rId12"/>
              </p:custDataLst>
            </p:nvPr>
          </p:nvSpPr>
          <p:spPr bwMode="gray">
            <a:xfrm>
              <a:off x="3192315" y="4283546"/>
              <a:ext cx="370001" cy="251878"/>
            </a:xfrm>
            <a:custGeom>
              <a:avLst/>
              <a:gdLst/>
              <a:ahLst/>
              <a:cxnLst/>
              <a:rect l="0" t="0" r="0" b="0"/>
              <a:pathLst>
                <a:path w="370001" h="251878">
                  <a:moveTo>
                    <a:pt x="336242" y="93200"/>
                  </a:moveTo>
                  <a:lnTo>
                    <a:pt x="345366" y="97301"/>
                  </a:lnTo>
                  <a:lnTo>
                    <a:pt x="356094" y="126242"/>
                  </a:lnTo>
                  <a:lnTo>
                    <a:pt x="370000" y="137125"/>
                  </a:lnTo>
                  <a:lnTo>
                    <a:pt x="347531" y="172475"/>
                  </a:lnTo>
                  <a:lnTo>
                    <a:pt x="324076" y="174719"/>
                  </a:lnTo>
                  <a:lnTo>
                    <a:pt x="308642" y="201907"/>
                  </a:lnTo>
                  <a:lnTo>
                    <a:pt x="323210" y="225549"/>
                  </a:lnTo>
                  <a:lnTo>
                    <a:pt x="316611" y="246057"/>
                  </a:lnTo>
                  <a:lnTo>
                    <a:pt x="283771" y="251877"/>
                  </a:lnTo>
                  <a:lnTo>
                    <a:pt x="278699" y="239599"/>
                  </a:lnTo>
                  <a:lnTo>
                    <a:pt x="246793" y="219199"/>
                  </a:lnTo>
                  <a:lnTo>
                    <a:pt x="224068" y="215484"/>
                  </a:lnTo>
                  <a:lnTo>
                    <a:pt x="219888" y="189563"/>
                  </a:lnTo>
                  <a:lnTo>
                    <a:pt x="183820" y="196834"/>
                  </a:lnTo>
                  <a:lnTo>
                    <a:pt x="159538" y="194402"/>
                  </a:lnTo>
                  <a:lnTo>
                    <a:pt x="162127" y="180945"/>
                  </a:lnTo>
                  <a:lnTo>
                    <a:pt x="153878" y="154195"/>
                  </a:lnTo>
                  <a:lnTo>
                    <a:pt x="143376" y="143545"/>
                  </a:lnTo>
                  <a:lnTo>
                    <a:pt x="109109" y="146515"/>
                  </a:lnTo>
                  <a:lnTo>
                    <a:pt x="102637" y="125926"/>
                  </a:lnTo>
                  <a:lnTo>
                    <a:pt x="71649" y="122056"/>
                  </a:lnTo>
                  <a:lnTo>
                    <a:pt x="58527" y="89468"/>
                  </a:lnTo>
                  <a:lnTo>
                    <a:pt x="31363" y="99748"/>
                  </a:lnTo>
                  <a:lnTo>
                    <a:pt x="8605" y="85749"/>
                  </a:lnTo>
                  <a:lnTo>
                    <a:pt x="0" y="50409"/>
                  </a:lnTo>
                  <a:lnTo>
                    <a:pt x="51242" y="23200"/>
                  </a:lnTo>
                  <a:lnTo>
                    <a:pt x="79460" y="14680"/>
                  </a:lnTo>
                  <a:lnTo>
                    <a:pt x="85280" y="30527"/>
                  </a:lnTo>
                  <a:lnTo>
                    <a:pt x="101208" y="22728"/>
                  </a:lnTo>
                  <a:lnTo>
                    <a:pt x="136705" y="34199"/>
                  </a:lnTo>
                  <a:lnTo>
                    <a:pt x="163410" y="17232"/>
                  </a:lnTo>
                  <a:lnTo>
                    <a:pt x="164266" y="13833"/>
                  </a:lnTo>
                  <a:lnTo>
                    <a:pt x="192765" y="0"/>
                  </a:lnTo>
                  <a:lnTo>
                    <a:pt x="202767" y="7769"/>
                  </a:lnTo>
                  <a:lnTo>
                    <a:pt x="244324" y="11433"/>
                  </a:lnTo>
                  <a:lnTo>
                    <a:pt x="260778" y="22697"/>
                  </a:lnTo>
                  <a:lnTo>
                    <a:pt x="320243" y="43341"/>
                  </a:lnTo>
                  <a:lnTo>
                    <a:pt x="305296" y="89629"/>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7" name="ee4p_16_1_43215"/>
            <p:cNvSpPr>
              <a:spLocks noChangeAspect="1"/>
            </p:cNvSpPr>
            <p:nvPr>
              <p:custDataLst>
                <p:tags r:id="rId13"/>
              </p:custDataLst>
            </p:nvPr>
          </p:nvSpPr>
          <p:spPr bwMode="gray">
            <a:xfrm>
              <a:off x="4848096" y="1534109"/>
              <a:ext cx="1154219" cy="1614909"/>
            </a:xfrm>
            <a:custGeom>
              <a:avLst/>
              <a:gdLst/>
              <a:ahLst/>
              <a:cxnLst/>
              <a:rect l="l" t="t" r="r" b="b"/>
              <a:pathLst>
                <a:path w="1154219" h="1614909">
                  <a:moveTo>
                    <a:pt x="305006" y="1555469"/>
                  </a:moveTo>
                  <a:lnTo>
                    <a:pt x="309400" y="1561336"/>
                  </a:lnTo>
                  <a:lnTo>
                    <a:pt x="307062" y="1564125"/>
                  </a:lnTo>
                  <a:lnTo>
                    <a:pt x="300351" y="1588320"/>
                  </a:lnTo>
                  <a:lnTo>
                    <a:pt x="262997" y="1587406"/>
                  </a:lnTo>
                  <a:lnTo>
                    <a:pt x="271250" y="1560468"/>
                  </a:lnTo>
                  <a:close/>
                  <a:moveTo>
                    <a:pt x="25979" y="1529949"/>
                  </a:moveTo>
                  <a:lnTo>
                    <a:pt x="51543" y="1539924"/>
                  </a:lnTo>
                  <a:lnTo>
                    <a:pt x="56321" y="1559878"/>
                  </a:lnTo>
                  <a:lnTo>
                    <a:pt x="37336" y="1561034"/>
                  </a:lnTo>
                  <a:lnTo>
                    <a:pt x="29545" y="1577749"/>
                  </a:lnTo>
                  <a:lnTo>
                    <a:pt x="7187" y="1573389"/>
                  </a:lnTo>
                  <a:lnTo>
                    <a:pt x="0" y="1553967"/>
                  </a:lnTo>
                  <a:lnTo>
                    <a:pt x="23108" y="1549162"/>
                  </a:lnTo>
                  <a:close/>
                  <a:moveTo>
                    <a:pt x="769686" y="0"/>
                  </a:moveTo>
                  <a:lnTo>
                    <a:pt x="805668" y="10495"/>
                  </a:lnTo>
                  <a:lnTo>
                    <a:pt x="846308" y="44271"/>
                  </a:lnTo>
                  <a:lnTo>
                    <a:pt x="916925" y="65464"/>
                  </a:lnTo>
                  <a:lnTo>
                    <a:pt x="936533" y="102699"/>
                  </a:lnTo>
                  <a:lnTo>
                    <a:pt x="887662" y="146063"/>
                  </a:lnTo>
                  <a:lnTo>
                    <a:pt x="897122" y="175382"/>
                  </a:lnTo>
                  <a:lnTo>
                    <a:pt x="855137" y="196025"/>
                  </a:lnTo>
                  <a:lnTo>
                    <a:pt x="884649" y="206319"/>
                  </a:lnTo>
                  <a:lnTo>
                    <a:pt x="849152" y="261874"/>
                  </a:lnTo>
                  <a:lnTo>
                    <a:pt x="869687" y="319362"/>
                  </a:lnTo>
                  <a:lnTo>
                    <a:pt x="935575" y="339654"/>
                  </a:lnTo>
                  <a:lnTo>
                    <a:pt x="967731" y="384743"/>
                  </a:lnTo>
                  <a:lnTo>
                    <a:pt x="1002336" y="406145"/>
                  </a:lnTo>
                  <a:lnTo>
                    <a:pt x="993935" y="431053"/>
                  </a:lnTo>
                  <a:lnTo>
                    <a:pt x="911016" y="517306"/>
                  </a:lnTo>
                  <a:lnTo>
                    <a:pt x="915440" y="548989"/>
                  </a:lnTo>
                  <a:lnTo>
                    <a:pt x="954202" y="598427"/>
                  </a:lnTo>
                  <a:lnTo>
                    <a:pt x="972580" y="635183"/>
                  </a:lnTo>
                  <a:lnTo>
                    <a:pt x="993266" y="657844"/>
                  </a:lnTo>
                  <a:lnTo>
                    <a:pt x="1007312" y="695009"/>
                  </a:lnTo>
                  <a:lnTo>
                    <a:pt x="1002344" y="726657"/>
                  </a:lnTo>
                  <a:lnTo>
                    <a:pt x="974858" y="762231"/>
                  </a:lnTo>
                  <a:lnTo>
                    <a:pt x="987090" y="802927"/>
                  </a:lnTo>
                  <a:lnTo>
                    <a:pt x="964595" y="827279"/>
                  </a:lnTo>
                  <a:lnTo>
                    <a:pt x="975495" y="869785"/>
                  </a:lnTo>
                  <a:lnTo>
                    <a:pt x="1004843" y="869300"/>
                  </a:lnTo>
                  <a:lnTo>
                    <a:pt x="1013833" y="891802"/>
                  </a:lnTo>
                  <a:lnTo>
                    <a:pt x="999700" y="901457"/>
                  </a:lnTo>
                  <a:lnTo>
                    <a:pt x="1005031" y="930292"/>
                  </a:lnTo>
                  <a:lnTo>
                    <a:pt x="1047371" y="951990"/>
                  </a:lnTo>
                  <a:lnTo>
                    <a:pt x="1051781" y="985041"/>
                  </a:lnTo>
                  <a:lnTo>
                    <a:pt x="1025887" y="1020034"/>
                  </a:lnTo>
                  <a:lnTo>
                    <a:pt x="997970" y="1030011"/>
                  </a:lnTo>
                  <a:lnTo>
                    <a:pt x="1047522" y="1074565"/>
                  </a:lnTo>
                  <a:lnTo>
                    <a:pt x="1076907" y="1083960"/>
                  </a:lnTo>
                  <a:lnTo>
                    <a:pt x="1120658" y="1112591"/>
                  </a:lnTo>
                  <a:lnTo>
                    <a:pt x="1123128" y="1128191"/>
                  </a:lnTo>
                  <a:lnTo>
                    <a:pt x="1154219" y="1159540"/>
                  </a:lnTo>
                  <a:lnTo>
                    <a:pt x="1118893" y="1221489"/>
                  </a:lnTo>
                  <a:lnTo>
                    <a:pt x="952607" y="1376306"/>
                  </a:lnTo>
                  <a:lnTo>
                    <a:pt x="927617" y="1404468"/>
                  </a:lnTo>
                  <a:lnTo>
                    <a:pt x="886423" y="1426441"/>
                  </a:lnTo>
                  <a:lnTo>
                    <a:pt x="870544" y="1451734"/>
                  </a:lnTo>
                  <a:lnTo>
                    <a:pt x="857927" y="1450617"/>
                  </a:lnTo>
                  <a:lnTo>
                    <a:pt x="796400" y="1501002"/>
                  </a:lnTo>
                  <a:lnTo>
                    <a:pt x="782405" y="1516796"/>
                  </a:lnTo>
                  <a:lnTo>
                    <a:pt x="757067" y="1520468"/>
                  </a:lnTo>
                  <a:lnTo>
                    <a:pt x="714895" y="1509995"/>
                  </a:lnTo>
                  <a:lnTo>
                    <a:pt x="702903" y="1522155"/>
                  </a:lnTo>
                  <a:lnTo>
                    <a:pt x="670118" y="1523175"/>
                  </a:lnTo>
                  <a:lnTo>
                    <a:pt x="626785" y="1532670"/>
                  </a:lnTo>
                  <a:lnTo>
                    <a:pt x="558732" y="1557828"/>
                  </a:lnTo>
                  <a:lnTo>
                    <a:pt x="550597" y="1552007"/>
                  </a:lnTo>
                  <a:lnTo>
                    <a:pt x="513304" y="1567486"/>
                  </a:lnTo>
                  <a:lnTo>
                    <a:pt x="482173" y="1572598"/>
                  </a:lnTo>
                  <a:lnTo>
                    <a:pt x="465035" y="1591473"/>
                  </a:lnTo>
                  <a:lnTo>
                    <a:pt x="419407" y="1586100"/>
                  </a:lnTo>
                  <a:lnTo>
                    <a:pt x="393479" y="1597423"/>
                  </a:lnTo>
                  <a:lnTo>
                    <a:pt x="359687" y="1598933"/>
                  </a:lnTo>
                  <a:lnTo>
                    <a:pt x="341728" y="1614032"/>
                  </a:lnTo>
                  <a:lnTo>
                    <a:pt x="316108" y="1614909"/>
                  </a:lnTo>
                  <a:lnTo>
                    <a:pt x="312277" y="1602044"/>
                  </a:lnTo>
                  <a:lnTo>
                    <a:pt x="325592" y="1582953"/>
                  </a:lnTo>
                  <a:lnTo>
                    <a:pt x="309400" y="1561336"/>
                  </a:lnTo>
                  <a:lnTo>
                    <a:pt x="321781" y="1546566"/>
                  </a:lnTo>
                  <a:lnTo>
                    <a:pt x="310074" y="1554718"/>
                  </a:lnTo>
                  <a:lnTo>
                    <a:pt x="305006" y="1555469"/>
                  </a:lnTo>
                  <a:lnTo>
                    <a:pt x="303036" y="1552839"/>
                  </a:lnTo>
                  <a:lnTo>
                    <a:pt x="272000" y="1549576"/>
                  </a:lnTo>
                  <a:lnTo>
                    <a:pt x="223078" y="1512142"/>
                  </a:lnTo>
                  <a:lnTo>
                    <a:pt x="162404" y="1490088"/>
                  </a:lnTo>
                  <a:lnTo>
                    <a:pt x="171709" y="1479653"/>
                  </a:lnTo>
                  <a:lnTo>
                    <a:pt x="147215" y="1460620"/>
                  </a:lnTo>
                  <a:lnTo>
                    <a:pt x="171499" y="1437120"/>
                  </a:lnTo>
                  <a:lnTo>
                    <a:pt x="181511" y="1385103"/>
                  </a:lnTo>
                  <a:lnTo>
                    <a:pt x="178137" y="1356313"/>
                  </a:lnTo>
                  <a:lnTo>
                    <a:pt x="183209" y="1332943"/>
                  </a:lnTo>
                  <a:lnTo>
                    <a:pt x="170344" y="1303025"/>
                  </a:lnTo>
                  <a:lnTo>
                    <a:pt x="156892" y="1297235"/>
                  </a:lnTo>
                  <a:lnTo>
                    <a:pt x="163624" y="1240104"/>
                  </a:lnTo>
                  <a:lnTo>
                    <a:pt x="142912" y="1225131"/>
                  </a:lnTo>
                  <a:lnTo>
                    <a:pt x="149221" y="1206999"/>
                  </a:lnTo>
                  <a:lnTo>
                    <a:pt x="141629" y="1176138"/>
                  </a:lnTo>
                  <a:lnTo>
                    <a:pt x="164335" y="1164832"/>
                  </a:lnTo>
                  <a:lnTo>
                    <a:pt x="189129" y="1133108"/>
                  </a:lnTo>
                  <a:lnTo>
                    <a:pt x="179892" y="1111912"/>
                  </a:lnTo>
                  <a:lnTo>
                    <a:pt x="208302" y="1105552"/>
                  </a:lnTo>
                  <a:lnTo>
                    <a:pt x="235700" y="1110907"/>
                  </a:lnTo>
                  <a:lnTo>
                    <a:pt x="264631" y="1094957"/>
                  </a:lnTo>
                  <a:lnTo>
                    <a:pt x="246353" y="1076844"/>
                  </a:lnTo>
                  <a:lnTo>
                    <a:pt x="266000" y="1070130"/>
                  </a:lnTo>
                  <a:lnTo>
                    <a:pt x="293380" y="1018476"/>
                  </a:lnTo>
                  <a:lnTo>
                    <a:pt x="362696" y="1001841"/>
                  </a:lnTo>
                  <a:lnTo>
                    <a:pt x="422999" y="928368"/>
                  </a:lnTo>
                  <a:lnTo>
                    <a:pt x="456488" y="906341"/>
                  </a:lnTo>
                  <a:lnTo>
                    <a:pt x="459492" y="889088"/>
                  </a:lnTo>
                  <a:lnTo>
                    <a:pt x="487677" y="857293"/>
                  </a:lnTo>
                  <a:lnTo>
                    <a:pt x="557367" y="837243"/>
                  </a:lnTo>
                  <a:lnTo>
                    <a:pt x="539086" y="816827"/>
                  </a:lnTo>
                  <a:lnTo>
                    <a:pt x="550090" y="770027"/>
                  </a:lnTo>
                  <a:lnTo>
                    <a:pt x="521667" y="738524"/>
                  </a:lnTo>
                  <a:lnTo>
                    <a:pt x="485685" y="732591"/>
                  </a:lnTo>
                  <a:lnTo>
                    <a:pt x="473268" y="719984"/>
                  </a:lnTo>
                  <a:lnTo>
                    <a:pt x="435133" y="707611"/>
                  </a:lnTo>
                  <a:lnTo>
                    <a:pt x="412209" y="652346"/>
                  </a:lnTo>
                  <a:lnTo>
                    <a:pt x="385831" y="629845"/>
                  </a:lnTo>
                  <a:lnTo>
                    <a:pt x="386278" y="605093"/>
                  </a:lnTo>
                  <a:lnTo>
                    <a:pt x="406252" y="588628"/>
                  </a:lnTo>
                  <a:lnTo>
                    <a:pt x="408181" y="556781"/>
                  </a:lnTo>
                  <a:lnTo>
                    <a:pt x="419655" y="546027"/>
                  </a:lnTo>
                  <a:lnTo>
                    <a:pt x="377014" y="489330"/>
                  </a:lnTo>
                  <a:lnTo>
                    <a:pt x="393268" y="470488"/>
                  </a:lnTo>
                  <a:lnTo>
                    <a:pt x="397344" y="446572"/>
                  </a:lnTo>
                  <a:lnTo>
                    <a:pt x="362583" y="434590"/>
                  </a:lnTo>
                  <a:lnTo>
                    <a:pt x="376088" y="420849"/>
                  </a:lnTo>
                  <a:lnTo>
                    <a:pt x="371194" y="374625"/>
                  </a:lnTo>
                  <a:lnTo>
                    <a:pt x="386058" y="358292"/>
                  </a:lnTo>
                  <a:lnTo>
                    <a:pt x="360967" y="344122"/>
                  </a:lnTo>
                  <a:lnTo>
                    <a:pt x="330145" y="301994"/>
                  </a:lnTo>
                  <a:lnTo>
                    <a:pt x="260286" y="271542"/>
                  </a:lnTo>
                  <a:lnTo>
                    <a:pt x="230878" y="271991"/>
                  </a:lnTo>
                  <a:lnTo>
                    <a:pt x="215855" y="254359"/>
                  </a:lnTo>
                  <a:lnTo>
                    <a:pt x="170337" y="235367"/>
                  </a:lnTo>
                  <a:lnTo>
                    <a:pt x="167239" y="223948"/>
                  </a:lnTo>
                  <a:lnTo>
                    <a:pt x="86166" y="174013"/>
                  </a:lnTo>
                  <a:lnTo>
                    <a:pt x="156820" y="131142"/>
                  </a:lnTo>
                  <a:lnTo>
                    <a:pt x="190518" y="137161"/>
                  </a:lnTo>
                  <a:lnTo>
                    <a:pt x="259576" y="213428"/>
                  </a:lnTo>
                  <a:lnTo>
                    <a:pt x="304090" y="236995"/>
                  </a:lnTo>
                  <a:lnTo>
                    <a:pt x="339578" y="246935"/>
                  </a:lnTo>
                  <a:lnTo>
                    <a:pt x="388534" y="233966"/>
                  </a:lnTo>
                  <a:lnTo>
                    <a:pt x="418512" y="213443"/>
                  </a:lnTo>
                  <a:lnTo>
                    <a:pt x="444408" y="230322"/>
                  </a:lnTo>
                  <a:lnTo>
                    <a:pt x="513185" y="248766"/>
                  </a:lnTo>
                  <a:lnTo>
                    <a:pt x="530647" y="220182"/>
                  </a:lnTo>
                  <a:lnTo>
                    <a:pt x="589002" y="177439"/>
                  </a:lnTo>
                  <a:lnTo>
                    <a:pt x="584091" y="149438"/>
                  </a:lnTo>
                  <a:lnTo>
                    <a:pt x="593625" y="112520"/>
                  </a:lnTo>
                  <a:lnTo>
                    <a:pt x="626774" y="58019"/>
                  </a:lnTo>
                  <a:lnTo>
                    <a:pt x="661114" y="22418"/>
                  </a:lnTo>
                  <a:lnTo>
                    <a:pt x="739513" y="20741"/>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8" name="ee4p_19_1_43215"/>
            <p:cNvSpPr>
              <a:spLocks noChangeAspect="1"/>
            </p:cNvSpPr>
            <p:nvPr>
              <p:custDataLst>
                <p:tags r:id="rId14"/>
              </p:custDataLst>
            </p:nvPr>
          </p:nvSpPr>
          <p:spPr bwMode="gray">
            <a:xfrm>
              <a:off x="1934262" y="3771414"/>
              <a:ext cx="430416" cy="513764"/>
            </a:xfrm>
            <a:custGeom>
              <a:avLst/>
              <a:gdLst/>
              <a:ahLst/>
              <a:cxnLst/>
              <a:rect l="0" t="0" r="0" b="0"/>
              <a:pathLst>
                <a:path w="430416" h="513764">
                  <a:moveTo>
                    <a:pt x="309596" y="40644"/>
                  </a:moveTo>
                  <a:lnTo>
                    <a:pt x="295116" y="49189"/>
                  </a:lnTo>
                  <a:lnTo>
                    <a:pt x="291587" y="65930"/>
                  </a:lnTo>
                  <a:lnTo>
                    <a:pt x="262185" y="89347"/>
                  </a:lnTo>
                  <a:lnTo>
                    <a:pt x="261563" y="103568"/>
                  </a:lnTo>
                  <a:lnTo>
                    <a:pt x="237032" y="110554"/>
                  </a:lnTo>
                  <a:lnTo>
                    <a:pt x="221956" y="124441"/>
                  </a:lnTo>
                  <a:lnTo>
                    <a:pt x="251204" y="154379"/>
                  </a:lnTo>
                  <a:lnTo>
                    <a:pt x="279611" y="166477"/>
                  </a:lnTo>
                  <a:lnTo>
                    <a:pt x="301507" y="163853"/>
                  </a:lnTo>
                  <a:lnTo>
                    <a:pt x="329165" y="128439"/>
                  </a:lnTo>
                  <a:lnTo>
                    <a:pt x="346345" y="137153"/>
                  </a:lnTo>
                  <a:lnTo>
                    <a:pt x="352237" y="153602"/>
                  </a:lnTo>
                  <a:lnTo>
                    <a:pt x="370171" y="162912"/>
                  </a:lnTo>
                  <a:lnTo>
                    <a:pt x="370777" y="178431"/>
                  </a:lnTo>
                  <a:lnTo>
                    <a:pt x="405201" y="169691"/>
                  </a:lnTo>
                  <a:lnTo>
                    <a:pt x="394723" y="193714"/>
                  </a:lnTo>
                  <a:lnTo>
                    <a:pt x="407209" y="202623"/>
                  </a:lnTo>
                  <a:lnTo>
                    <a:pt x="410340" y="231827"/>
                  </a:lnTo>
                  <a:lnTo>
                    <a:pt x="423098" y="241529"/>
                  </a:lnTo>
                  <a:lnTo>
                    <a:pt x="421396" y="278093"/>
                  </a:lnTo>
                  <a:lnTo>
                    <a:pt x="430415" y="318851"/>
                  </a:lnTo>
                  <a:lnTo>
                    <a:pt x="408928" y="364139"/>
                  </a:lnTo>
                  <a:lnTo>
                    <a:pt x="412299" y="372314"/>
                  </a:lnTo>
                  <a:lnTo>
                    <a:pt x="387045" y="400831"/>
                  </a:lnTo>
                  <a:lnTo>
                    <a:pt x="396261" y="422792"/>
                  </a:lnTo>
                  <a:lnTo>
                    <a:pt x="362295" y="417369"/>
                  </a:lnTo>
                  <a:lnTo>
                    <a:pt x="335009" y="426639"/>
                  </a:lnTo>
                  <a:lnTo>
                    <a:pt x="291502" y="428895"/>
                  </a:lnTo>
                  <a:lnTo>
                    <a:pt x="272860" y="434825"/>
                  </a:lnTo>
                  <a:lnTo>
                    <a:pt x="277624" y="446482"/>
                  </a:lnTo>
                  <a:lnTo>
                    <a:pt x="250414" y="454576"/>
                  </a:lnTo>
                  <a:lnTo>
                    <a:pt x="231476" y="470057"/>
                  </a:lnTo>
                  <a:lnTo>
                    <a:pt x="208552" y="478373"/>
                  </a:lnTo>
                  <a:lnTo>
                    <a:pt x="168442" y="500929"/>
                  </a:lnTo>
                  <a:lnTo>
                    <a:pt x="153759" y="498041"/>
                  </a:lnTo>
                  <a:lnTo>
                    <a:pt x="107552" y="513763"/>
                  </a:lnTo>
                  <a:lnTo>
                    <a:pt x="96781" y="506634"/>
                  </a:lnTo>
                  <a:lnTo>
                    <a:pt x="73085" y="513719"/>
                  </a:lnTo>
                  <a:lnTo>
                    <a:pt x="48124" y="482136"/>
                  </a:lnTo>
                  <a:lnTo>
                    <a:pt x="10149" y="460272"/>
                  </a:lnTo>
                  <a:lnTo>
                    <a:pt x="32863" y="430002"/>
                  </a:lnTo>
                  <a:lnTo>
                    <a:pt x="0" y="432753"/>
                  </a:lnTo>
                  <a:lnTo>
                    <a:pt x="9210" y="414834"/>
                  </a:lnTo>
                  <a:lnTo>
                    <a:pt x="27028" y="407605"/>
                  </a:lnTo>
                  <a:lnTo>
                    <a:pt x="62657" y="413718"/>
                  </a:lnTo>
                  <a:lnTo>
                    <a:pt x="57224" y="390011"/>
                  </a:lnTo>
                  <a:lnTo>
                    <a:pt x="74157" y="382651"/>
                  </a:lnTo>
                  <a:lnTo>
                    <a:pt x="72409" y="359734"/>
                  </a:lnTo>
                  <a:lnTo>
                    <a:pt x="106820" y="325898"/>
                  </a:lnTo>
                  <a:lnTo>
                    <a:pt x="101303" y="312682"/>
                  </a:lnTo>
                  <a:lnTo>
                    <a:pt x="115337" y="294926"/>
                  </a:lnTo>
                  <a:lnTo>
                    <a:pt x="142016" y="292871"/>
                  </a:lnTo>
                  <a:lnTo>
                    <a:pt x="143710" y="279619"/>
                  </a:lnTo>
                  <a:lnTo>
                    <a:pt x="91508" y="286045"/>
                  </a:lnTo>
                  <a:lnTo>
                    <a:pt x="32414" y="261624"/>
                  </a:lnTo>
                  <a:lnTo>
                    <a:pt x="31575" y="239568"/>
                  </a:lnTo>
                  <a:lnTo>
                    <a:pt x="52739" y="236133"/>
                  </a:lnTo>
                  <a:lnTo>
                    <a:pt x="53717" y="214503"/>
                  </a:lnTo>
                  <a:lnTo>
                    <a:pt x="76802" y="211406"/>
                  </a:lnTo>
                  <a:lnTo>
                    <a:pt x="75236" y="196488"/>
                  </a:lnTo>
                  <a:lnTo>
                    <a:pt x="46414" y="170553"/>
                  </a:lnTo>
                  <a:lnTo>
                    <a:pt x="44383" y="142616"/>
                  </a:lnTo>
                  <a:lnTo>
                    <a:pt x="59849" y="140218"/>
                  </a:lnTo>
                  <a:lnTo>
                    <a:pt x="138921" y="143882"/>
                  </a:lnTo>
                  <a:lnTo>
                    <a:pt x="157843" y="149643"/>
                  </a:lnTo>
                  <a:lnTo>
                    <a:pt x="172415" y="135193"/>
                  </a:lnTo>
                  <a:lnTo>
                    <a:pt x="209832" y="119509"/>
                  </a:lnTo>
                  <a:lnTo>
                    <a:pt x="219489" y="97931"/>
                  </a:lnTo>
                  <a:lnTo>
                    <a:pt x="171871" y="100706"/>
                  </a:lnTo>
                  <a:lnTo>
                    <a:pt x="161302" y="91423"/>
                  </a:lnTo>
                  <a:lnTo>
                    <a:pt x="184088" y="71994"/>
                  </a:lnTo>
                  <a:lnTo>
                    <a:pt x="206705" y="40500"/>
                  </a:lnTo>
                  <a:lnTo>
                    <a:pt x="273323" y="12431"/>
                  </a:lnTo>
                  <a:lnTo>
                    <a:pt x="297335" y="10151"/>
                  </a:lnTo>
                  <a:lnTo>
                    <a:pt x="306069" y="0"/>
                  </a:lnTo>
                  <a:lnTo>
                    <a:pt x="338768" y="21456"/>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9" name="ee4p_22_1_43215"/>
            <p:cNvSpPr>
              <a:spLocks noChangeAspect="1"/>
            </p:cNvSpPr>
            <p:nvPr>
              <p:custDataLst>
                <p:tags r:id="rId15"/>
              </p:custDataLst>
            </p:nvPr>
          </p:nvSpPr>
          <p:spPr bwMode="gray">
            <a:xfrm>
              <a:off x="3426839" y="1341438"/>
              <a:ext cx="2522468" cy="2070429"/>
            </a:xfrm>
            <a:custGeom>
              <a:avLst/>
              <a:gdLst/>
              <a:ahLst/>
              <a:cxnLst/>
              <a:rect l="l" t="t" r="r" b="b"/>
              <a:pathLst>
                <a:path w="2522468" h="2070429">
                  <a:moveTo>
                    <a:pt x="70578" y="1774245"/>
                  </a:moveTo>
                  <a:lnTo>
                    <a:pt x="57665" y="1798485"/>
                  </a:lnTo>
                  <a:lnTo>
                    <a:pt x="39148" y="1784573"/>
                  </a:lnTo>
                  <a:close/>
                  <a:moveTo>
                    <a:pt x="68356" y="1685406"/>
                  </a:moveTo>
                  <a:lnTo>
                    <a:pt x="71814" y="1712583"/>
                  </a:lnTo>
                  <a:lnTo>
                    <a:pt x="51195" y="1718081"/>
                  </a:lnTo>
                  <a:lnTo>
                    <a:pt x="35806" y="1704084"/>
                  </a:lnTo>
                  <a:lnTo>
                    <a:pt x="48615" y="1695334"/>
                  </a:lnTo>
                  <a:close/>
                  <a:moveTo>
                    <a:pt x="389950" y="1240624"/>
                  </a:moveTo>
                  <a:lnTo>
                    <a:pt x="408843" y="1253315"/>
                  </a:lnTo>
                  <a:lnTo>
                    <a:pt x="374486" y="1266014"/>
                  </a:lnTo>
                  <a:lnTo>
                    <a:pt x="330536" y="1273331"/>
                  </a:lnTo>
                  <a:lnTo>
                    <a:pt x="322292" y="1263364"/>
                  </a:lnTo>
                  <a:lnTo>
                    <a:pt x="357360" y="1243282"/>
                  </a:lnTo>
                  <a:close/>
                  <a:moveTo>
                    <a:pt x="872907" y="487600"/>
                  </a:moveTo>
                  <a:lnTo>
                    <a:pt x="890173" y="501625"/>
                  </a:lnTo>
                  <a:lnTo>
                    <a:pt x="833863" y="528952"/>
                  </a:lnTo>
                  <a:lnTo>
                    <a:pt x="823303" y="510666"/>
                  </a:lnTo>
                  <a:close/>
                  <a:moveTo>
                    <a:pt x="986502" y="470832"/>
                  </a:moveTo>
                  <a:lnTo>
                    <a:pt x="946613" y="499494"/>
                  </a:lnTo>
                  <a:lnTo>
                    <a:pt x="895941" y="516789"/>
                  </a:lnTo>
                  <a:lnTo>
                    <a:pt x="906957" y="487327"/>
                  </a:lnTo>
                  <a:lnTo>
                    <a:pt x="925094" y="475340"/>
                  </a:lnTo>
                  <a:close/>
                  <a:moveTo>
                    <a:pt x="1041181" y="383019"/>
                  </a:moveTo>
                  <a:lnTo>
                    <a:pt x="1058821" y="384202"/>
                  </a:lnTo>
                  <a:lnTo>
                    <a:pt x="1068129" y="414642"/>
                  </a:lnTo>
                  <a:lnTo>
                    <a:pt x="1096412" y="395330"/>
                  </a:lnTo>
                  <a:lnTo>
                    <a:pt x="1120532" y="407106"/>
                  </a:lnTo>
                  <a:lnTo>
                    <a:pt x="1116907" y="450180"/>
                  </a:lnTo>
                  <a:lnTo>
                    <a:pt x="1078488" y="453673"/>
                  </a:lnTo>
                  <a:lnTo>
                    <a:pt x="1063092" y="478866"/>
                  </a:lnTo>
                  <a:lnTo>
                    <a:pt x="1034579" y="492764"/>
                  </a:lnTo>
                  <a:lnTo>
                    <a:pt x="995565" y="483243"/>
                  </a:lnTo>
                  <a:lnTo>
                    <a:pt x="990399" y="448823"/>
                  </a:lnTo>
                  <a:lnTo>
                    <a:pt x="1019392" y="437003"/>
                  </a:lnTo>
                  <a:lnTo>
                    <a:pt x="1014913" y="408480"/>
                  </a:lnTo>
                  <a:close/>
                  <a:moveTo>
                    <a:pt x="983008" y="372922"/>
                  </a:moveTo>
                  <a:lnTo>
                    <a:pt x="1008494" y="403386"/>
                  </a:lnTo>
                  <a:lnTo>
                    <a:pt x="1010568" y="429806"/>
                  </a:lnTo>
                  <a:lnTo>
                    <a:pt x="973770" y="448088"/>
                  </a:lnTo>
                  <a:lnTo>
                    <a:pt x="952446" y="433614"/>
                  </a:lnTo>
                  <a:lnTo>
                    <a:pt x="909435" y="430180"/>
                  </a:lnTo>
                  <a:lnTo>
                    <a:pt x="930823" y="411212"/>
                  </a:lnTo>
                  <a:lnTo>
                    <a:pt x="959350" y="412193"/>
                  </a:lnTo>
                  <a:lnTo>
                    <a:pt x="979212" y="394237"/>
                  </a:lnTo>
                  <a:close/>
                  <a:moveTo>
                    <a:pt x="1080199" y="321859"/>
                  </a:moveTo>
                  <a:lnTo>
                    <a:pt x="1075740" y="350755"/>
                  </a:lnTo>
                  <a:lnTo>
                    <a:pt x="1055099" y="372257"/>
                  </a:lnTo>
                  <a:lnTo>
                    <a:pt x="1025101" y="358938"/>
                  </a:lnTo>
                  <a:close/>
                  <a:moveTo>
                    <a:pt x="1267368" y="293519"/>
                  </a:moveTo>
                  <a:lnTo>
                    <a:pt x="1252150" y="322547"/>
                  </a:lnTo>
                  <a:lnTo>
                    <a:pt x="1257127" y="346637"/>
                  </a:lnTo>
                  <a:lnTo>
                    <a:pt x="1201797" y="351104"/>
                  </a:lnTo>
                  <a:lnTo>
                    <a:pt x="1183486" y="364391"/>
                  </a:lnTo>
                  <a:lnTo>
                    <a:pt x="1152322" y="338791"/>
                  </a:lnTo>
                  <a:lnTo>
                    <a:pt x="1189710" y="306502"/>
                  </a:lnTo>
                  <a:lnTo>
                    <a:pt x="1227774" y="293768"/>
                  </a:lnTo>
                  <a:close/>
                  <a:moveTo>
                    <a:pt x="1340810" y="229589"/>
                  </a:moveTo>
                  <a:lnTo>
                    <a:pt x="1362835" y="244701"/>
                  </a:lnTo>
                  <a:lnTo>
                    <a:pt x="1335187" y="280266"/>
                  </a:lnTo>
                  <a:lnTo>
                    <a:pt x="1281246" y="288360"/>
                  </a:lnTo>
                  <a:lnTo>
                    <a:pt x="1266324" y="270947"/>
                  </a:lnTo>
                  <a:lnTo>
                    <a:pt x="1320141" y="247203"/>
                  </a:lnTo>
                  <a:close/>
                  <a:moveTo>
                    <a:pt x="1379340" y="191421"/>
                  </a:moveTo>
                  <a:lnTo>
                    <a:pt x="1403102" y="214363"/>
                  </a:lnTo>
                  <a:lnTo>
                    <a:pt x="1391989" y="235280"/>
                  </a:lnTo>
                  <a:lnTo>
                    <a:pt x="1364048" y="241601"/>
                  </a:lnTo>
                  <a:lnTo>
                    <a:pt x="1328997" y="218807"/>
                  </a:lnTo>
                  <a:lnTo>
                    <a:pt x="1342096" y="201351"/>
                  </a:lnTo>
                  <a:close/>
                  <a:moveTo>
                    <a:pt x="1527122" y="165395"/>
                  </a:moveTo>
                  <a:lnTo>
                    <a:pt x="1531832" y="195841"/>
                  </a:lnTo>
                  <a:lnTo>
                    <a:pt x="1497737" y="197617"/>
                  </a:lnTo>
                  <a:lnTo>
                    <a:pt x="1490509" y="180778"/>
                  </a:lnTo>
                  <a:close/>
                  <a:moveTo>
                    <a:pt x="1790831" y="97376"/>
                  </a:moveTo>
                  <a:lnTo>
                    <a:pt x="1806369" y="129145"/>
                  </a:lnTo>
                  <a:lnTo>
                    <a:pt x="1758747" y="158319"/>
                  </a:lnTo>
                  <a:lnTo>
                    <a:pt x="1731540" y="128908"/>
                  </a:lnTo>
                  <a:close/>
                  <a:moveTo>
                    <a:pt x="1823536" y="79539"/>
                  </a:moveTo>
                  <a:lnTo>
                    <a:pt x="1851956" y="103453"/>
                  </a:lnTo>
                  <a:lnTo>
                    <a:pt x="1819505" y="116900"/>
                  </a:lnTo>
                  <a:lnTo>
                    <a:pt x="1805357" y="81785"/>
                  </a:lnTo>
                  <a:close/>
                  <a:moveTo>
                    <a:pt x="1780209" y="59639"/>
                  </a:moveTo>
                  <a:lnTo>
                    <a:pt x="1792938" y="66229"/>
                  </a:lnTo>
                  <a:lnTo>
                    <a:pt x="1738007" y="113484"/>
                  </a:lnTo>
                  <a:lnTo>
                    <a:pt x="1680632" y="120941"/>
                  </a:lnTo>
                  <a:lnTo>
                    <a:pt x="1681664" y="94466"/>
                  </a:lnTo>
                  <a:lnTo>
                    <a:pt x="1721338" y="71956"/>
                  </a:lnTo>
                  <a:lnTo>
                    <a:pt x="1748461" y="83240"/>
                  </a:lnTo>
                  <a:close/>
                  <a:moveTo>
                    <a:pt x="2180240" y="15353"/>
                  </a:moveTo>
                  <a:lnTo>
                    <a:pt x="2281486" y="36510"/>
                  </a:lnTo>
                  <a:lnTo>
                    <a:pt x="2242255" y="77362"/>
                  </a:lnTo>
                  <a:lnTo>
                    <a:pt x="2278355" y="78790"/>
                  </a:lnTo>
                  <a:lnTo>
                    <a:pt x="2301394" y="56239"/>
                  </a:lnTo>
                  <a:lnTo>
                    <a:pt x="2345779" y="56207"/>
                  </a:lnTo>
                  <a:lnTo>
                    <a:pt x="2368874" y="83132"/>
                  </a:lnTo>
                  <a:lnTo>
                    <a:pt x="2401243" y="77963"/>
                  </a:lnTo>
                  <a:lnTo>
                    <a:pt x="2441516" y="87882"/>
                  </a:lnTo>
                  <a:lnTo>
                    <a:pt x="2442114" y="109273"/>
                  </a:lnTo>
                  <a:lnTo>
                    <a:pt x="2515198" y="129008"/>
                  </a:lnTo>
                  <a:lnTo>
                    <a:pt x="2522468" y="152621"/>
                  </a:lnTo>
                  <a:lnTo>
                    <a:pt x="2471713" y="164052"/>
                  </a:lnTo>
                  <a:lnTo>
                    <a:pt x="2457032" y="181359"/>
                  </a:lnTo>
                  <a:lnTo>
                    <a:pt x="2404715" y="194842"/>
                  </a:lnTo>
                  <a:lnTo>
                    <a:pt x="2299973" y="177000"/>
                  </a:lnTo>
                  <a:lnTo>
                    <a:pt x="2308341" y="190462"/>
                  </a:lnTo>
                  <a:lnTo>
                    <a:pt x="2373441" y="205463"/>
                  </a:lnTo>
                  <a:lnTo>
                    <a:pt x="2409893" y="250844"/>
                  </a:lnTo>
                  <a:lnTo>
                    <a:pt x="2462345" y="238613"/>
                  </a:lnTo>
                  <a:lnTo>
                    <a:pt x="2498801" y="241584"/>
                  </a:lnTo>
                  <a:lnTo>
                    <a:pt x="2512789" y="281247"/>
                  </a:lnTo>
                  <a:lnTo>
                    <a:pt x="2471869" y="284731"/>
                  </a:lnTo>
                  <a:lnTo>
                    <a:pt x="2443620" y="265390"/>
                  </a:lnTo>
                  <a:lnTo>
                    <a:pt x="2433289" y="296810"/>
                  </a:lnTo>
                  <a:lnTo>
                    <a:pt x="2380279" y="322844"/>
                  </a:lnTo>
                  <a:lnTo>
                    <a:pt x="2353096" y="326491"/>
                  </a:lnTo>
                  <a:lnTo>
                    <a:pt x="2348624" y="357667"/>
                  </a:lnTo>
                  <a:lnTo>
                    <a:pt x="2318378" y="368053"/>
                  </a:lnTo>
                  <a:lnTo>
                    <a:pt x="2308918" y="338734"/>
                  </a:lnTo>
                  <a:lnTo>
                    <a:pt x="2357789" y="295370"/>
                  </a:lnTo>
                  <a:lnTo>
                    <a:pt x="2338181" y="258135"/>
                  </a:lnTo>
                  <a:lnTo>
                    <a:pt x="2267564" y="236942"/>
                  </a:lnTo>
                  <a:lnTo>
                    <a:pt x="2226924" y="203166"/>
                  </a:lnTo>
                  <a:lnTo>
                    <a:pt x="2190942" y="192671"/>
                  </a:lnTo>
                  <a:lnTo>
                    <a:pt x="2160769" y="213412"/>
                  </a:lnTo>
                  <a:lnTo>
                    <a:pt x="2082370" y="215089"/>
                  </a:lnTo>
                  <a:lnTo>
                    <a:pt x="2048030" y="250690"/>
                  </a:lnTo>
                  <a:lnTo>
                    <a:pt x="2014881" y="305191"/>
                  </a:lnTo>
                  <a:lnTo>
                    <a:pt x="2005347" y="342109"/>
                  </a:lnTo>
                  <a:lnTo>
                    <a:pt x="2010258" y="370110"/>
                  </a:lnTo>
                  <a:lnTo>
                    <a:pt x="1951903" y="412853"/>
                  </a:lnTo>
                  <a:lnTo>
                    <a:pt x="1934441" y="441437"/>
                  </a:lnTo>
                  <a:lnTo>
                    <a:pt x="1865664" y="422993"/>
                  </a:lnTo>
                  <a:lnTo>
                    <a:pt x="1839768" y="406114"/>
                  </a:lnTo>
                  <a:lnTo>
                    <a:pt x="1809790" y="426637"/>
                  </a:lnTo>
                  <a:lnTo>
                    <a:pt x="1760834" y="439606"/>
                  </a:lnTo>
                  <a:lnTo>
                    <a:pt x="1725346" y="429666"/>
                  </a:lnTo>
                  <a:lnTo>
                    <a:pt x="1680832" y="406099"/>
                  </a:lnTo>
                  <a:lnTo>
                    <a:pt x="1611774" y="329832"/>
                  </a:lnTo>
                  <a:lnTo>
                    <a:pt x="1578076" y="323813"/>
                  </a:lnTo>
                  <a:lnTo>
                    <a:pt x="1507422" y="366684"/>
                  </a:lnTo>
                  <a:lnTo>
                    <a:pt x="1460146" y="369095"/>
                  </a:lnTo>
                  <a:lnTo>
                    <a:pt x="1484002" y="389363"/>
                  </a:lnTo>
                  <a:lnTo>
                    <a:pt x="1473962" y="433308"/>
                  </a:lnTo>
                  <a:lnTo>
                    <a:pt x="1448288" y="451475"/>
                  </a:lnTo>
                  <a:lnTo>
                    <a:pt x="1476256" y="462748"/>
                  </a:lnTo>
                  <a:lnTo>
                    <a:pt x="1446730" y="485342"/>
                  </a:lnTo>
                  <a:lnTo>
                    <a:pt x="1356008" y="458359"/>
                  </a:lnTo>
                  <a:lnTo>
                    <a:pt x="1320924" y="460039"/>
                  </a:lnTo>
                  <a:lnTo>
                    <a:pt x="1300069" y="447451"/>
                  </a:lnTo>
                  <a:lnTo>
                    <a:pt x="1272999" y="455075"/>
                  </a:lnTo>
                  <a:lnTo>
                    <a:pt x="1275459" y="511618"/>
                  </a:lnTo>
                  <a:lnTo>
                    <a:pt x="1251115" y="549814"/>
                  </a:lnTo>
                  <a:lnTo>
                    <a:pt x="1191294" y="524953"/>
                  </a:lnTo>
                  <a:lnTo>
                    <a:pt x="1138714" y="558974"/>
                  </a:lnTo>
                  <a:lnTo>
                    <a:pt x="1121119" y="603168"/>
                  </a:lnTo>
                  <a:lnTo>
                    <a:pt x="1106739" y="621818"/>
                  </a:lnTo>
                  <a:lnTo>
                    <a:pt x="1075985" y="638081"/>
                  </a:lnTo>
                  <a:lnTo>
                    <a:pt x="1106394" y="675864"/>
                  </a:lnTo>
                  <a:lnTo>
                    <a:pt x="1104812" y="701935"/>
                  </a:lnTo>
                  <a:lnTo>
                    <a:pt x="1071044" y="723615"/>
                  </a:lnTo>
                  <a:lnTo>
                    <a:pt x="1030656" y="775244"/>
                  </a:lnTo>
                  <a:lnTo>
                    <a:pt x="1007033" y="793031"/>
                  </a:lnTo>
                  <a:lnTo>
                    <a:pt x="1017435" y="825565"/>
                  </a:lnTo>
                  <a:lnTo>
                    <a:pt x="973985" y="846278"/>
                  </a:lnTo>
                  <a:lnTo>
                    <a:pt x="923728" y="849644"/>
                  </a:lnTo>
                  <a:lnTo>
                    <a:pt x="934293" y="900954"/>
                  </a:lnTo>
                  <a:lnTo>
                    <a:pt x="922033" y="947165"/>
                  </a:lnTo>
                  <a:lnTo>
                    <a:pt x="922813" y="980665"/>
                  </a:lnTo>
                  <a:lnTo>
                    <a:pt x="905314" y="1010770"/>
                  </a:lnTo>
                  <a:lnTo>
                    <a:pt x="840317" y="1095190"/>
                  </a:lnTo>
                  <a:lnTo>
                    <a:pt x="884789" y="1113556"/>
                  </a:lnTo>
                  <a:lnTo>
                    <a:pt x="888973" y="1155091"/>
                  </a:lnTo>
                  <a:lnTo>
                    <a:pt x="870629" y="1184031"/>
                  </a:lnTo>
                  <a:lnTo>
                    <a:pt x="797437" y="1170524"/>
                  </a:lnTo>
                  <a:lnTo>
                    <a:pt x="746392" y="1189242"/>
                  </a:lnTo>
                  <a:lnTo>
                    <a:pt x="694741" y="1247745"/>
                  </a:lnTo>
                  <a:lnTo>
                    <a:pt x="700848" y="1265417"/>
                  </a:lnTo>
                  <a:lnTo>
                    <a:pt x="677790" y="1297400"/>
                  </a:lnTo>
                  <a:lnTo>
                    <a:pt x="701366" y="1338312"/>
                  </a:lnTo>
                  <a:lnTo>
                    <a:pt x="687477" y="1353144"/>
                  </a:lnTo>
                  <a:lnTo>
                    <a:pt x="693446" y="1376548"/>
                  </a:lnTo>
                  <a:lnTo>
                    <a:pt x="685682" y="1397082"/>
                  </a:lnTo>
                  <a:lnTo>
                    <a:pt x="709217" y="1448877"/>
                  </a:lnTo>
                  <a:lnTo>
                    <a:pt x="693570" y="1530040"/>
                  </a:lnTo>
                  <a:lnTo>
                    <a:pt x="720851" y="1553913"/>
                  </a:lnTo>
                  <a:lnTo>
                    <a:pt x="735337" y="1553058"/>
                  </a:lnTo>
                  <a:lnTo>
                    <a:pt x="764513" y="1584470"/>
                  </a:lnTo>
                  <a:lnTo>
                    <a:pt x="746297" y="1627991"/>
                  </a:lnTo>
                  <a:lnTo>
                    <a:pt x="701923" y="1635067"/>
                  </a:lnTo>
                  <a:lnTo>
                    <a:pt x="718506" y="1675998"/>
                  </a:lnTo>
                  <a:lnTo>
                    <a:pt x="738972" y="1708290"/>
                  </a:lnTo>
                  <a:lnTo>
                    <a:pt x="728514" y="1735813"/>
                  </a:lnTo>
                  <a:lnTo>
                    <a:pt x="732685" y="1754727"/>
                  </a:lnTo>
                  <a:lnTo>
                    <a:pt x="723755" y="1776903"/>
                  </a:lnTo>
                  <a:lnTo>
                    <a:pt x="697114" y="1798654"/>
                  </a:lnTo>
                  <a:lnTo>
                    <a:pt x="664742" y="1805731"/>
                  </a:lnTo>
                  <a:lnTo>
                    <a:pt x="674432" y="1826795"/>
                  </a:lnTo>
                  <a:lnTo>
                    <a:pt x="650363" y="1841899"/>
                  </a:lnTo>
                  <a:lnTo>
                    <a:pt x="662469" y="1877011"/>
                  </a:lnTo>
                  <a:lnTo>
                    <a:pt x="658549" y="1913844"/>
                  </a:lnTo>
                  <a:lnTo>
                    <a:pt x="650165" y="1932378"/>
                  </a:lnTo>
                  <a:lnTo>
                    <a:pt x="628079" y="1927849"/>
                  </a:lnTo>
                  <a:lnTo>
                    <a:pt x="619765" y="1912042"/>
                  </a:lnTo>
                  <a:lnTo>
                    <a:pt x="599654" y="1903161"/>
                  </a:lnTo>
                  <a:lnTo>
                    <a:pt x="566561" y="1904376"/>
                  </a:lnTo>
                  <a:lnTo>
                    <a:pt x="550600" y="1878311"/>
                  </a:lnTo>
                  <a:lnTo>
                    <a:pt x="524132" y="1886987"/>
                  </a:lnTo>
                  <a:lnTo>
                    <a:pt x="517180" y="1916108"/>
                  </a:lnTo>
                  <a:lnTo>
                    <a:pt x="473015" y="1932173"/>
                  </a:lnTo>
                  <a:lnTo>
                    <a:pt x="435671" y="1938332"/>
                  </a:lnTo>
                  <a:lnTo>
                    <a:pt x="423780" y="1961102"/>
                  </a:lnTo>
                  <a:lnTo>
                    <a:pt x="391224" y="1983514"/>
                  </a:lnTo>
                  <a:lnTo>
                    <a:pt x="344659" y="2029484"/>
                  </a:lnTo>
                  <a:lnTo>
                    <a:pt x="317985" y="2048686"/>
                  </a:lnTo>
                  <a:lnTo>
                    <a:pt x="297893" y="2046587"/>
                  </a:lnTo>
                  <a:lnTo>
                    <a:pt x="284573" y="2057753"/>
                  </a:lnTo>
                  <a:lnTo>
                    <a:pt x="257288" y="2065605"/>
                  </a:lnTo>
                  <a:lnTo>
                    <a:pt x="216734" y="2063272"/>
                  </a:lnTo>
                  <a:lnTo>
                    <a:pt x="201771" y="2070429"/>
                  </a:lnTo>
                  <a:lnTo>
                    <a:pt x="188461" y="2055591"/>
                  </a:lnTo>
                  <a:lnTo>
                    <a:pt x="161439" y="2058211"/>
                  </a:lnTo>
                  <a:lnTo>
                    <a:pt x="168494" y="2036288"/>
                  </a:lnTo>
                  <a:lnTo>
                    <a:pt x="139484" y="2029941"/>
                  </a:lnTo>
                  <a:lnTo>
                    <a:pt x="104698" y="2014704"/>
                  </a:lnTo>
                  <a:lnTo>
                    <a:pt x="70170" y="1991950"/>
                  </a:lnTo>
                  <a:lnTo>
                    <a:pt x="50507" y="1961092"/>
                  </a:lnTo>
                  <a:lnTo>
                    <a:pt x="59466" y="1921044"/>
                  </a:lnTo>
                  <a:lnTo>
                    <a:pt x="95190" y="1933363"/>
                  </a:lnTo>
                  <a:lnTo>
                    <a:pt x="88991" y="1914390"/>
                  </a:lnTo>
                  <a:lnTo>
                    <a:pt x="109524" y="1894882"/>
                  </a:lnTo>
                  <a:lnTo>
                    <a:pt x="97091" y="1874900"/>
                  </a:lnTo>
                  <a:lnTo>
                    <a:pt x="50280" y="1887481"/>
                  </a:lnTo>
                  <a:lnTo>
                    <a:pt x="34275" y="1877906"/>
                  </a:lnTo>
                  <a:lnTo>
                    <a:pt x="24408" y="1854963"/>
                  </a:lnTo>
                  <a:lnTo>
                    <a:pt x="33733" y="1837494"/>
                  </a:lnTo>
                  <a:lnTo>
                    <a:pt x="78660" y="1828408"/>
                  </a:lnTo>
                  <a:lnTo>
                    <a:pt x="81337" y="1792320"/>
                  </a:lnTo>
                  <a:lnTo>
                    <a:pt x="99138" y="1789301"/>
                  </a:lnTo>
                  <a:lnTo>
                    <a:pt x="119219" y="1766131"/>
                  </a:lnTo>
                  <a:lnTo>
                    <a:pt x="101149" y="1743728"/>
                  </a:lnTo>
                  <a:lnTo>
                    <a:pt x="92172" y="1774450"/>
                  </a:lnTo>
                  <a:lnTo>
                    <a:pt x="60972" y="1753414"/>
                  </a:lnTo>
                  <a:lnTo>
                    <a:pt x="35437" y="1755460"/>
                  </a:lnTo>
                  <a:lnTo>
                    <a:pt x="19422" y="1728685"/>
                  </a:lnTo>
                  <a:lnTo>
                    <a:pt x="74378" y="1716090"/>
                  </a:lnTo>
                  <a:lnTo>
                    <a:pt x="73961" y="1682587"/>
                  </a:lnTo>
                  <a:lnTo>
                    <a:pt x="68356" y="1685406"/>
                  </a:lnTo>
                  <a:lnTo>
                    <a:pt x="67939" y="1682133"/>
                  </a:lnTo>
                  <a:lnTo>
                    <a:pt x="48615" y="1695334"/>
                  </a:lnTo>
                  <a:lnTo>
                    <a:pt x="31709" y="1703836"/>
                  </a:lnTo>
                  <a:lnTo>
                    <a:pt x="15117" y="1688241"/>
                  </a:lnTo>
                  <a:lnTo>
                    <a:pt x="32971" y="1664228"/>
                  </a:lnTo>
                  <a:lnTo>
                    <a:pt x="9288" y="1659876"/>
                  </a:lnTo>
                  <a:lnTo>
                    <a:pt x="3194" y="1643774"/>
                  </a:lnTo>
                  <a:lnTo>
                    <a:pt x="11737" y="1626444"/>
                  </a:lnTo>
                  <a:lnTo>
                    <a:pt x="3113" y="1573548"/>
                  </a:lnTo>
                  <a:lnTo>
                    <a:pt x="25786" y="1569834"/>
                  </a:lnTo>
                  <a:lnTo>
                    <a:pt x="25435" y="1546789"/>
                  </a:lnTo>
                  <a:lnTo>
                    <a:pt x="0" y="1530440"/>
                  </a:lnTo>
                  <a:lnTo>
                    <a:pt x="39595" y="1503028"/>
                  </a:lnTo>
                  <a:lnTo>
                    <a:pt x="29517" y="1492099"/>
                  </a:lnTo>
                  <a:lnTo>
                    <a:pt x="45589" y="1462200"/>
                  </a:lnTo>
                  <a:lnTo>
                    <a:pt x="73490" y="1463313"/>
                  </a:lnTo>
                  <a:lnTo>
                    <a:pt x="143330" y="1428862"/>
                  </a:lnTo>
                  <a:lnTo>
                    <a:pt x="124496" y="1401738"/>
                  </a:lnTo>
                  <a:lnTo>
                    <a:pt x="172840" y="1390768"/>
                  </a:lnTo>
                  <a:lnTo>
                    <a:pt x="234771" y="1394545"/>
                  </a:lnTo>
                  <a:lnTo>
                    <a:pt x="221840" y="1377203"/>
                  </a:lnTo>
                  <a:lnTo>
                    <a:pt x="197886" y="1380088"/>
                  </a:lnTo>
                  <a:lnTo>
                    <a:pt x="194954" y="1348300"/>
                  </a:lnTo>
                  <a:lnTo>
                    <a:pt x="211577" y="1338921"/>
                  </a:lnTo>
                  <a:lnTo>
                    <a:pt x="248515" y="1351786"/>
                  </a:lnTo>
                  <a:lnTo>
                    <a:pt x="290784" y="1342456"/>
                  </a:lnTo>
                  <a:lnTo>
                    <a:pt x="291202" y="1324857"/>
                  </a:lnTo>
                  <a:lnTo>
                    <a:pt x="317843" y="1315907"/>
                  </a:lnTo>
                  <a:lnTo>
                    <a:pt x="347642" y="1317942"/>
                  </a:lnTo>
                  <a:lnTo>
                    <a:pt x="341583" y="1294066"/>
                  </a:lnTo>
                  <a:lnTo>
                    <a:pt x="356611" y="1276185"/>
                  </a:lnTo>
                  <a:lnTo>
                    <a:pt x="399245" y="1270997"/>
                  </a:lnTo>
                  <a:lnTo>
                    <a:pt x="440525" y="1247464"/>
                  </a:lnTo>
                  <a:lnTo>
                    <a:pt x="461726" y="1244407"/>
                  </a:lnTo>
                  <a:lnTo>
                    <a:pt x="471987" y="1264515"/>
                  </a:lnTo>
                  <a:lnTo>
                    <a:pt x="493366" y="1276808"/>
                  </a:lnTo>
                  <a:lnTo>
                    <a:pt x="559950" y="1261867"/>
                  </a:lnTo>
                  <a:lnTo>
                    <a:pt x="555660" y="1244449"/>
                  </a:lnTo>
                  <a:lnTo>
                    <a:pt x="578953" y="1231349"/>
                  </a:lnTo>
                  <a:lnTo>
                    <a:pt x="625882" y="1219291"/>
                  </a:lnTo>
                  <a:lnTo>
                    <a:pt x="615528" y="1201390"/>
                  </a:lnTo>
                  <a:lnTo>
                    <a:pt x="588208" y="1203732"/>
                  </a:lnTo>
                  <a:lnTo>
                    <a:pt x="579136" y="1224459"/>
                  </a:lnTo>
                  <a:lnTo>
                    <a:pt x="546889" y="1235919"/>
                  </a:lnTo>
                  <a:lnTo>
                    <a:pt x="527350" y="1251319"/>
                  </a:lnTo>
                  <a:lnTo>
                    <a:pt x="481753" y="1262757"/>
                  </a:lnTo>
                  <a:lnTo>
                    <a:pt x="444070" y="1220832"/>
                  </a:lnTo>
                  <a:lnTo>
                    <a:pt x="489396" y="1194797"/>
                  </a:lnTo>
                  <a:lnTo>
                    <a:pt x="486977" y="1182483"/>
                  </a:lnTo>
                  <a:lnTo>
                    <a:pt x="507261" y="1153347"/>
                  </a:lnTo>
                  <a:lnTo>
                    <a:pt x="531327" y="1136136"/>
                  </a:lnTo>
                  <a:lnTo>
                    <a:pt x="537999" y="1117057"/>
                  </a:lnTo>
                  <a:lnTo>
                    <a:pt x="581052" y="1101673"/>
                  </a:lnTo>
                  <a:lnTo>
                    <a:pt x="617619" y="1120409"/>
                  </a:lnTo>
                  <a:lnTo>
                    <a:pt x="633345" y="1097278"/>
                  </a:lnTo>
                  <a:lnTo>
                    <a:pt x="622869" y="1076206"/>
                  </a:lnTo>
                  <a:lnTo>
                    <a:pt x="639020" y="1048116"/>
                  </a:lnTo>
                  <a:lnTo>
                    <a:pt x="691431" y="1010034"/>
                  </a:lnTo>
                  <a:lnTo>
                    <a:pt x="688930" y="991269"/>
                  </a:lnTo>
                  <a:lnTo>
                    <a:pt x="705976" y="938183"/>
                  </a:lnTo>
                  <a:lnTo>
                    <a:pt x="736180" y="908296"/>
                  </a:lnTo>
                  <a:lnTo>
                    <a:pt x="744857" y="883388"/>
                  </a:lnTo>
                  <a:lnTo>
                    <a:pt x="767221" y="873348"/>
                  </a:lnTo>
                  <a:lnTo>
                    <a:pt x="760575" y="850314"/>
                  </a:lnTo>
                  <a:lnTo>
                    <a:pt x="800364" y="840714"/>
                  </a:lnTo>
                  <a:lnTo>
                    <a:pt x="807856" y="830757"/>
                  </a:lnTo>
                  <a:lnTo>
                    <a:pt x="792464" y="805502"/>
                  </a:lnTo>
                  <a:lnTo>
                    <a:pt x="805018" y="752495"/>
                  </a:lnTo>
                  <a:lnTo>
                    <a:pt x="825442" y="741123"/>
                  </a:lnTo>
                  <a:lnTo>
                    <a:pt x="826828" y="716556"/>
                  </a:lnTo>
                  <a:lnTo>
                    <a:pt x="894747" y="710575"/>
                  </a:lnTo>
                  <a:lnTo>
                    <a:pt x="906917" y="680845"/>
                  </a:lnTo>
                  <a:lnTo>
                    <a:pt x="930420" y="664122"/>
                  </a:lnTo>
                  <a:lnTo>
                    <a:pt x="936801" y="631222"/>
                  </a:lnTo>
                  <a:lnTo>
                    <a:pt x="961136" y="616181"/>
                  </a:lnTo>
                  <a:lnTo>
                    <a:pt x="948423" y="573047"/>
                  </a:lnTo>
                  <a:lnTo>
                    <a:pt x="994541" y="562666"/>
                  </a:lnTo>
                  <a:lnTo>
                    <a:pt x="1061341" y="539743"/>
                  </a:lnTo>
                  <a:lnTo>
                    <a:pt x="997948" y="534004"/>
                  </a:lnTo>
                  <a:lnTo>
                    <a:pt x="1009913" y="521043"/>
                  </a:lnTo>
                  <a:lnTo>
                    <a:pt x="1104926" y="539957"/>
                  </a:lnTo>
                  <a:lnTo>
                    <a:pt x="1096068" y="481766"/>
                  </a:lnTo>
                  <a:lnTo>
                    <a:pt x="1141092" y="474586"/>
                  </a:lnTo>
                  <a:lnTo>
                    <a:pt x="1159801" y="485110"/>
                  </a:lnTo>
                  <a:lnTo>
                    <a:pt x="1201324" y="474370"/>
                  </a:lnTo>
                  <a:lnTo>
                    <a:pt x="1158081" y="458702"/>
                  </a:lnTo>
                  <a:lnTo>
                    <a:pt x="1115857" y="470073"/>
                  </a:lnTo>
                  <a:lnTo>
                    <a:pt x="1126726" y="437165"/>
                  </a:lnTo>
                  <a:lnTo>
                    <a:pt x="1194478" y="420091"/>
                  </a:lnTo>
                  <a:lnTo>
                    <a:pt x="1209594" y="384884"/>
                  </a:lnTo>
                  <a:lnTo>
                    <a:pt x="1232796" y="356627"/>
                  </a:lnTo>
                  <a:lnTo>
                    <a:pt x="1259628" y="350965"/>
                  </a:lnTo>
                  <a:lnTo>
                    <a:pt x="1259779" y="324486"/>
                  </a:lnTo>
                  <a:lnTo>
                    <a:pt x="1303997" y="289804"/>
                  </a:lnTo>
                  <a:lnTo>
                    <a:pt x="1352224" y="281578"/>
                  </a:lnTo>
                  <a:lnTo>
                    <a:pt x="1367125" y="251437"/>
                  </a:lnTo>
                  <a:lnTo>
                    <a:pt x="1423776" y="237305"/>
                  </a:lnTo>
                  <a:lnTo>
                    <a:pt x="1439813" y="245163"/>
                  </a:lnTo>
                  <a:lnTo>
                    <a:pt x="1481925" y="209539"/>
                  </a:lnTo>
                  <a:lnTo>
                    <a:pt x="1506608" y="245980"/>
                  </a:lnTo>
                  <a:lnTo>
                    <a:pt x="1543835" y="239961"/>
                  </a:lnTo>
                  <a:lnTo>
                    <a:pt x="1593302" y="203150"/>
                  </a:lnTo>
                  <a:lnTo>
                    <a:pt x="1575752" y="175328"/>
                  </a:lnTo>
                  <a:lnTo>
                    <a:pt x="1598554" y="151506"/>
                  </a:lnTo>
                  <a:lnTo>
                    <a:pt x="1642910" y="148444"/>
                  </a:lnTo>
                  <a:lnTo>
                    <a:pt x="1740695" y="171391"/>
                  </a:lnTo>
                  <a:lnTo>
                    <a:pt x="1742270" y="197909"/>
                  </a:lnTo>
                  <a:lnTo>
                    <a:pt x="1778043" y="188467"/>
                  </a:lnTo>
                  <a:lnTo>
                    <a:pt x="1762000" y="168079"/>
                  </a:lnTo>
                  <a:lnTo>
                    <a:pt x="1822305" y="122230"/>
                  </a:lnTo>
                  <a:lnTo>
                    <a:pt x="1864220" y="101133"/>
                  </a:lnTo>
                  <a:lnTo>
                    <a:pt x="1866154" y="70829"/>
                  </a:lnTo>
                  <a:lnTo>
                    <a:pt x="1893233" y="36466"/>
                  </a:lnTo>
                  <a:lnTo>
                    <a:pt x="1934468" y="36986"/>
                  </a:lnTo>
                  <a:lnTo>
                    <a:pt x="1971100" y="60711"/>
                  </a:lnTo>
                  <a:lnTo>
                    <a:pt x="1991108" y="45873"/>
                  </a:lnTo>
                  <a:lnTo>
                    <a:pt x="2023923" y="55946"/>
                  </a:lnTo>
                  <a:lnTo>
                    <a:pt x="1960790" y="107068"/>
                  </a:lnTo>
                  <a:lnTo>
                    <a:pt x="1955019" y="154519"/>
                  </a:lnTo>
                  <a:lnTo>
                    <a:pt x="1928334" y="179135"/>
                  </a:lnTo>
                  <a:lnTo>
                    <a:pt x="1959571" y="190047"/>
                  </a:lnTo>
                  <a:lnTo>
                    <a:pt x="2003323" y="119447"/>
                  </a:lnTo>
                  <a:lnTo>
                    <a:pt x="2033108" y="99833"/>
                  </a:lnTo>
                  <a:lnTo>
                    <a:pt x="2039680" y="79120"/>
                  </a:lnTo>
                  <a:lnTo>
                    <a:pt x="2087247" y="40372"/>
                  </a:lnTo>
                  <a:lnTo>
                    <a:pt x="2104892" y="42053"/>
                  </a:lnTo>
                  <a:lnTo>
                    <a:pt x="2084058" y="132085"/>
                  </a:lnTo>
                  <a:lnTo>
                    <a:pt x="2138862" y="98571"/>
                  </a:lnTo>
                  <a:lnTo>
                    <a:pt x="2165726" y="49012"/>
                  </a:lnTo>
                  <a:lnTo>
                    <a:pt x="2145749" y="33827"/>
                  </a:lnTo>
                  <a:close/>
                  <a:moveTo>
                    <a:pt x="2003354" y="0"/>
                  </a:moveTo>
                  <a:lnTo>
                    <a:pt x="2033377" y="5728"/>
                  </a:lnTo>
                  <a:lnTo>
                    <a:pt x="2035058" y="28750"/>
                  </a:lnTo>
                  <a:lnTo>
                    <a:pt x="1992125" y="42729"/>
                  </a:lnTo>
                  <a:lnTo>
                    <a:pt x="1961581" y="21761"/>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0" name="ee4p_23_1_43215"/>
            <p:cNvSpPr>
              <a:spLocks noChangeAspect="1"/>
            </p:cNvSpPr>
            <p:nvPr>
              <p:custDataLst>
                <p:tags r:id="rId16"/>
              </p:custDataLst>
            </p:nvPr>
          </p:nvSpPr>
          <p:spPr bwMode="gray">
            <a:xfrm>
              <a:off x="2026681" y="5430451"/>
              <a:ext cx="320394" cy="582267"/>
            </a:xfrm>
            <a:custGeom>
              <a:avLst/>
              <a:gdLst/>
              <a:ahLst/>
              <a:cxnLst/>
              <a:rect l="0" t="0" r="0" b="0"/>
              <a:pathLst>
                <a:path w="320394" h="582267">
                  <a:moveTo>
                    <a:pt x="203064" y="558549"/>
                  </a:moveTo>
                  <a:lnTo>
                    <a:pt x="192914" y="559401"/>
                  </a:lnTo>
                  <a:lnTo>
                    <a:pt x="156554" y="582266"/>
                  </a:lnTo>
                  <a:lnTo>
                    <a:pt x="127572" y="567969"/>
                  </a:lnTo>
                  <a:lnTo>
                    <a:pt x="117362" y="569867"/>
                  </a:lnTo>
                  <a:lnTo>
                    <a:pt x="85904" y="564334"/>
                  </a:lnTo>
                  <a:lnTo>
                    <a:pt x="50572" y="571737"/>
                  </a:lnTo>
                  <a:lnTo>
                    <a:pt x="67812" y="528636"/>
                  </a:lnTo>
                  <a:lnTo>
                    <a:pt x="69135" y="498352"/>
                  </a:lnTo>
                  <a:lnTo>
                    <a:pt x="65306" y="460756"/>
                  </a:lnTo>
                  <a:lnTo>
                    <a:pt x="70120" y="441455"/>
                  </a:lnTo>
                  <a:lnTo>
                    <a:pt x="67684" y="422267"/>
                  </a:lnTo>
                  <a:lnTo>
                    <a:pt x="72872" y="404348"/>
                  </a:lnTo>
                  <a:lnTo>
                    <a:pt x="42220" y="417423"/>
                  </a:lnTo>
                  <a:lnTo>
                    <a:pt x="26868" y="419792"/>
                  </a:lnTo>
                  <a:lnTo>
                    <a:pt x="35042" y="392095"/>
                  </a:lnTo>
                  <a:lnTo>
                    <a:pt x="55003" y="379642"/>
                  </a:lnTo>
                  <a:lnTo>
                    <a:pt x="45054" y="369357"/>
                  </a:lnTo>
                  <a:lnTo>
                    <a:pt x="35652" y="386770"/>
                  </a:lnTo>
                  <a:lnTo>
                    <a:pt x="15114" y="389674"/>
                  </a:lnTo>
                  <a:lnTo>
                    <a:pt x="0" y="378421"/>
                  </a:lnTo>
                  <a:lnTo>
                    <a:pt x="8230" y="359851"/>
                  </a:lnTo>
                  <a:lnTo>
                    <a:pt x="7600" y="345191"/>
                  </a:lnTo>
                  <a:lnTo>
                    <a:pt x="15955" y="322435"/>
                  </a:lnTo>
                  <a:lnTo>
                    <a:pt x="13022" y="314169"/>
                  </a:lnTo>
                  <a:lnTo>
                    <a:pt x="40886" y="286745"/>
                  </a:lnTo>
                  <a:lnTo>
                    <a:pt x="45568" y="266338"/>
                  </a:lnTo>
                  <a:lnTo>
                    <a:pt x="61684" y="224038"/>
                  </a:lnTo>
                  <a:lnTo>
                    <a:pt x="63301" y="202680"/>
                  </a:lnTo>
                  <a:lnTo>
                    <a:pt x="82785" y="123588"/>
                  </a:lnTo>
                  <a:lnTo>
                    <a:pt x="65200" y="47785"/>
                  </a:lnTo>
                  <a:lnTo>
                    <a:pt x="61671" y="24642"/>
                  </a:lnTo>
                  <a:lnTo>
                    <a:pt x="94154" y="766"/>
                  </a:lnTo>
                  <a:lnTo>
                    <a:pt x="113082" y="0"/>
                  </a:lnTo>
                  <a:lnTo>
                    <a:pt x="129379" y="11795"/>
                  </a:lnTo>
                  <a:lnTo>
                    <a:pt x="132622" y="31962"/>
                  </a:lnTo>
                  <a:lnTo>
                    <a:pt x="146283" y="25152"/>
                  </a:lnTo>
                  <a:lnTo>
                    <a:pt x="173827" y="20489"/>
                  </a:lnTo>
                  <a:lnTo>
                    <a:pt x="186399" y="29534"/>
                  </a:lnTo>
                  <a:lnTo>
                    <a:pt x="211398" y="28031"/>
                  </a:lnTo>
                  <a:lnTo>
                    <a:pt x="234667" y="15440"/>
                  </a:lnTo>
                  <a:lnTo>
                    <a:pt x="280721" y="15803"/>
                  </a:lnTo>
                  <a:lnTo>
                    <a:pt x="288599" y="24257"/>
                  </a:lnTo>
                  <a:lnTo>
                    <a:pt x="285666" y="46255"/>
                  </a:lnTo>
                  <a:lnTo>
                    <a:pt x="304193" y="47251"/>
                  </a:lnTo>
                  <a:lnTo>
                    <a:pt x="320393" y="59059"/>
                  </a:lnTo>
                  <a:lnTo>
                    <a:pt x="304588" y="81810"/>
                  </a:lnTo>
                  <a:lnTo>
                    <a:pt x="264175" y="111070"/>
                  </a:lnTo>
                  <a:lnTo>
                    <a:pt x="254620" y="130235"/>
                  </a:lnTo>
                  <a:lnTo>
                    <a:pt x="261893" y="164306"/>
                  </a:lnTo>
                  <a:lnTo>
                    <a:pt x="256651" y="187961"/>
                  </a:lnTo>
                  <a:lnTo>
                    <a:pt x="263140" y="198348"/>
                  </a:lnTo>
                  <a:lnTo>
                    <a:pt x="254363" y="210076"/>
                  </a:lnTo>
                  <a:lnTo>
                    <a:pt x="240771" y="214156"/>
                  </a:lnTo>
                  <a:lnTo>
                    <a:pt x="240797" y="225539"/>
                  </a:lnTo>
                  <a:lnTo>
                    <a:pt x="253469" y="235323"/>
                  </a:lnTo>
                  <a:lnTo>
                    <a:pt x="251324" y="254548"/>
                  </a:lnTo>
                  <a:lnTo>
                    <a:pt x="240463" y="277530"/>
                  </a:lnTo>
                  <a:lnTo>
                    <a:pt x="209658" y="280900"/>
                  </a:lnTo>
                  <a:lnTo>
                    <a:pt x="193629" y="286730"/>
                  </a:lnTo>
                  <a:lnTo>
                    <a:pt x="213441" y="301954"/>
                  </a:lnTo>
                  <a:lnTo>
                    <a:pt x="211899" y="315004"/>
                  </a:lnTo>
                  <a:lnTo>
                    <a:pt x="218609" y="330026"/>
                  </a:lnTo>
                  <a:lnTo>
                    <a:pt x="239056" y="340448"/>
                  </a:lnTo>
                  <a:lnTo>
                    <a:pt x="246657" y="350913"/>
                  </a:lnTo>
                  <a:lnTo>
                    <a:pt x="238745" y="367475"/>
                  </a:lnTo>
                  <a:lnTo>
                    <a:pt x="217367" y="384451"/>
                  </a:lnTo>
                  <a:lnTo>
                    <a:pt x="211316" y="416850"/>
                  </a:lnTo>
                  <a:lnTo>
                    <a:pt x="233717" y="447277"/>
                  </a:lnTo>
                  <a:lnTo>
                    <a:pt x="248231" y="443791"/>
                  </a:lnTo>
                  <a:lnTo>
                    <a:pt x="241714" y="463738"/>
                  </a:lnTo>
                  <a:lnTo>
                    <a:pt x="232705" y="461472"/>
                  </a:lnTo>
                  <a:lnTo>
                    <a:pt x="217900" y="471386"/>
                  </a:lnTo>
                  <a:lnTo>
                    <a:pt x="201465" y="494865"/>
                  </a:lnTo>
                  <a:lnTo>
                    <a:pt x="191354" y="516291"/>
                  </a:lnTo>
                  <a:lnTo>
                    <a:pt x="197770" y="527640"/>
                  </a:lnTo>
                  <a:close/>
                </a:path>
              </a:pathLst>
            </a:custGeom>
            <a:solidFill>
              <a:schemeClr val="accent1">
                <a:lumMod val="40000"/>
                <a:lumOff val="6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1" name="ee4p_26_1_43215"/>
            <p:cNvSpPr>
              <a:spLocks noChangeAspect="1"/>
            </p:cNvSpPr>
            <p:nvPr>
              <p:custDataLst>
                <p:tags r:id="rId17"/>
              </p:custDataLst>
            </p:nvPr>
          </p:nvSpPr>
          <p:spPr bwMode="gray">
            <a:xfrm>
              <a:off x="4575879" y="4521124"/>
              <a:ext cx="553667" cy="234182"/>
            </a:xfrm>
            <a:custGeom>
              <a:avLst/>
              <a:gdLst/>
              <a:ahLst/>
              <a:cxnLst/>
              <a:rect l="0" t="0" r="0" b="0"/>
              <a:pathLst>
                <a:path w="553667" h="234182">
                  <a:moveTo>
                    <a:pt x="553666" y="65865"/>
                  </a:moveTo>
                  <a:lnTo>
                    <a:pt x="535161" y="97445"/>
                  </a:lnTo>
                  <a:lnTo>
                    <a:pt x="531685" y="116263"/>
                  </a:lnTo>
                  <a:lnTo>
                    <a:pt x="514396" y="130808"/>
                  </a:lnTo>
                  <a:lnTo>
                    <a:pt x="513846" y="151148"/>
                  </a:lnTo>
                  <a:lnTo>
                    <a:pt x="482871" y="159672"/>
                  </a:lnTo>
                  <a:lnTo>
                    <a:pt x="466748" y="152907"/>
                  </a:lnTo>
                  <a:lnTo>
                    <a:pt x="461461" y="137992"/>
                  </a:lnTo>
                  <a:lnTo>
                    <a:pt x="445670" y="129857"/>
                  </a:lnTo>
                  <a:lnTo>
                    <a:pt x="417488" y="136932"/>
                  </a:lnTo>
                  <a:lnTo>
                    <a:pt x="397818" y="136470"/>
                  </a:lnTo>
                  <a:lnTo>
                    <a:pt x="386222" y="128871"/>
                  </a:lnTo>
                  <a:lnTo>
                    <a:pt x="353867" y="135775"/>
                  </a:lnTo>
                  <a:lnTo>
                    <a:pt x="332830" y="168671"/>
                  </a:lnTo>
                  <a:lnTo>
                    <a:pt x="308210" y="179188"/>
                  </a:lnTo>
                  <a:lnTo>
                    <a:pt x="288098" y="180200"/>
                  </a:lnTo>
                  <a:lnTo>
                    <a:pt x="269575" y="170147"/>
                  </a:lnTo>
                  <a:lnTo>
                    <a:pt x="253208" y="190805"/>
                  </a:lnTo>
                  <a:lnTo>
                    <a:pt x="196418" y="195283"/>
                  </a:lnTo>
                  <a:lnTo>
                    <a:pt x="186134" y="202904"/>
                  </a:lnTo>
                  <a:lnTo>
                    <a:pt x="189161" y="222964"/>
                  </a:lnTo>
                  <a:lnTo>
                    <a:pt x="176496" y="230342"/>
                  </a:lnTo>
                  <a:lnTo>
                    <a:pt x="140124" y="234181"/>
                  </a:lnTo>
                  <a:lnTo>
                    <a:pt x="90100" y="233021"/>
                  </a:lnTo>
                  <a:lnTo>
                    <a:pt x="58687" y="214887"/>
                  </a:lnTo>
                  <a:lnTo>
                    <a:pt x="47343" y="201885"/>
                  </a:lnTo>
                  <a:lnTo>
                    <a:pt x="30574" y="200244"/>
                  </a:lnTo>
                  <a:lnTo>
                    <a:pt x="12712" y="179779"/>
                  </a:lnTo>
                  <a:lnTo>
                    <a:pt x="0" y="157768"/>
                  </a:lnTo>
                  <a:lnTo>
                    <a:pt x="9236" y="124594"/>
                  </a:lnTo>
                  <a:lnTo>
                    <a:pt x="34528" y="92125"/>
                  </a:lnTo>
                  <a:lnTo>
                    <a:pt x="66148" y="100316"/>
                  </a:lnTo>
                  <a:lnTo>
                    <a:pt x="100639" y="85923"/>
                  </a:lnTo>
                  <a:lnTo>
                    <a:pt x="114115" y="74259"/>
                  </a:lnTo>
                  <a:lnTo>
                    <a:pt x="129597" y="41047"/>
                  </a:lnTo>
                  <a:lnTo>
                    <a:pt x="148436" y="35561"/>
                  </a:lnTo>
                  <a:lnTo>
                    <a:pt x="164576" y="14264"/>
                  </a:lnTo>
                  <a:lnTo>
                    <a:pt x="194172" y="12138"/>
                  </a:lnTo>
                  <a:lnTo>
                    <a:pt x="223379" y="26374"/>
                  </a:lnTo>
                  <a:lnTo>
                    <a:pt x="231145" y="12933"/>
                  </a:lnTo>
                  <a:lnTo>
                    <a:pt x="253761" y="0"/>
                  </a:lnTo>
                  <a:lnTo>
                    <a:pt x="270896" y="25521"/>
                  </a:lnTo>
                  <a:lnTo>
                    <a:pt x="285030" y="25451"/>
                  </a:lnTo>
                  <a:lnTo>
                    <a:pt x="285217" y="43397"/>
                  </a:lnTo>
                  <a:lnTo>
                    <a:pt x="311984" y="54311"/>
                  </a:lnTo>
                  <a:lnTo>
                    <a:pt x="319434" y="37133"/>
                  </a:lnTo>
                  <a:lnTo>
                    <a:pt x="336496" y="26616"/>
                  </a:lnTo>
                  <a:lnTo>
                    <a:pt x="364458" y="25145"/>
                  </a:lnTo>
                  <a:lnTo>
                    <a:pt x="395468" y="39726"/>
                  </a:lnTo>
                  <a:lnTo>
                    <a:pt x="428933" y="19217"/>
                  </a:lnTo>
                  <a:lnTo>
                    <a:pt x="460267" y="22423"/>
                  </a:lnTo>
                  <a:lnTo>
                    <a:pt x="492431" y="33607"/>
                  </a:lnTo>
                  <a:lnTo>
                    <a:pt x="501866" y="48809"/>
                  </a:lnTo>
                  <a:lnTo>
                    <a:pt x="538865" y="64154"/>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2" name="ee4p_29_1_43215"/>
            <p:cNvSpPr>
              <a:spLocks noChangeAspect="1"/>
            </p:cNvSpPr>
            <p:nvPr>
              <p:custDataLst>
                <p:tags r:id="rId18"/>
              </p:custDataLst>
            </p:nvPr>
          </p:nvSpPr>
          <p:spPr bwMode="gray">
            <a:xfrm>
              <a:off x="4906749" y="4690728"/>
              <a:ext cx="910821" cy="559930"/>
            </a:xfrm>
            <a:custGeom>
              <a:avLst/>
              <a:gdLst/>
              <a:ahLst/>
              <a:cxnLst/>
              <a:rect l="0" t="0" r="0" b="0"/>
              <a:pathLst>
                <a:path w="910821" h="559930">
                  <a:moveTo>
                    <a:pt x="804527" y="545855"/>
                  </a:moveTo>
                  <a:lnTo>
                    <a:pt x="771363" y="543518"/>
                  </a:lnTo>
                  <a:lnTo>
                    <a:pt x="747958" y="533538"/>
                  </a:lnTo>
                  <a:lnTo>
                    <a:pt x="743125" y="516759"/>
                  </a:lnTo>
                  <a:lnTo>
                    <a:pt x="720452" y="519773"/>
                  </a:lnTo>
                  <a:lnTo>
                    <a:pt x="710974" y="513511"/>
                  </a:lnTo>
                  <a:lnTo>
                    <a:pt x="690399" y="513493"/>
                  </a:lnTo>
                  <a:lnTo>
                    <a:pt x="677855" y="499978"/>
                  </a:lnTo>
                  <a:lnTo>
                    <a:pt x="642723" y="499159"/>
                  </a:lnTo>
                  <a:lnTo>
                    <a:pt x="629756" y="505385"/>
                  </a:lnTo>
                  <a:lnTo>
                    <a:pt x="591758" y="509870"/>
                  </a:lnTo>
                  <a:lnTo>
                    <a:pt x="566112" y="518025"/>
                  </a:lnTo>
                  <a:lnTo>
                    <a:pt x="529268" y="551299"/>
                  </a:lnTo>
                  <a:lnTo>
                    <a:pt x="495318" y="559929"/>
                  </a:lnTo>
                  <a:lnTo>
                    <a:pt x="458762" y="547464"/>
                  </a:lnTo>
                  <a:lnTo>
                    <a:pt x="432080" y="552096"/>
                  </a:lnTo>
                  <a:lnTo>
                    <a:pt x="409949" y="543060"/>
                  </a:lnTo>
                  <a:lnTo>
                    <a:pt x="378243" y="552481"/>
                  </a:lnTo>
                  <a:lnTo>
                    <a:pt x="333824" y="538197"/>
                  </a:lnTo>
                  <a:lnTo>
                    <a:pt x="303956" y="532477"/>
                  </a:lnTo>
                  <a:lnTo>
                    <a:pt x="270206" y="539112"/>
                  </a:lnTo>
                  <a:lnTo>
                    <a:pt x="251793" y="534088"/>
                  </a:lnTo>
                  <a:lnTo>
                    <a:pt x="257498" y="502857"/>
                  </a:lnTo>
                  <a:lnTo>
                    <a:pt x="233278" y="489393"/>
                  </a:lnTo>
                  <a:lnTo>
                    <a:pt x="218719" y="474742"/>
                  </a:lnTo>
                  <a:lnTo>
                    <a:pt x="221792" y="456749"/>
                  </a:lnTo>
                  <a:lnTo>
                    <a:pt x="232739" y="441421"/>
                  </a:lnTo>
                  <a:lnTo>
                    <a:pt x="213168" y="430021"/>
                  </a:lnTo>
                  <a:lnTo>
                    <a:pt x="200165" y="434656"/>
                  </a:lnTo>
                  <a:lnTo>
                    <a:pt x="185314" y="458056"/>
                  </a:lnTo>
                  <a:lnTo>
                    <a:pt x="167047" y="439703"/>
                  </a:lnTo>
                  <a:lnTo>
                    <a:pt x="133119" y="436635"/>
                  </a:lnTo>
                  <a:lnTo>
                    <a:pt x="128062" y="424812"/>
                  </a:lnTo>
                  <a:lnTo>
                    <a:pt x="109141" y="421893"/>
                  </a:lnTo>
                  <a:lnTo>
                    <a:pt x="110542" y="398523"/>
                  </a:lnTo>
                  <a:lnTo>
                    <a:pt x="122221" y="379452"/>
                  </a:lnTo>
                  <a:lnTo>
                    <a:pt x="117921" y="372966"/>
                  </a:lnTo>
                  <a:lnTo>
                    <a:pt x="80528" y="360510"/>
                  </a:lnTo>
                  <a:lnTo>
                    <a:pt x="55031" y="338407"/>
                  </a:lnTo>
                  <a:lnTo>
                    <a:pt x="48519" y="322459"/>
                  </a:lnTo>
                  <a:lnTo>
                    <a:pt x="52091" y="307378"/>
                  </a:lnTo>
                  <a:lnTo>
                    <a:pt x="13656" y="279936"/>
                  </a:lnTo>
                  <a:lnTo>
                    <a:pt x="0" y="260455"/>
                  </a:lnTo>
                  <a:lnTo>
                    <a:pt x="46886" y="245411"/>
                  </a:lnTo>
                  <a:lnTo>
                    <a:pt x="88658" y="238928"/>
                  </a:lnTo>
                  <a:lnTo>
                    <a:pt x="103108" y="199163"/>
                  </a:lnTo>
                  <a:lnTo>
                    <a:pt x="122407" y="188310"/>
                  </a:lnTo>
                  <a:lnTo>
                    <a:pt x="141449" y="142206"/>
                  </a:lnTo>
                  <a:lnTo>
                    <a:pt x="157811" y="115741"/>
                  </a:lnTo>
                  <a:lnTo>
                    <a:pt x="171361" y="101933"/>
                  </a:lnTo>
                  <a:lnTo>
                    <a:pt x="170171" y="90839"/>
                  </a:lnTo>
                  <a:lnTo>
                    <a:pt x="184524" y="81744"/>
                  </a:lnTo>
                  <a:lnTo>
                    <a:pt x="193547" y="64607"/>
                  </a:lnTo>
                  <a:lnTo>
                    <a:pt x="234230" y="57164"/>
                  </a:lnTo>
                  <a:lnTo>
                    <a:pt x="254672" y="37126"/>
                  </a:lnTo>
                  <a:lnTo>
                    <a:pt x="273408" y="30859"/>
                  </a:lnTo>
                  <a:lnTo>
                    <a:pt x="279318" y="17551"/>
                  </a:lnTo>
                  <a:lnTo>
                    <a:pt x="308224" y="34400"/>
                  </a:lnTo>
                  <a:lnTo>
                    <a:pt x="339390" y="32088"/>
                  </a:lnTo>
                  <a:lnTo>
                    <a:pt x="383557" y="44238"/>
                  </a:lnTo>
                  <a:lnTo>
                    <a:pt x="403645" y="35105"/>
                  </a:lnTo>
                  <a:lnTo>
                    <a:pt x="421788" y="37418"/>
                  </a:lnTo>
                  <a:lnTo>
                    <a:pt x="446923" y="65444"/>
                  </a:lnTo>
                  <a:lnTo>
                    <a:pt x="462084" y="65320"/>
                  </a:lnTo>
                  <a:lnTo>
                    <a:pt x="481350" y="44308"/>
                  </a:lnTo>
                  <a:lnTo>
                    <a:pt x="520538" y="37684"/>
                  </a:lnTo>
                  <a:lnTo>
                    <a:pt x="533184" y="38946"/>
                  </a:lnTo>
                  <a:lnTo>
                    <a:pt x="573186" y="32022"/>
                  </a:lnTo>
                  <a:lnTo>
                    <a:pt x="587182" y="8498"/>
                  </a:lnTo>
                  <a:lnTo>
                    <a:pt x="633119" y="0"/>
                  </a:lnTo>
                  <a:lnTo>
                    <a:pt x="655727" y="18630"/>
                  </a:lnTo>
                  <a:lnTo>
                    <a:pt x="668989" y="38012"/>
                  </a:lnTo>
                  <a:lnTo>
                    <a:pt x="682385" y="75636"/>
                  </a:lnTo>
                  <a:lnTo>
                    <a:pt x="710188" y="114082"/>
                  </a:lnTo>
                  <a:lnTo>
                    <a:pt x="722208" y="118140"/>
                  </a:lnTo>
                  <a:lnTo>
                    <a:pt x="729050" y="136963"/>
                  </a:lnTo>
                  <a:lnTo>
                    <a:pt x="756469" y="155546"/>
                  </a:lnTo>
                  <a:lnTo>
                    <a:pt x="759576" y="175944"/>
                  </a:lnTo>
                  <a:lnTo>
                    <a:pt x="772821" y="200339"/>
                  </a:lnTo>
                  <a:lnTo>
                    <a:pt x="773440" y="221776"/>
                  </a:lnTo>
                  <a:lnTo>
                    <a:pt x="759125" y="246408"/>
                  </a:lnTo>
                  <a:lnTo>
                    <a:pt x="756950" y="274566"/>
                  </a:lnTo>
                  <a:lnTo>
                    <a:pt x="765014" y="310724"/>
                  </a:lnTo>
                  <a:lnTo>
                    <a:pt x="761914" y="326706"/>
                  </a:lnTo>
                  <a:lnTo>
                    <a:pt x="781544" y="357012"/>
                  </a:lnTo>
                  <a:lnTo>
                    <a:pt x="803510" y="366256"/>
                  </a:lnTo>
                  <a:lnTo>
                    <a:pt x="824288" y="367506"/>
                  </a:lnTo>
                  <a:lnTo>
                    <a:pt x="849348" y="352804"/>
                  </a:lnTo>
                  <a:lnTo>
                    <a:pt x="886648" y="342940"/>
                  </a:lnTo>
                  <a:lnTo>
                    <a:pt x="898702" y="347120"/>
                  </a:lnTo>
                  <a:lnTo>
                    <a:pt x="910820" y="363910"/>
                  </a:lnTo>
                  <a:lnTo>
                    <a:pt x="903357" y="415127"/>
                  </a:lnTo>
                  <a:lnTo>
                    <a:pt x="863271" y="421680"/>
                  </a:lnTo>
                  <a:lnTo>
                    <a:pt x="840567" y="439242"/>
                  </a:lnTo>
                  <a:lnTo>
                    <a:pt x="829913" y="456256"/>
                  </a:lnTo>
                  <a:lnTo>
                    <a:pt x="810318" y="476535"/>
                  </a:lnTo>
                  <a:lnTo>
                    <a:pt x="813106" y="516524"/>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3" name="ee4p_32_1_43215"/>
            <p:cNvSpPr>
              <a:spLocks noChangeAspect="1"/>
            </p:cNvSpPr>
            <p:nvPr>
              <p:custDataLst>
                <p:tags r:id="rId19"/>
              </p:custDataLst>
            </p:nvPr>
          </p:nvSpPr>
          <p:spPr bwMode="gray">
            <a:xfrm>
              <a:off x="4930941" y="5399209"/>
              <a:ext cx="243820" cy="173274"/>
            </a:xfrm>
            <a:custGeom>
              <a:avLst/>
              <a:gdLst/>
              <a:ahLst/>
              <a:cxnLst/>
              <a:rect l="0" t="0" r="0" b="0"/>
              <a:pathLst>
                <a:path w="243820" h="173274">
                  <a:moveTo>
                    <a:pt x="178610" y="4831"/>
                  </a:moveTo>
                  <a:lnTo>
                    <a:pt x="194918" y="24841"/>
                  </a:lnTo>
                  <a:lnTo>
                    <a:pt x="227669" y="38451"/>
                  </a:lnTo>
                  <a:lnTo>
                    <a:pt x="228863" y="49625"/>
                  </a:lnTo>
                  <a:lnTo>
                    <a:pt x="243819" y="74739"/>
                  </a:lnTo>
                  <a:lnTo>
                    <a:pt x="235863" y="82456"/>
                  </a:lnTo>
                  <a:lnTo>
                    <a:pt x="238355" y="105683"/>
                  </a:lnTo>
                  <a:lnTo>
                    <a:pt x="233511" y="117639"/>
                  </a:lnTo>
                  <a:lnTo>
                    <a:pt x="218076" y="119146"/>
                  </a:lnTo>
                  <a:lnTo>
                    <a:pt x="216075" y="137888"/>
                  </a:lnTo>
                  <a:lnTo>
                    <a:pt x="188792" y="143220"/>
                  </a:lnTo>
                  <a:lnTo>
                    <a:pt x="168940" y="137524"/>
                  </a:lnTo>
                  <a:lnTo>
                    <a:pt x="150244" y="138635"/>
                  </a:lnTo>
                  <a:lnTo>
                    <a:pt x="134941" y="146206"/>
                  </a:lnTo>
                  <a:lnTo>
                    <a:pt x="124386" y="159497"/>
                  </a:lnTo>
                  <a:lnTo>
                    <a:pt x="101813" y="172037"/>
                  </a:lnTo>
                  <a:lnTo>
                    <a:pt x="87369" y="166140"/>
                  </a:lnTo>
                  <a:lnTo>
                    <a:pt x="72102" y="172832"/>
                  </a:lnTo>
                  <a:lnTo>
                    <a:pt x="45080" y="173273"/>
                  </a:lnTo>
                  <a:lnTo>
                    <a:pt x="41074" y="165361"/>
                  </a:lnTo>
                  <a:lnTo>
                    <a:pt x="21090" y="166826"/>
                  </a:lnTo>
                  <a:lnTo>
                    <a:pt x="15125" y="146609"/>
                  </a:lnTo>
                  <a:lnTo>
                    <a:pt x="1852" y="133730"/>
                  </a:lnTo>
                  <a:lnTo>
                    <a:pt x="4205" y="89511"/>
                  </a:lnTo>
                  <a:lnTo>
                    <a:pt x="0" y="72301"/>
                  </a:lnTo>
                  <a:lnTo>
                    <a:pt x="4376" y="56205"/>
                  </a:lnTo>
                  <a:lnTo>
                    <a:pt x="20674" y="56787"/>
                  </a:lnTo>
                  <a:lnTo>
                    <a:pt x="26158" y="31862"/>
                  </a:lnTo>
                  <a:lnTo>
                    <a:pt x="62647" y="18114"/>
                  </a:lnTo>
                  <a:lnTo>
                    <a:pt x="68618" y="30000"/>
                  </a:lnTo>
                  <a:lnTo>
                    <a:pt x="89688" y="9130"/>
                  </a:lnTo>
                  <a:lnTo>
                    <a:pt x="113112" y="12911"/>
                  </a:lnTo>
                  <a:lnTo>
                    <a:pt x="138519" y="990"/>
                  </a:lnTo>
                  <a:lnTo>
                    <a:pt x="146791" y="6280"/>
                  </a:lnTo>
                  <a:lnTo>
                    <a:pt x="171902" y="0"/>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4" name="ee4p_33_1_43215"/>
            <p:cNvSpPr>
              <a:spLocks noChangeAspect="1"/>
            </p:cNvSpPr>
            <p:nvPr>
              <p:custDataLst>
                <p:tags r:id="rId20"/>
              </p:custDataLst>
            </p:nvPr>
          </p:nvSpPr>
          <p:spPr bwMode="gray">
            <a:xfrm>
              <a:off x="4730046" y="5264536"/>
              <a:ext cx="185281" cy="190225"/>
            </a:xfrm>
            <a:custGeom>
              <a:avLst/>
              <a:gdLst/>
              <a:ahLst/>
              <a:cxnLst/>
              <a:rect l="0" t="0" r="0" b="0"/>
              <a:pathLst>
                <a:path w="185281" h="190225">
                  <a:moveTo>
                    <a:pt x="8428" y="126762"/>
                  </a:moveTo>
                  <a:lnTo>
                    <a:pt x="0" y="110979"/>
                  </a:lnTo>
                  <a:lnTo>
                    <a:pt x="9181" y="102112"/>
                  </a:lnTo>
                  <a:lnTo>
                    <a:pt x="3834" y="87687"/>
                  </a:lnTo>
                  <a:lnTo>
                    <a:pt x="4385" y="64226"/>
                  </a:lnTo>
                  <a:lnTo>
                    <a:pt x="20297" y="56309"/>
                  </a:lnTo>
                  <a:lnTo>
                    <a:pt x="23889" y="29835"/>
                  </a:lnTo>
                  <a:lnTo>
                    <a:pt x="45875" y="16577"/>
                  </a:lnTo>
                  <a:lnTo>
                    <a:pt x="62110" y="22322"/>
                  </a:lnTo>
                  <a:lnTo>
                    <a:pt x="59132" y="0"/>
                  </a:lnTo>
                  <a:lnTo>
                    <a:pt x="75794" y="2193"/>
                  </a:lnTo>
                  <a:lnTo>
                    <a:pt x="104817" y="21293"/>
                  </a:lnTo>
                  <a:lnTo>
                    <a:pt x="107089" y="29921"/>
                  </a:lnTo>
                  <a:lnTo>
                    <a:pt x="130600" y="44195"/>
                  </a:lnTo>
                  <a:lnTo>
                    <a:pt x="147979" y="48757"/>
                  </a:lnTo>
                  <a:lnTo>
                    <a:pt x="162834" y="63145"/>
                  </a:lnTo>
                  <a:lnTo>
                    <a:pt x="184490" y="69437"/>
                  </a:lnTo>
                  <a:lnTo>
                    <a:pt x="185280" y="78511"/>
                  </a:lnTo>
                  <a:lnTo>
                    <a:pt x="169627" y="88821"/>
                  </a:lnTo>
                  <a:lnTo>
                    <a:pt x="152022" y="115515"/>
                  </a:lnTo>
                  <a:lnTo>
                    <a:pt x="131014" y="119350"/>
                  </a:lnTo>
                  <a:lnTo>
                    <a:pt x="114542" y="107004"/>
                  </a:lnTo>
                  <a:lnTo>
                    <a:pt x="81703" y="154774"/>
                  </a:lnTo>
                  <a:lnTo>
                    <a:pt x="93331" y="163646"/>
                  </a:lnTo>
                  <a:lnTo>
                    <a:pt x="90640" y="190224"/>
                  </a:lnTo>
                  <a:lnTo>
                    <a:pt x="72530" y="184216"/>
                  </a:lnTo>
                  <a:lnTo>
                    <a:pt x="67924" y="170778"/>
                  </a:lnTo>
                  <a:lnTo>
                    <a:pt x="45399" y="150101"/>
                  </a:lnTo>
                  <a:lnTo>
                    <a:pt x="26042" y="138225"/>
                  </a:lnTo>
                  <a:lnTo>
                    <a:pt x="23498" y="122286"/>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5" name="ee4p_35_1_43215"/>
            <p:cNvSpPr>
              <a:spLocks noChangeAspect="1"/>
            </p:cNvSpPr>
            <p:nvPr>
              <p:custDataLst>
                <p:tags r:id="rId21"/>
              </p:custDataLst>
            </p:nvPr>
          </p:nvSpPr>
          <p:spPr bwMode="gray">
            <a:xfrm>
              <a:off x="3587247" y="4843359"/>
              <a:ext cx="1150746" cy="1200023"/>
            </a:xfrm>
            <a:custGeom>
              <a:avLst/>
              <a:gdLst/>
              <a:ahLst/>
              <a:cxnLst/>
              <a:rect l="l" t="t" r="r" b="b"/>
              <a:pathLst>
                <a:path w="1150746" h="1200023">
                  <a:moveTo>
                    <a:pt x="860420" y="1019972"/>
                  </a:moveTo>
                  <a:lnTo>
                    <a:pt x="873303" y="1023381"/>
                  </a:lnTo>
                  <a:lnTo>
                    <a:pt x="866833" y="1025546"/>
                  </a:lnTo>
                  <a:lnTo>
                    <a:pt x="856299" y="1047258"/>
                  </a:lnTo>
                  <a:lnTo>
                    <a:pt x="830535" y="1081132"/>
                  </a:lnTo>
                  <a:lnTo>
                    <a:pt x="827170" y="1100890"/>
                  </a:lnTo>
                  <a:lnTo>
                    <a:pt x="818438" y="1111303"/>
                  </a:lnTo>
                  <a:lnTo>
                    <a:pt x="820301" y="1130539"/>
                  </a:lnTo>
                  <a:lnTo>
                    <a:pt x="839362" y="1163403"/>
                  </a:lnTo>
                  <a:lnTo>
                    <a:pt x="828544" y="1170905"/>
                  </a:lnTo>
                  <a:lnTo>
                    <a:pt x="819252" y="1187375"/>
                  </a:lnTo>
                  <a:lnTo>
                    <a:pt x="823517" y="1200023"/>
                  </a:lnTo>
                  <a:lnTo>
                    <a:pt x="799869" y="1195197"/>
                  </a:lnTo>
                  <a:lnTo>
                    <a:pt x="789146" y="1198048"/>
                  </a:lnTo>
                  <a:lnTo>
                    <a:pt x="761123" y="1188823"/>
                  </a:lnTo>
                  <a:lnTo>
                    <a:pt x="742185" y="1161147"/>
                  </a:lnTo>
                  <a:lnTo>
                    <a:pt x="720061" y="1152797"/>
                  </a:lnTo>
                  <a:lnTo>
                    <a:pt x="706754" y="1154550"/>
                  </a:lnTo>
                  <a:lnTo>
                    <a:pt x="680781" y="1143560"/>
                  </a:lnTo>
                  <a:lnTo>
                    <a:pt x="669893" y="1133141"/>
                  </a:lnTo>
                  <a:lnTo>
                    <a:pt x="647754" y="1124598"/>
                  </a:lnTo>
                  <a:lnTo>
                    <a:pt x="633220" y="1110404"/>
                  </a:lnTo>
                  <a:lnTo>
                    <a:pt x="611861" y="1101599"/>
                  </a:lnTo>
                  <a:lnTo>
                    <a:pt x="585549" y="1102718"/>
                  </a:lnTo>
                  <a:lnTo>
                    <a:pt x="565436" y="1086552"/>
                  </a:lnTo>
                  <a:lnTo>
                    <a:pt x="564234" y="1063605"/>
                  </a:lnTo>
                  <a:lnTo>
                    <a:pt x="569892" y="1051075"/>
                  </a:lnTo>
                  <a:lnTo>
                    <a:pt x="588650" y="1041077"/>
                  </a:lnTo>
                  <a:lnTo>
                    <a:pt x="606257" y="1050649"/>
                  </a:lnTo>
                  <a:lnTo>
                    <a:pt x="624175" y="1043481"/>
                  </a:lnTo>
                  <a:lnTo>
                    <a:pt x="626826" y="1031956"/>
                  </a:lnTo>
                  <a:lnTo>
                    <a:pt x="647401" y="1028201"/>
                  </a:lnTo>
                  <a:lnTo>
                    <a:pt x="656282" y="1042288"/>
                  </a:lnTo>
                  <a:lnTo>
                    <a:pt x="688577" y="1056717"/>
                  </a:lnTo>
                  <a:lnTo>
                    <a:pt x="716435" y="1048882"/>
                  </a:lnTo>
                  <a:lnTo>
                    <a:pt x="748594" y="1051749"/>
                  </a:lnTo>
                  <a:lnTo>
                    <a:pt x="774439" y="1045448"/>
                  </a:lnTo>
                  <a:lnTo>
                    <a:pt x="785733" y="1034771"/>
                  </a:lnTo>
                  <a:lnTo>
                    <a:pt x="826648" y="1036361"/>
                  </a:lnTo>
                  <a:close/>
                  <a:moveTo>
                    <a:pt x="252498" y="684169"/>
                  </a:moveTo>
                  <a:lnTo>
                    <a:pt x="284415" y="699157"/>
                  </a:lnTo>
                  <a:lnTo>
                    <a:pt x="282378" y="721792"/>
                  </a:lnTo>
                  <a:lnTo>
                    <a:pt x="294500" y="737172"/>
                  </a:lnTo>
                  <a:lnTo>
                    <a:pt x="309752" y="766675"/>
                  </a:lnTo>
                  <a:lnTo>
                    <a:pt x="290728" y="795542"/>
                  </a:lnTo>
                  <a:lnTo>
                    <a:pt x="300699" y="818486"/>
                  </a:lnTo>
                  <a:lnTo>
                    <a:pt x="296132" y="828808"/>
                  </a:lnTo>
                  <a:lnTo>
                    <a:pt x="294919" y="858331"/>
                  </a:lnTo>
                  <a:lnTo>
                    <a:pt x="284132" y="924692"/>
                  </a:lnTo>
                  <a:lnTo>
                    <a:pt x="271559" y="926489"/>
                  </a:lnTo>
                  <a:lnTo>
                    <a:pt x="258259" y="916590"/>
                  </a:lnTo>
                  <a:lnTo>
                    <a:pt x="234933" y="919379"/>
                  </a:lnTo>
                  <a:lnTo>
                    <a:pt x="230684" y="942187"/>
                  </a:lnTo>
                  <a:lnTo>
                    <a:pt x="215981" y="954582"/>
                  </a:lnTo>
                  <a:lnTo>
                    <a:pt x="195483" y="952938"/>
                  </a:lnTo>
                  <a:lnTo>
                    <a:pt x="168299" y="914881"/>
                  </a:lnTo>
                  <a:lnTo>
                    <a:pt x="168893" y="898285"/>
                  </a:lnTo>
                  <a:lnTo>
                    <a:pt x="178372" y="872587"/>
                  </a:lnTo>
                  <a:lnTo>
                    <a:pt x="176862" y="860052"/>
                  </a:lnTo>
                  <a:lnTo>
                    <a:pt x="184840" y="839501"/>
                  </a:lnTo>
                  <a:lnTo>
                    <a:pt x="171374" y="838062"/>
                  </a:lnTo>
                  <a:lnTo>
                    <a:pt x="180490" y="817206"/>
                  </a:lnTo>
                  <a:lnTo>
                    <a:pt x="179573" y="796100"/>
                  </a:lnTo>
                  <a:lnTo>
                    <a:pt x="163578" y="761785"/>
                  </a:lnTo>
                  <a:lnTo>
                    <a:pt x="147350" y="760895"/>
                  </a:lnTo>
                  <a:lnTo>
                    <a:pt x="145864" y="742833"/>
                  </a:lnTo>
                  <a:lnTo>
                    <a:pt x="153992" y="727603"/>
                  </a:lnTo>
                  <a:lnTo>
                    <a:pt x="177989" y="733292"/>
                  </a:lnTo>
                  <a:lnTo>
                    <a:pt x="209188" y="721527"/>
                  </a:lnTo>
                  <a:lnTo>
                    <a:pt x="233650" y="696714"/>
                  </a:lnTo>
                  <a:close/>
                  <a:moveTo>
                    <a:pt x="339543" y="502758"/>
                  </a:moveTo>
                  <a:lnTo>
                    <a:pt x="368617" y="503711"/>
                  </a:lnTo>
                  <a:lnTo>
                    <a:pt x="341592" y="511553"/>
                  </a:lnTo>
                  <a:close/>
                  <a:moveTo>
                    <a:pt x="483770" y="0"/>
                  </a:moveTo>
                  <a:lnTo>
                    <a:pt x="493493" y="4998"/>
                  </a:lnTo>
                  <a:lnTo>
                    <a:pt x="531584" y="769"/>
                  </a:lnTo>
                  <a:lnTo>
                    <a:pt x="556382" y="35489"/>
                  </a:lnTo>
                  <a:lnTo>
                    <a:pt x="575003" y="44112"/>
                  </a:lnTo>
                  <a:lnTo>
                    <a:pt x="625080" y="50218"/>
                  </a:lnTo>
                  <a:lnTo>
                    <a:pt x="647564" y="56094"/>
                  </a:lnTo>
                  <a:lnTo>
                    <a:pt x="685708" y="59767"/>
                  </a:lnTo>
                  <a:lnTo>
                    <a:pt x="683728" y="69346"/>
                  </a:lnTo>
                  <a:lnTo>
                    <a:pt x="658887" y="80210"/>
                  </a:lnTo>
                  <a:lnTo>
                    <a:pt x="657285" y="95205"/>
                  </a:lnTo>
                  <a:lnTo>
                    <a:pt x="680886" y="101629"/>
                  </a:lnTo>
                  <a:lnTo>
                    <a:pt x="663172" y="122841"/>
                  </a:lnTo>
                  <a:lnTo>
                    <a:pt x="678257" y="130591"/>
                  </a:lnTo>
                  <a:lnTo>
                    <a:pt x="672319" y="141489"/>
                  </a:lnTo>
                  <a:lnTo>
                    <a:pt x="693594" y="154094"/>
                  </a:lnTo>
                  <a:lnTo>
                    <a:pt x="705493" y="167306"/>
                  </a:lnTo>
                  <a:lnTo>
                    <a:pt x="686544" y="171975"/>
                  </a:lnTo>
                  <a:lnTo>
                    <a:pt x="689499" y="161637"/>
                  </a:lnTo>
                  <a:lnTo>
                    <a:pt x="677737" y="150844"/>
                  </a:lnTo>
                  <a:lnTo>
                    <a:pt x="662286" y="158776"/>
                  </a:lnTo>
                  <a:lnTo>
                    <a:pt x="638563" y="152612"/>
                  </a:lnTo>
                  <a:lnTo>
                    <a:pt x="626026" y="167039"/>
                  </a:lnTo>
                  <a:lnTo>
                    <a:pt x="608576" y="169792"/>
                  </a:lnTo>
                  <a:lnTo>
                    <a:pt x="565313" y="189852"/>
                  </a:lnTo>
                  <a:lnTo>
                    <a:pt x="559526" y="178350"/>
                  </a:lnTo>
                  <a:lnTo>
                    <a:pt x="535777" y="196497"/>
                  </a:lnTo>
                  <a:lnTo>
                    <a:pt x="532345" y="211839"/>
                  </a:lnTo>
                  <a:lnTo>
                    <a:pt x="548740" y="217147"/>
                  </a:lnTo>
                  <a:lnTo>
                    <a:pt x="548967" y="241691"/>
                  </a:lnTo>
                  <a:lnTo>
                    <a:pt x="567646" y="246746"/>
                  </a:lnTo>
                  <a:lnTo>
                    <a:pt x="543914" y="271869"/>
                  </a:lnTo>
                  <a:lnTo>
                    <a:pt x="547806" y="307408"/>
                  </a:lnTo>
                  <a:lnTo>
                    <a:pt x="560707" y="340356"/>
                  </a:lnTo>
                  <a:lnTo>
                    <a:pt x="591207" y="366118"/>
                  </a:lnTo>
                  <a:lnTo>
                    <a:pt x="607641" y="371458"/>
                  </a:lnTo>
                  <a:lnTo>
                    <a:pt x="645661" y="401077"/>
                  </a:lnTo>
                  <a:lnTo>
                    <a:pt x="666293" y="406654"/>
                  </a:lnTo>
                  <a:lnTo>
                    <a:pt x="676936" y="421224"/>
                  </a:lnTo>
                  <a:lnTo>
                    <a:pt x="698062" y="468059"/>
                  </a:lnTo>
                  <a:lnTo>
                    <a:pt x="707582" y="501927"/>
                  </a:lnTo>
                  <a:lnTo>
                    <a:pt x="724734" y="532199"/>
                  </a:lnTo>
                  <a:lnTo>
                    <a:pt x="753150" y="555330"/>
                  </a:lnTo>
                  <a:lnTo>
                    <a:pt x="762651" y="567611"/>
                  </a:lnTo>
                  <a:lnTo>
                    <a:pt x="782631" y="576714"/>
                  </a:lnTo>
                  <a:lnTo>
                    <a:pt x="782866" y="584593"/>
                  </a:lnTo>
                  <a:lnTo>
                    <a:pt x="817958" y="603575"/>
                  </a:lnTo>
                  <a:lnTo>
                    <a:pt x="845507" y="608171"/>
                  </a:lnTo>
                  <a:lnTo>
                    <a:pt x="908008" y="602687"/>
                  </a:lnTo>
                  <a:lnTo>
                    <a:pt x="923967" y="610258"/>
                  </a:lnTo>
                  <a:lnTo>
                    <a:pt x="924948" y="623308"/>
                  </a:lnTo>
                  <a:lnTo>
                    <a:pt x="897531" y="641155"/>
                  </a:lnTo>
                  <a:lnTo>
                    <a:pt x="905757" y="661601"/>
                  </a:lnTo>
                  <a:lnTo>
                    <a:pt x="968126" y="690332"/>
                  </a:lnTo>
                  <a:lnTo>
                    <a:pt x="1008920" y="703522"/>
                  </a:lnTo>
                  <a:lnTo>
                    <a:pt x="1030645" y="715768"/>
                  </a:lnTo>
                  <a:lnTo>
                    <a:pt x="1049341" y="731770"/>
                  </a:lnTo>
                  <a:lnTo>
                    <a:pt x="1101791" y="753687"/>
                  </a:lnTo>
                  <a:lnTo>
                    <a:pt x="1103752" y="761763"/>
                  </a:lnTo>
                  <a:lnTo>
                    <a:pt x="1141356" y="793563"/>
                  </a:lnTo>
                  <a:lnTo>
                    <a:pt x="1150746" y="814936"/>
                  </a:lnTo>
                  <a:lnTo>
                    <a:pt x="1142562" y="824321"/>
                  </a:lnTo>
                  <a:lnTo>
                    <a:pt x="1136119" y="850634"/>
                  </a:lnTo>
                  <a:lnTo>
                    <a:pt x="1105047" y="835280"/>
                  </a:lnTo>
                  <a:lnTo>
                    <a:pt x="1099169" y="811087"/>
                  </a:lnTo>
                  <a:lnTo>
                    <a:pt x="1086803" y="794624"/>
                  </a:lnTo>
                  <a:lnTo>
                    <a:pt x="1053070" y="793462"/>
                  </a:lnTo>
                  <a:lnTo>
                    <a:pt x="1027557" y="781925"/>
                  </a:lnTo>
                  <a:lnTo>
                    <a:pt x="1015945" y="767928"/>
                  </a:lnTo>
                  <a:lnTo>
                    <a:pt x="998541" y="773585"/>
                  </a:lnTo>
                  <a:lnTo>
                    <a:pt x="965543" y="817769"/>
                  </a:lnTo>
                  <a:lnTo>
                    <a:pt x="967814" y="831170"/>
                  </a:lnTo>
                  <a:lnTo>
                    <a:pt x="954334" y="849540"/>
                  </a:lnTo>
                  <a:lnTo>
                    <a:pt x="957023" y="864924"/>
                  </a:lnTo>
                  <a:lnTo>
                    <a:pt x="981463" y="870282"/>
                  </a:lnTo>
                  <a:lnTo>
                    <a:pt x="1006072" y="885913"/>
                  </a:lnTo>
                  <a:lnTo>
                    <a:pt x="1016772" y="898358"/>
                  </a:lnTo>
                  <a:lnTo>
                    <a:pt x="1014196" y="928216"/>
                  </a:lnTo>
                  <a:lnTo>
                    <a:pt x="1021923" y="938413"/>
                  </a:lnTo>
                  <a:lnTo>
                    <a:pt x="1013446" y="951481"/>
                  </a:lnTo>
                  <a:lnTo>
                    <a:pt x="1002101" y="947779"/>
                  </a:lnTo>
                  <a:lnTo>
                    <a:pt x="980774" y="953146"/>
                  </a:lnTo>
                  <a:lnTo>
                    <a:pt x="965350" y="962162"/>
                  </a:lnTo>
                  <a:lnTo>
                    <a:pt x="960953" y="976812"/>
                  </a:lnTo>
                  <a:lnTo>
                    <a:pt x="963151" y="1002812"/>
                  </a:lnTo>
                  <a:lnTo>
                    <a:pt x="951923" y="1015345"/>
                  </a:lnTo>
                  <a:lnTo>
                    <a:pt x="939447" y="1019581"/>
                  </a:lnTo>
                  <a:lnTo>
                    <a:pt x="922543" y="1039009"/>
                  </a:lnTo>
                  <a:lnTo>
                    <a:pt x="913060" y="1061855"/>
                  </a:lnTo>
                  <a:lnTo>
                    <a:pt x="884073" y="1062791"/>
                  </a:lnTo>
                  <a:lnTo>
                    <a:pt x="871481" y="1051324"/>
                  </a:lnTo>
                  <a:lnTo>
                    <a:pt x="871671" y="1027387"/>
                  </a:lnTo>
                  <a:lnTo>
                    <a:pt x="888342" y="1020616"/>
                  </a:lnTo>
                  <a:lnTo>
                    <a:pt x="899970" y="991503"/>
                  </a:lnTo>
                  <a:lnTo>
                    <a:pt x="890089" y="983254"/>
                  </a:lnTo>
                  <a:lnTo>
                    <a:pt x="905261" y="972156"/>
                  </a:lnTo>
                  <a:lnTo>
                    <a:pt x="917021" y="973270"/>
                  </a:lnTo>
                  <a:lnTo>
                    <a:pt x="927569" y="962155"/>
                  </a:lnTo>
                  <a:lnTo>
                    <a:pt x="927223" y="948584"/>
                  </a:lnTo>
                  <a:lnTo>
                    <a:pt x="916385" y="937416"/>
                  </a:lnTo>
                  <a:lnTo>
                    <a:pt x="906087" y="890087"/>
                  </a:lnTo>
                  <a:lnTo>
                    <a:pt x="889039" y="863741"/>
                  </a:lnTo>
                  <a:lnTo>
                    <a:pt x="885588" y="839369"/>
                  </a:lnTo>
                  <a:lnTo>
                    <a:pt x="871333" y="819409"/>
                  </a:lnTo>
                  <a:lnTo>
                    <a:pt x="850655" y="828199"/>
                  </a:lnTo>
                  <a:lnTo>
                    <a:pt x="838594" y="823848"/>
                  </a:lnTo>
                  <a:lnTo>
                    <a:pt x="821562" y="806884"/>
                  </a:lnTo>
                  <a:lnTo>
                    <a:pt x="802923" y="800593"/>
                  </a:lnTo>
                  <a:lnTo>
                    <a:pt x="808515" y="778701"/>
                  </a:lnTo>
                  <a:lnTo>
                    <a:pt x="798797" y="760775"/>
                  </a:lnTo>
                  <a:lnTo>
                    <a:pt x="759961" y="746435"/>
                  </a:lnTo>
                  <a:lnTo>
                    <a:pt x="738958" y="730394"/>
                  </a:lnTo>
                  <a:lnTo>
                    <a:pt x="721970" y="731992"/>
                  </a:lnTo>
                  <a:lnTo>
                    <a:pt x="695343" y="691276"/>
                  </a:lnTo>
                  <a:lnTo>
                    <a:pt x="676844" y="682461"/>
                  </a:lnTo>
                  <a:lnTo>
                    <a:pt x="669008" y="687862"/>
                  </a:lnTo>
                  <a:lnTo>
                    <a:pt x="643842" y="678219"/>
                  </a:lnTo>
                  <a:lnTo>
                    <a:pt x="621144" y="686416"/>
                  </a:lnTo>
                  <a:lnTo>
                    <a:pt x="603990" y="665639"/>
                  </a:lnTo>
                  <a:lnTo>
                    <a:pt x="579636" y="660394"/>
                  </a:lnTo>
                  <a:lnTo>
                    <a:pt x="563998" y="640381"/>
                  </a:lnTo>
                  <a:lnTo>
                    <a:pt x="542215" y="626926"/>
                  </a:lnTo>
                  <a:lnTo>
                    <a:pt x="531913" y="605425"/>
                  </a:lnTo>
                  <a:lnTo>
                    <a:pt x="503913" y="593450"/>
                  </a:lnTo>
                  <a:lnTo>
                    <a:pt x="490536" y="569708"/>
                  </a:lnTo>
                  <a:lnTo>
                    <a:pt x="476301" y="557127"/>
                  </a:lnTo>
                  <a:lnTo>
                    <a:pt x="450210" y="549325"/>
                  </a:lnTo>
                  <a:lnTo>
                    <a:pt x="414541" y="509065"/>
                  </a:lnTo>
                  <a:lnTo>
                    <a:pt x="402409" y="506582"/>
                  </a:lnTo>
                  <a:lnTo>
                    <a:pt x="401013" y="490660"/>
                  </a:lnTo>
                  <a:lnTo>
                    <a:pt x="373090" y="481525"/>
                  </a:lnTo>
                  <a:lnTo>
                    <a:pt x="378438" y="460404"/>
                  </a:lnTo>
                  <a:lnTo>
                    <a:pt x="374830" y="445977"/>
                  </a:lnTo>
                  <a:lnTo>
                    <a:pt x="354786" y="415222"/>
                  </a:lnTo>
                  <a:lnTo>
                    <a:pt x="349540" y="377770"/>
                  </a:lnTo>
                  <a:lnTo>
                    <a:pt x="335162" y="360866"/>
                  </a:lnTo>
                  <a:lnTo>
                    <a:pt x="310178" y="356462"/>
                  </a:lnTo>
                  <a:lnTo>
                    <a:pt x="251842" y="321016"/>
                  </a:lnTo>
                  <a:lnTo>
                    <a:pt x="204892" y="311648"/>
                  </a:lnTo>
                  <a:lnTo>
                    <a:pt x="175488" y="329601"/>
                  </a:lnTo>
                  <a:lnTo>
                    <a:pt x="171823" y="340873"/>
                  </a:lnTo>
                  <a:lnTo>
                    <a:pt x="155787" y="350222"/>
                  </a:lnTo>
                  <a:lnTo>
                    <a:pt x="145178" y="371024"/>
                  </a:lnTo>
                  <a:lnTo>
                    <a:pt x="101102" y="388780"/>
                  </a:lnTo>
                  <a:lnTo>
                    <a:pt x="87305" y="387876"/>
                  </a:lnTo>
                  <a:lnTo>
                    <a:pt x="85552" y="375876"/>
                  </a:lnTo>
                  <a:lnTo>
                    <a:pt x="105041" y="351957"/>
                  </a:lnTo>
                  <a:lnTo>
                    <a:pt x="100917" y="343978"/>
                  </a:lnTo>
                  <a:lnTo>
                    <a:pt x="70651" y="348559"/>
                  </a:lnTo>
                  <a:lnTo>
                    <a:pt x="36790" y="334265"/>
                  </a:lnTo>
                  <a:lnTo>
                    <a:pt x="26087" y="317817"/>
                  </a:lnTo>
                  <a:lnTo>
                    <a:pt x="21834" y="299573"/>
                  </a:lnTo>
                  <a:lnTo>
                    <a:pt x="38887" y="275574"/>
                  </a:lnTo>
                  <a:lnTo>
                    <a:pt x="36174" y="262161"/>
                  </a:lnTo>
                  <a:lnTo>
                    <a:pt x="11703" y="252632"/>
                  </a:lnTo>
                  <a:lnTo>
                    <a:pt x="0" y="231212"/>
                  </a:lnTo>
                  <a:lnTo>
                    <a:pt x="49329" y="212677"/>
                  </a:lnTo>
                  <a:lnTo>
                    <a:pt x="53995" y="194991"/>
                  </a:lnTo>
                  <a:lnTo>
                    <a:pt x="36041" y="182807"/>
                  </a:lnTo>
                  <a:lnTo>
                    <a:pt x="36113" y="166525"/>
                  </a:lnTo>
                  <a:lnTo>
                    <a:pt x="17523" y="156282"/>
                  </a:lnTo>
                  <a:lnTo>
                    <a:pt x="18443" y="142911"/>
                  </a:lnTo>
                  <a:lnTo>
                    <a:pt x="40382" y="132477"/>
                  </a:lnTo>
                  <a:lnTo>
                    <a:pt x="64152" y="132740"/>
                  </a:lnTo>
                  <a:lnTo>
                    <a:pt x="97918" y="126716"/>
                  </a:lnTo>
                  <a:lnTo>
                    <a:pt x="119108" y="132663"/>
                  </a:lnTo>
                  <a:lnTo>
                    <a:pt x="131745" y="123596"/>
                  </a:lnTo>
                  <a:lnTo>
                    <a:pt x="148814" y="101063"/>
                  </a:lnTo>
                  <a:lnTo>
                    <a:pt x="141114" y="90842"/>
                  </a:lnTo>
                  <a:lnTo>
                    <a:pt x="177502" y="68512"/>
                  </a:lnTo>
                  <a:lnTo>
                    <a:pt x="174188" y="87001"/>
                  </a:lnTo>
                  <a:lnTo>
                    <a:pt x="191796" y="107037"/>
                  </a:lnTo>
                  <a:lnTo>
                    <a:pt x="204628" y="108326"/>
                  </a:lnTo>
                  <a:lnTo>
                    <a:pt x="209540" y="122125"/>
                  </a:lnTo>
                  <a:lnTo>
                    <a:pt x="232556" y="144270"/>
                  </a:lnTo>
                  <a:lnTo>
                    <a:pt x="231531" y="116851"/>
                  </a:lnTo>
                  <a:lnTo>
                    <a:pt x="248336" y="101523"/>
                  </a:lnTo>
                  <a:lnTo>
                    <a:pt x="258602" y="83588"/>
                  </a:lnTo>
                  <a:lnTo>
                    <a:pt x="256918" y="62927"/>
                  </a:lnTo>
                  <a:lnTo>
                    <a:pt x="274593" y="66212"/>
                  </a:lnTo>
                  <a:lnTo>
                    <a:pt x="281487" y="85581"/>
                  </a:lnTo>
                  <a:lnTo>
                    <a:pt x="298662" y="87679"/>
                  </a:lnTo>
                  <a:lnTo>
                    <a:pt x="317403" y="77033"/>
                  </a:lnTo>
                  <a:lnTo>
                    <a:pt x="330547" y="95309"/>
                  </a:lnTo>
                  <a:lnTo>
                    <a:pt x="343248" y="92296"/>
                  </a:lnTo>
                  <a:lnTo>
                    <a:pt x="330384" y="68304"/>
                  </a:lnTo>
                  <a:lnTo>
                    <a:pt x="336203" y="49065"/>
                  </a:lnTo>
                  <a:lnTo>
                    <a:pt x="372013" y="57240"/>
                  </a:lnTo>
                  <a:lnTo>
                    <a:pt x="365095" y="34103"/>
                  </a:lnTo>
                  <a:lnTo>
                    <a:pt x="371765" y="19331"/>
                  </a:lnTo>
                  <a:lnTo>
                    <a:pt x="390896" y="16820"/>
                  </a:lnTo>
                  <a:lnTo>
                    <a:pt x="411730" y="30551"/>
                  </a:lnTo>
                  <a:lnTo>
                    <a:pt x="425534" y="30050"/>
                  </a:lnTo>
                  <a:lnTo>
                    <a:pt x="438978" y="5810"/>
                  </a:lnTo>
                  <a:lnTo>
                    <a:pt x="463476" y="5724"/>
                  </a:lnTo>
                  <a:close/>
                </a:path>
              </a:pathLst>
            </a:custGeom>
            <a:solidFill>
              <a:schemeClr val="accent5"/>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6" name="ee4p_41_1_43215"/>
            <p:cNvSpPr>
              <a:spLocks noChangeAspect="1"/>
            </p:cNvSpPr>
            <p:nvPr>
              <p:custDataLst>
                <p:tags r:id="rId22"/>
              </p:custDataLst>
            </p:nvPr>
          </p:nvSpPr>
          <p:spPr bwMode="gray">
            <a:xfrm>
              <a:off x="6072570" y="6154425"/>
              <a:ext cx="219086" cy="114134"/>
            </a:xfrm>
            <a:custGeom>
              <a:avLst/>
              <a:gdLst/>
              <a:ahLst/>
              <a:cxnLst/>
              <a:rect l="0" t="0" r="0" b="0"/>
              <a:pathLst>
                <a:path w="219086" h="114134">
                  <a:moveTo>
                    <a:pt x="219085" y="0"/>
                  </a:moveTo>
                  <a:lnTo>
                    <a:pt x="193483" y="20201"/>
                  </a:lnTo>
                  <a:lnTo>
                    <a:pt x="180010" y="26757"/>
                  </a:lnTo>
                  <a:lnTo>
                    <a:pt x="169304" y="39036"/>
                  </a:lnTo>
                  <a:lnTo>
                    <a:pt x="154252" y="46679"/>
                  </a:lnTo>
                  <a:lnTo>
                    <a:pt x="157197" y="60369"/>
                  </a:lnTo>
                  <a:lnTo>
                    <a:pt x="170885" y="76387"/>
                  </a:lnTo>
                  <a:lnTo>
                    <a:pt x="148525" y="80606"/>
                  </a:lnTo>
                  <a:lnTo>
                    <a:pt x="130902" y="78667"/>
                  </a:lnTo>
                  <a:lnTo>
                    <a:pt x="125338" y="93105"/>
                  </a:lnTo>
                  <a:lnTo>
                    <a:pt x="101914" y="104300"/>
                  </a:lnTo>
                  <a:lnTo>
                    <a:pt x="80851" y="106361"/>
                  </a:lnTo>
                  <a:lnTo>
                    <a:pt x="67178" y="113388"/>
                  </a:lnTo>
                  <a:lnTo>
                    <a:pt x="37997" y="114133"/>
                  </a:lnTo>
                  <a:lnTo>
                    <a:pt x="10958" y="103010"/>
                  </a:lnTo>
                  <a:lnTo>
                    <a:pt x="274" y="85600"/>
                  </a:lnTo>
                  <a:lnTo>
                    <a:pt x="0" y="75293"/>
                  </a:lnTo>
                  <a:lnTo>
                    <a:pt x="34251" y="53708"/>
                  </a:lnTo>
                  <a:lnTo>
                    <a:pt x="49586" y="59450"/>
                  </a:lnTo>
                  <a:lnTo>
                    <a:pt x="60204" y="45451"/>
                  </a:lnTo>
                  <a:lnTo>
                    <a:pt x="58900" y="30558"/>
                  </a:lnTo>
                  <a:lnTo>
                    <a:pt x="75831" y="36066"/>
                  </a:lnTo>
                  <a:lnTo>
                    <a:pt x="113117" y="38433"/>
                  </a:lnTo>
                  <a:lnTo>
                    <a:pt x="148858" y="29568"/>
                  </a:lnTo>
                  <a:lnTo>
                    <a:pt x="175780" y="19104"/>
                  </a:lnTo>
                  <a:lnTo>
                    <a:pt x="179970" y="13491"/>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7" name="ee4p_42_1_43215"/>
            <p:cNvSpPr>
              <a:spLocks noChangeAspect="1"/>
            </p:cNvSpPr>
            <p:nvPr>
              <p:custDataLst>
                <p:tags r:id="rId23"/>
              </p:custDataLst>
            </p:nvPr>
          </p:nvSpPr>
          <p:spPr bwMode="gray">
            <a:xfrm>
              <a:off x="4976404" y="3398100"/>
              <a:ext cx="702094" cy="330997"/>
            </a:xfrm>
            <a:custGeom>
              <a:avLst/>
              <a:gdLst/>
              <a:ahLst/>
              <a:cxnLst/>
              <a:rect l="0" t="0" r="0" b="0"/>
              <a:pathLst>
                <a:path w="702094" h="330997">
                  <a:moveTo>
                    <a:pt x="616116" y="78285"/>
                  </a:moveTo>
                  <a:lnTo>
                    <a:pt x="666294" y="110061"/>
                  </a:lnTo>
                  <a:lnTo>
                    <a:pt x="655365" y="132095"/>
                  </a:lnTo>
                  <a:lnTo>
                    <a:pt x="645906" y="173102"/>
                  </a:lnTo>
                  <a:lnTo>
                    <a:pt x="666662" y="167160"/>
                  </a:lnTo>
                  <a:lnTo>
                    <a:pt x="702093" y="250267"/>
                  </a:lnTo>
                  <a:lnTo>
                    <a:pt x="696213" y="262998"/>
                  </a:lnTo>
                  <a:lnTo>
                    <a:pt x="645290" y="297143"/>
                  </a:lnTo>
                  <a:lnTo>
                    <a:pt x="641654" y="316540"/>
                  </a:lnTo>
                  <a:lnTo>
                    <a:pt x="609902" y="316798"/>
                  </a:lnTo>
                  <a:lnTo>
                    <a:pt x="596885" y="307681"/>
                  </a:lnTo>
                  <a:lnTo>
                    <a:pt x="569582" y="326662"/>
                  </a:lnTo>
                  <a:lnTo>
                    <a:pt x="546331" y="330996"/>
                  </a:lnTo>
                  <a:lnTo>
                    <a:pt x="511330" y="319171"/>
                  </a:lnTo>
                  <a:lnTo>
                    <a:pt x="507532" y="309584"/>
                  </a:lnTo>
                  <a:lnTo>
                    <a:pt x="451562" y="269132"/>
                  </a:lnTo>
                  <a:lnTo>
                    <a:pt x="397481" y="262144"/>
                  </a:lnTo>
                  <a:lnTo>
                    <a:pt x="376199" y="226069"/>
                  </a:lnTo>
                  <a:lnTo>
                    <a:pt x="352511" y="236399"/>
                  </a:lnTo>
                  <a:lnTo>
                    <a:pt x="346463" y="248030"/>
                  </a:lnTo>
                  <a:lnTo>
                    <a:pt x="303573" y="253548"/>
                  </a:lnTo>
                  <a:lnTo>
                    <a:pt x="293647" y="242476"/>
                  </a:lnTo>
                  <a:lnTo>
                    <a:pt x="248966" y="241919"/>
                  </a:lnTo>
                  <a:lnTo>
                    <a:pt x="195272" y="231967"/>
                  </a:lnTo>
                  <a:lnTo>
                    <a:pt x="179442" y="237654"/>
                  </a:lnTo>
                  <a:lnTo>
                    <a:pt x="110885" y="228443"/>
                  </a:lnTo>
                  <a:lnTo>
                    <a:pt x="60773" y="243142"/>
                  </a:lnTo>
                  <a:lnTo>
                    <a:pt x="33392" y="257716"/>
                  </a:lnTo>
                  <a:lnTo>
                    <a:pt x="20831" y="277069"/>
                  </a:lnTo>
                  <a:lnTo>
                    <a:pt x="7748" y="278114"/>
                  </a:lnTo>
                  <a:lnTo>
                    <a:pt x="58" y="258477"/>
                  </a:lnTo>
                  <a:lnTo>
                    <a:pt x="0" y="216399"/>
                  </a:lnTo>
                  <a:lnTo>
                    <a:pt x="7725" y="172078"/>
                  </a:lnTo>
                  <a:lnTo>
                    <a:pt x="41243" y="143055"/>
                  </a:lnTo>
                  <a:lnTo>
                    <a:pt x="41354" y="113178"/>
                  </a:lnTo>
                  <a:lnTo>
                    <a:pt x="71439" y="70153"/>
                  </a:lnTo>
                  <a:lnTo>
                    <a:pt x="98311" y="66215"/>
                  </a:lnTo>
                  <a:lnTo>
                    <a:pt x="147307" y="46894"/>
                  </a:lnTo>
                  <a:lnTo>
                    <a:pt x="165372" y="73692"/>
                  </a:lnTo>
                  <a:lnTo>
                    <a:pt x="207117" y="99644"/>
                  </a:lnTo>
                  <a:lnTo>
                    <a:pt x="218099" y="135295"/>
                  </a:lnTo>
                  <a:lnTo>
                    <a:pt x="255453" y="155130"/>
                  </a:lnTo>
                  <a:lnTo>
                    <a:pt x="285105" y="149312"/>
                  </a:lnTo>
                  <a:lnTo>
                    <a:pt x="311008" y="133846"/>
                  </a:lnTo>
                  <a:lnTo>
                    <a:pt x="331506" y="113362"/>
                  </a:lnTo>
                  <a:lnTo>
                    <a:pt x="325041" y="52851"/>
                  </a:lnTo>
                  <a:lnTo>
                    <a:pt x="325954" y="28231"/>
                  </a:lnTo>
                  <a:lnTo>
                    <a:pt x="348429" y="16250"/>
                  </a:lnTo>
                  <a:lnTo>
                    <a:pt x="372521" y="14745"/>
                  </a:lnTo>
                  <a:lnTo>
                    <a:pt x="398817" y="0"/>
                  </a:lnTo>
                  <a:lnTo>
                    <a:pt x="474511" y="32362"/>
                  </a:lnTo>
                  <a:lnTo>
                    <a:pt x="505244" y="50832"/>
                  </a:lnTo>
                  <a:lnTo>
                    <a:pt x="511797" y="67160"/>
                  </a:lnTo>
                  <a:lnTo>
                    <a:pt x="544807" y="76746"/>
                  </a:lnTo>
                  <a:lnTo>
                    <a:pt x="576832" y="66499"/>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8" name="ee4p_43_1_43215"/>
            <p:cNvSpPr>
              <a:spLocks noChangeAspect="1"/>
            </p:cNvSpPr>
            <p:nvPr>
              <p:custDataLst>
                <p:tags r:id="rId24"/>
              </p:custDataLst>
            </p:nvPr>
          </p:nvSpPr>
          <p:spPr bwMode="gray">
            <a:xfrm>
              <a:off x="4984152" y="3624169"/>
              <a:ext cx="558076" cy="343243"/>
            </a:xfrm>
            <a:custGeom>
              <a:avLst/>
              <a:gdLst/>
              <a:ahLst/>
              <a:cxnLst/>
              <a:rect l="0" t="0" r="0" b="0"/>
              <a:pathLst>
                <a:path w="558076" h="343243">
                  <a:moveTo>
                    <a:pt x="538583" y="104927"/>
                  </a:moveTo>
                  <a:lnTo>
                    <a:pt x="528324" y="128063"/>
                  </a:lnTo>
                  <a:lnTo>
                    <a:pt x="531183" y="144458"/>
                  </a:lnTo>
                  <a:lnTo>
                    <a:pt x="558075" y="155545"/>
                  </a:lnTo>
                  <a:lnTo>
                    <a:pt x="543049" y="175530"/>
                  </a:lnTo>
                  <a:lnTo>
                    <a:pt x="499779" y="182697"/>
                  </a:lnTo>
                  <a:lnTo>
                    <a:pt x="497778" y="197256"/>
                  </a:lnTo>
                  <a:lnTo>
                    <a:pt x="463856" y="206641"/>
                  </a:lnTo>
                  <a:lnTo>
                    <a:pt x="451823" y="223477"/>
                  </a:lnTo>
                  <a:lnTo>
                    <a:pt x="454619" y="253663"/>
                  </a:lnTo>
                  <a:lnTo>
                    <a:pt x="435268" y="281862"/>
                  </a:lnTo>
                  <a:lnTo>
                    <a:pt x="456869" y="299468"/>
                  </a:lnTo>
                  <a:lnTo>
                    <a:pt x="433885" y="310187"/>
                  </a:lnTo>
                  <a:lnTo>
                    <a:pt x="430303" y="290454"/>
                  </a:lnTo>
                  <a:lnTo>
                    <a:pt x="403523" y="295522"/>
                  </a:lnTo>
                  <a:lnTo>
                    <a:pt x="387683" y="312743"/>
                  </a:lnTo>
                  <a:lnTo>
                    <a:pt x="359447" y="317266"/>
                  </a:lnTo>
                  <a:lnTo>
                    <a:pt x="327395" y="343242"/>
                  </a:lnTo>
                  <a:lnTo>
                    <a:pt x="303576" y="334517"/>
                  </a:lnTo>
                  <a:lnTo>
                    <a:pt x="282408" y="340618"/>
                  </a:lnTo>
                  <a:lnTo>
                    <a:pt x="237104" y="336294"/>
                  </a:lnTo>
                  <a:lnTo>
                    <a:pt x="234320" y="310168"/>
                  </a:lnTo>
                  <a:lnTo>
                    <a:pt x="219972" y="297059"/>
                  </a:lnTo>
                  <a:lnTo>
                    <a:pt x="167189" y="282182"/>
                  </a:lnTo>
                  <a:lnTo>
                    <a:pt x="158434" y="270164"/>
                  </a:lnTo>
                  <a:lnTo>
                    <a:pt x="162492" y="232946"/>
                  </a:lnTo>
                  <a:lnTo>
                    <a:pt x="175454" y="225040"/>
                  </a:lnTo>
                  <a:lnTo>
                    <a:pt x="169918" y="208729"/>
                  </a:lnTo>
                  <a:lnTo>
                    <a:pt x="153420" y="201494"/>
                  </a:lnTo>
                  <a:lnTo>
                    <a:pt x="147534" y="187456"/>
                  </a:lnTo>
                  <a:lnTo>
                    <a:pt x="102292" y="193109"/>
                  </a:lnTo>
                  <a:lnTo>
                    <a:pt x="43742" y="171921"/>
                  </a:lnTo>
                  <a:lnTo>
                    <a:pt x="18087" y="149073"/>
                  </a:lnTo>
                  <a:lnTo>
                    <a:pt x="18252" y="134215"/>
                  </a:lnTo>
                  <a:lnTo>
                    <a:pt x="1747" y="98249"/>
                  </a:lnTo>
                  <a:lnTo>
                    <a:pt x="0" y="52045"/>
                  </a:lnTo>
                  <a:lnTo>
                    <a:pt x="13083" y="51000"/>
                  </a:lnTo>
                  <a:lnTo>
                    <a:pt x="25644" y="31647"/>
                  </a:lnTo>
                  <a:lnTo>
                    <a:pt x="53025" y="17073"/>
                  </a:lnTo>
                  <a:lnTo>
                    <a:pt x="103137" y="2374"/>
                  </a:lnTo>
                  <a:lnTo>
                    <a:pt x="171694" y="11585"/>
                  </a:lnTo>
                  <a:lnTo>
                    <a:pt x="187524" y="5898"/>
                  </a:lnTo>
                  <a:lnTo>
                    <a:pt x="241218" y="15850"/>
                  </a:lnTo>
                  <a:lnTo>
                    <a:pt x="285899" y="16407"/>
                  </a:lnTo>
                  <a:lnTo>
                    <a:pt x="295825" y="27479"/>
                  </a:lnTo>
                  <a:lnTo>
                    <a:pt x="338715" y="21961"/>
                  </a:lnTo>
                  <a:lnTo>
                    <a:pt x="344763" y="10330"/>
                  </a:lnTo>
                  <a:lnTo>
                    <a:pt x="368451" y="0"/>
                  </a:lnTo>
                  <a:lnTo>
                    <a:pt x="389733" y="36075"/>
                  </a:lnTo>
                  <a:lnTo>
                    <a:pt x="443814" y="43063"/>
                  </a:lnTo>
                  <a:lnTo>
                    <a:pt x="499784" y="83515"/>
                  </a:lnTo>
                  <a:lnTo>
                    <a:pt x="503582" y="93102"/>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9" name="ee4p_54_1_43215"/>
            <p:cNvSpPr>
              <a:spLocks noChangeAspect="1"/>
            </p:cNvSpPr>
            <p:nvPr>
              <p:custDataLst>
                <p:tags r:id="rId25"/>
              </p:custDataLst>
            </p:nvPr>
          </p:nvSpPr>
          <p:spPr bwMode="gray">
            <a:xfrm>
              <a:off x="5464909" y="5428115"/>
              <a:ext cx="1816266" cy="707513"/>
            </a:xfrm>
            <a:custGeom>
              <a:avLst/>
              <a:gdLst/>
              <a:ahLst/>
              <a:cxnLst/>
              <a:rect l="l" t="t" r="r" b="b"/>
              <a:pathLst>
                <a:path w="1816266" h="707513">
                  <a:moveTo>
                    <a:pt x="863206" y="822"/>
                  </a:moveTo>
                  <a:lnTo>
                    <a:pt x="878650" y="11835"/>
                  </a:lnTo>
                  <a:lnTo>
                    <a:pt x="876427" y="21277"/>
                  </a:lnTo>
                  <a:lnTo>
                    <a:pt x="894456" y="45104"/>
                  </a:lnTo>
                  <a:lnTo>
                    <a:pt x="922519" y="54937"/>
                  </a:lnTo>
                  <a:lnTo>
                    <a:pt x="960024" y="42884"/>
                  </a:lnTo>
                  <a:lnTo>
                    <a:pt x="975592" y="55570"/>
                  </a:lnTo>
                  <a:lnTo>
                    <a:pt x="977248" y="74555"/>
                  </a:lnTo>
                  <a:lnTo>
                    <a:pt x="1004815" y="99350"/>
                  </a:lnTo>
                  <a:lnTo>
                    <a:pt x="1019341" y="94615"/>
                  </a:lnTo>
                  <a:lnTo>
                    <a:pt x="1028479" y="83811"/>
                  </a:lnTo>
                  <a:lnTo>
                    <a:pt x="1060799" y="95027"/>
                  </a:lnTo>
                  <a:lnTo>
                    <a:pt x="1063859" y="105448"/>
                  </a:lnTo>
                  <a:lnTo>
                    <a:pt x="1089554" y="110999"/>
                  </a:lnTo>
                  <a:lnTo>
                    <a:pt x="1113229" y="125356"/>
                  </a:lnTo>
                  <a:lnTo>
                    <a:pt x="1126527" y="113016"/>
                  </a:lnTo>
                  <a:lnTo>
                    <a:pt x="1146152" y="129198"/>
                  </a:lnTo>
                  <a:lnTo>
                    <a:pt x="1193647" y="138164"/>
                  </a:lnTo>
                  <a:lnTo>
                    <a:pt x="1227156" y="133440"/>
                  </a:lnTo>
                  <a:lnTo>
                    <a:pt x="1246865" y="123250"/>
                  </a:lnTo>
                  <a:lnTo>
                    <a:pt x="1270539" y="118644"/>
                  </a:lnTo>
                  <a:lnTo>
                    <a:pt x="1279156" y="122328"/>
                  </a:lnTo>
                  <a:lnTo>
                    <a:pt x="1294183" y="115826"/>
                  </a:lnTo>
                  <a:lnTo>
                    <a:pt x="1319039" y="128362"/>
                  </a:lnTo>
                  <a:lnTo>
                    <a:pt x="1339214" y="133013"/>
                  </a:lnTo>
                  <a:lnTo>
                    <a:pt x="1373859" y="135990"/>
                  </a:lnTo>
                  <a:lnTo>
                    <a:pt x="1388438" y="124905"/>
                  </a:lnTo>
                  <a:lnTo>
                    <a:pt x="1404568" y="124468"/>
                  </a:lnTo>
                  <a:lnTo>
                    <a:pt x="1429077" y="109162"/>
                  </a:lnTo>
                  <a:lnTo>
                    <a:pt x="1454790" y="102388"/>
                  </a:lnTo>
                  <a:lnTo>
                    <a:pt x="1481482" y="84778"/>
                  </a:lnTo>
                  <a:lnTo>
                    <a:pt x="1501228" y="67713"/>
                  </a:lnTo>
                  <a:lnTo>
                    <a:pt x="1528111" y="77941"/>
                  </a:lnTo>
                  <a:lnTo>
                    <a:pt x="1540671" y="67448"/>
                  </a:lnTo>
                  <a:lnTo>
                    <a:pt x="1572714" y="70979"/>
                  </a:lnTo>
                  <a:lnTo>
                    <a:pt x="1590526" y="77572"/>
                  </a:lnTo>
                  <a:lnTo>
                    <a:pt x="1603216" y="60237"/>
                  </a:lnTo>
                  <a:lnTo>
                    <a:pt x="1620044" y="60977"/>
                  </a:lnTo>
                  <a:lnTo>
                    <a:pt x="1627690" y="73468"/>
                  </a:lnTo>
                  <a:lnTo>
                    <a:pt x="1662447" y="94387"/>
                  </a:lnTo>
                  <a:lnTo>
                    <a:pt x="1664646" y="107491"/>
                  </a:lnTo>
                  <a:lnTo>
                    <a:pt x="1685116" y="107361"/>
                  </a:lnTo>
                  <a:lnTo>
                    <a:pt x="1688663" y="125133"/>
                  </a:lnTo>
                  <a:lnTo>
                    <a:pt x="1706918" y="136209"/>
                  </a:lnTo>
                  <a:lnTo>
                    <a:pt x="1713588" y="166070"/>
                  </a:lnTo>
                  <a:lnTo>
                    <a:pt x="1699209" y="185058"/>
                  </a:lnTo>
                  <a:lnTo>
                    <a:pt x="1700581" y="200201"/>
                  </a:lnTo>
                  <a:lnTo>
                    <a:pt x="1711079" y="224413"/>
                  </a:lnTo>
                  <a:lnTo>
                    <a:pt x="1706513" y="230555"/>
                  </a:lnTo>
                  <a:lnTo>
                    <a:pt x="1730116" y="240220"/>
                  </a:lnTo>
                  <a:lnTo>
                    <a:pt x="1765984" y="237098"/>
                  </a:lnTo>
                  <a:lnTo>
                    <a:pt x="1785840" y="246606"/>
                  </a:lnTo>
                  <a:lnTo>
                    <a:pt x="1800710" y="264732"/>
                  </a:lnTo>
                  <a:lnTo>
                    <a:pt x="1784229" y="276674"/>
                  </a:lnTo>
                  <a:lnTo>
                    <a:pt x="1779852" y="306505"/>
                  </a:lnTo>
                  <a:lnTo>
                    <a:pt x="1768113" y="312086"/>
                  </a:lnTo>
                  <a:lnTo>
                    <a:pt x="1746077" y="309320"/>
                  </a:lnTo>
                  <a:lnTo>
                    <a:pt x="1745870" y="317895"/>
                  </a:lnTo>
                  <a:lnTo>
                    <a:pt x="1759592" y="340519"/>
                  </a:lnTo>
                  <a:lnTo>
                    <a:pt x="1754363" y="355383"/>
                  </a:lnTo>
                  <a:lnTo>
                    <a:pt x="1767993" y="377449"/>
                  </a:lnTo>
                  <a:lnTo>
                    <a:pt x="1763987" y="387125"/>
                  </a:lnTo>
                  <a:lnTo>
                    <a:pt x="1769353" y="399675"/>
                  </a:lnTo>
                  <a:lnTo>
                    <a:pt x="1769447" y="425697"/>
                  </a:lnTo>
                  <a:lnTo>
                    <a:pt x="1784458" y="433044"/>
                  </a:lnTo>
                  <a:lnTo>
                    <a:pt x="1761781" y="473083"/>
                  </a:lnTo>
                  <a:lnTo>
                    <a:pt x="1760338" y="479936"/>
                  </a:lnTo>
                  <a:lnTo>
                    <a:pt x="1794492" y="494765"/>
                  </a:lnTo>
                  <a:lnTo>
                    <a:pt x="1795665" y="530965"/>
                  </a:lnTo>
                  <a:lnTo>
                    <a:pt x="1816266" y="544521"/>
                  </a:lnTo>
                  <a:lnTo>
                    <a:pt x="1815444" y="560733"/>
                  </a:lnTo>
                  <a:lnTo>
                    <a:pt x="1800834" y="559375"/>
                  </a:lnTo>
                  <a:lnTo>
                    <a:pt x="1763556" y="581956"/>
                  </a:lnTo>
                  <a:lnTo>
                    <a:pt x="1757638" y="569634"/>
                  </a:lnTo>
                  <a:lnTo>
                    <a:pt x="1764088" y="562160"/>
                  </a:lnTo>
                  <a:lnTo>
                    <a:pt x="1760985" y="549587"/>
                  </a:lnTo>
                  <a:lnTo>
                    <a:pt x="1739539" y="544954"/>
                  </a:lnTo>
                  <a:lnTo>
                    <a:pt x="1730245" y="555123"/>
                  </a:lnTo>
                  <a:lnTo>
                    <a:pt x="1689302" y="552373"/>
                  </a:lnTo>
                  <a:lnTo>
                    <a:pt x="1657065" y="538691"/>
                  </a:lnTo>
                  <a:lnTo>
                    <a:pt x="1638064" y="544309"/>
                  </a:lnTo>
                  <a:lnTo>
                    <a:pt x="1621240" y="537597"/>
                  </a:lnTo>
                  <a:lnTo>
                    <a:pt x="1601179" y="563248"/>
                  </a:lnTo>
                  <a:lnTo>
                    <a:pt x="1581573" y="567279"/>
                  </a:lnTo>
                  <a:lnTo>
                    <a:pt x="1579113" y="554610"/>
                  </a:lnTo>
                  <a:lnTo>
                    <a:pt x="1562591" y="547989"/>
                  </a:lnTo>
                  <a:lnTo>
                    <a:pt x="1550601" y="558890"/>
                  </a:lnTo>
                  <a:lnTo>
                    <a:pt x="1529632" y="565885"/>
                  </a:lnTo>
                  <a:lnTo>
                    <a:pt x="1501365" y="570866"/>
                  </a:lnTo>
                  <a:lnTo>
                    <a:pt x="1469252" y="572289"/>
                  </a:lnTo>
                  <a:lnTo>
                    <a:pt x="1441535" y="565915"/>
                  </a:lnTo>
                  <a:lnTo>
                    <a:pt x="1426131" y="567214"/>
                  </a:lnTo>
                  <a:lnTo>
                    <a:pt x="1394867" y="578658"/>
                  </a:lnTo>
                  <a:lnTo>
                    <a:pt x="1372287" y="591946"/>
                  </a:lnTo>
                  <a:lnTo>
                    <a:pt x="1333928" y="607750"/>
                  </a:lnTo>
                  <a:lnTo>
                    <a:pt x="1276199" y="617550"/>
                  </a:lnTo>
                  <a:lnTo>
                    <a:pt x="1258968" y="612793"/>
                  </a:lnTo>
                  <a:lnTo>
                    <a:pt x="1228175" y="613302"/>
                  </a:lnTo>
                  <a:lnTo>
                    <a:pt x="1210353" y="597672"/>
                  </a:lnTo>
                  <a:lnTo>
                    <a:pt x="1195380" y="591666"/>
                  </a:lnTo>
                  <a:lnTo>
                    <a:pt x="1175516" y="590832"/>
                  </a:lnTo>
                  <a:lnTo>
                    <a:pt x="1160252" y="599221"/>
                  </a:lnTo>
                  <a:lnTo>
                    <a:pt x="1112832" y="616169"/>
                  </a:lnTo>
                  <a:lnTo>
                    <a:pt x="1073560" y="618235"/>
                  </a:lnTo>
                  <a:lnTo>
                    <a:pt x="1060092" y="607325"/>
                  </a:lnTo>
                  <a:lnTo>
                    <a:pt x="1028569" y="600913"/>
                  </a:lnTo>
                  <a:lnTo>
                    <a:pt x="1017637" y="637243"/>
                  </a:lnTo>
                  <a:lnTo>
                    <a:pt x="1030611" y="665035"/>
                  </a:lnTo>
                  <a:lnTo>
                    <a:pt x="1002410" y="667630"/>
                  </a:lnTo>
                  <a:lnTo>
                    <a:pt x="1000741" y="691435"/>
                  </a:lnTo>
                  <a:lnTo>
                    <a:pt x="986094" y="695375"/>
                  </a:lnTo>
                  <a:lnTo>
                    <a:pt x="976848" y="707513"/>
                  </a:lnTo>
                  <a:lnTo>
                    <a:pt x="956517" y="699075"/>
                  </a:lnTo>
                  <a:lnTo>
                    <a:pt x="962403" y="689057"/>
                  </a:lnTo>
                  <a:lnTo>
                    <a:pt x="943131" y="655986"/>
                  </a:lnTo>
                  <a:lnTo>
                    <a:pt x="954964" y="642737"/>
                  </a:lnTo>
                  <a:lnTo>
                    <a:pt x="980185" y="625345"/>
                  </a:lnTo>
                  <a:lnTo>
                    <a:pt x="984373" y="604513"/>
                  </a:lnTo>
                  <a:lnTo>
                    <a:pt x="964953" y="588171"/>
                  </a:lnTo>
                  <a:lnTo>
                    <a:pt x="944344" y="606048"/>
                  </a:lnTo>
                  <a:lnTo>
                    <a:pt x="932280" y="606266"/>
                  </a:lnTo>
                  <a:lnTo>
                    <a:pt x="927502" y="624529"/>
                  </a:lnTo>
                  <a:lnTo>
                    <a:pt x="899092" y="629381"/>
                  </a:lnTo>
                  <a:lnTo>
                    <a:pt x="851611" y="603697"/>
                  </a:lnTo>
                  <a:lnTo>
                    <a:pt x="834394" y="601996"/>
                  </a:lnTo>
                  <a:lnTo>
                    <a:pt x="798188" y="626174"/>
                  </a:lnTo>
                  <a:lnTo>
                    <a:pt x="778581" y="645928"/>
                  </a:lnTo>
                  <a:lnTo>
                    <a:pt x="775073" y="658596"/>
                  </a:lnTo>
                  <a:lnTo>
                    <a:pt x="759412" y="656073"/>
                  </a:lnTo>
                  <a:lnTo>
                    <a:pt x="741757" y="672011"/>
                  </a:lnTo>
                  <a:lnTo>
                    <a:pt x="669368" y="679738"/>
                  </a:lnTo>
                  <a:lnTo>
                    <a:pt x="655332" y="688650"/>
                  </a:lnTo>
                  <a:lnTo>
                    <a:pt x="641966" y="686332"/>
                  </a:lnTo>
                  <a:lnTo>
                    <a:pt x="615087" y="673193"/>
                  </a:lnTo>
                  <a:lnTo>
                    <a:pt x="605967" y="665232"/>
                  </a:lnTo>
                  <a:lnTo>
                    <a:pt x="581989" y="632860"/>
                  </a:lnTo>
                  <a:lnTo>
                    <a:pt x="544951" y="619336"/>
                  </a:lnTo>
                  <a:lnTo>
                    <a:pt x="510110" y="600944"/>
                  </a:lnTo>
                  <a:lnTo>
                    <a:pt x="481234" y="596158"/>
                  </a:lnTo>
                  <a:lnTo>
                    <a:pt x="456999" y="597362"/>
                  </a:lnTo>
                  <a:lnTo>
                    <a:pt x="439508" y="603203"/>
                  </a:lnTo>
                  <a:lnTo>
                    <a:pt x="440803" y="627125"/>
                  </a:lnTo>
                  <a:lnTo>
                    <a:pt x="422466" y="663782"/>
                  </a:lnTo>
                  <a:lnTo>
                    <a:pt x="410515" y="656312"/>
                  </a:lnTo>
                  <a:lnTo>
                    <a:pt x="395030" y="663918"/>
                  </a:lnTo>
                  <a:lnTo>
                    <a:pt x="361599" y="674302"/>
                  </a:lnTo>
                  <a:lnTo>
                    <a:pt x="321790" y="665709"/>
                  </a:lnTo>
                  <a:lnTo>
                    <a:pt x="300454" y="651327"/>
                  </a:lnTo>
                  <a:lnTo>
                    <a:pt x="291623" y="629448"/>
                  </a:lnTo>
                  <a:lnTo>
                    <a:pt x="296002" y="616077"/>
                  </a:lnTo>
                  <a:lnTo>
                    <a:pt x="282213" y="609632"/>
                  </a:lnTo>
                  <a:lnTo>
                    <a:pt x="255562" y="613088"/>
                  </a:lnTo>
                  <a:lnTo>
                    <a:pt x="247210" y="600917"/>
                  </a:lnTo>
                  <a:lnTo>
                    <a:pt x="229718" y="603940"/>
                  </a:lnTo>
                  <a:lnTo>
                    <a:pt x="199616" y="619811"/>
                  </a:lnTo>
                  <a:lnTo>
                    <a:pt x="187185" y="607924"/>
                  </a:lnTo>
                  <a:lnTo>
                    <a:pt x="166132" y="606447"/>
                  </a:lnTo>
                  <a:lnTo>
                    <a:pt x="158745" y="616800"/>
                  </a:lnTo>
                  <a:lnTo>
                    <a:pt x="135064" y="608339"/>
                  </a:lnTo>
                  <a:lnTo>
                    <a:pt x="173521" y="601146"/>
                  </a:lnTo>
                  <a:lnTo>
                    <a:pt x="189591" y="602645"/>
                  </a:lnTo>
                  <a:lnTo>
                    <a:pt x="197348" y="586986"/>
                  </a:lnTo>
                  <a:lnTo>
                    <a:pt x="183177" y="576923"/>
                  </a:lnTo>
                  <a:lnTo>
                    <a:pt x="170765" y="580738"/>
                  </a:lnTo>
                  <a:lnTo>
                    <a:pt x="118334" y="583033"/>
                  </a:lnTo>
                  <a:lnTo>
                    <a:pt x="115388" y="573887"/>
                  </a:lnTo>
                  <a:lnTo>
                    <a:pt x="128869" y="562869"/>
                  </a:lnTo>
                  <a:lnTo>
                    <a:pt x="137900" y="571205"/>
                  </a:lnTo>
                  <a:lnTo>
                    <a:pt x="153234" y="549848"/>
                  </a:lnTo>
                  <a:lnTo>
                    <a:pt x="118155" y="542946"/>
                  </a:lnTo>
                  <a:lnTo>
                    <a:pt x="113267" y="513310"/>
                  </a:lnTo>
                  <a:lnTo>
                    <a:pt x="120201" y="474867"/>
                  </a:lnTo>
                  <a:lnTo>
                    <a:pt x="83744" y="461750"/>
                  </a:lnTo>
                  <a:lnTo>
                    <a:pt x="71262" y="444627"/>
                  </a:lnTo>
                  <a:lnTo>
                    <a:pt x="46704" y="449506"/>
                  </a:lnTo>
                  <a:lnTo>
                    <a:pt x="21801" y="438363"/>
                  </a:lnTo>
                  <a:lnTo>
                    <a:pt x="40490" y="429564"/>
                  </a:lnTo>
                  <a:lnTo>
                    <a:pt x="46716" y="420174"/>
                  </a:lnTo>
                  <a:lnTo>
                    <a:pt x="32790" y="409017"/>
                  </a:lnTo>
                  <a:lnTo>
                    <a:pt x="30989" y="396905"/>
                  </a:lnTo>
                  <a:lnTo>
                    <a:pt x="46449" y="395792"/>
                  </a:lnTo>
                  <a:lnTo>
                    <a:pt x="75063" y="428719"/>
                  </a:lnTo>
                  <a:lnTo>
                    <a:pt x="88853" y="418734"/>
                  </a:lnTo>
                  <a:lnTo>
                    <a:pt x="70114" y="399406"/>
                  </a:lnTo>
                  <a:lnTo>
                    <a:pt x="67144" y="387492"/>
                  </a:lnTo>
                  <a:lnTo>
                    <a:pt x="95575" y="370764"/>
                  </a:lnTo>
                  <a:lnTo>
                    <a:pt x="73883" y="360149"/>
                  </a:lnTo>
                  <a:lnTo>
                    <a:pt x="82609" y="348253"/>
                  </a:lnTo>
                  <a:lnTo>
                    <a:pt x="57425" y="320620"/>
                  </a:lnTo>
                  <a:lnTo>
                    <a:pt x="86985" y="300929"/>
                  </a:lnTo>
                  <a:lnTo>
                    <a:pt x="67222" y="291665"/>
                  </a:lnTo>
                  <a:lnTo>
                    <a:pt x="32524" y="300946"/>
                  </a:lnTo>
                  <a:lnTo>
                    <a:pt x="2892" y="301620"/>
                  </a:lnTo>
                  <a:lnTo>
                    <a:pt x="12653" y="281163"/>
                  </a:lnTo>
                  <a:lnTo>
                    <a:pt x="11422" y="252893"/>
                  </a:lnTo>
                  <a:lnTo>
                    <a:pt x="16042" y="241255"/>
                  </a:lnTo>
                  <a:lnTo>
                    <a:pt x="27917" y="240372"/>
                  </a:lnTo>
                  <a:lnTo>
                    <a:pt x="36447" y="228861"/>
                  </a:lnTo>
                  <a:lnTo>
                    <a:pt x="70064" y="196211"/>
                  </a:lnTo>
                  <a:lnTo>
                    <a:pt x="96801" y="197838"/>
                  </a:lnTo>
                  <a:lnTo>
                    <a:pt x="121276" y="188577"/>
                  </a:lnTo>
                  <a:lnTo>
                    <a:pt x="126399" y="200804"/>
                  </a:lnTo>
                  <a:lnTo>
                    <a:pt x="142580" y="207556"/>
                  </a:lnTo>
                  <a:lnTo>
                    <a:pt x="169292" y="206657"/>
                  </a:lnTo>
                  <a:lnTo>
                    <a:pt x="178420" y="198869"/>
                  </a:lnTo>
                  <a:lnTo>
                    <a:pt x="177810" y="183254"/>
                  </a:lnTo>
                  <a:lnTo>
                    <a:pt x="208454" y="196779"/>
                  </a:lnTo>
                  <a:lnTo>
                    <a:pt x="239515" y="197178"/>
                  </a:lnTo>
                  <a:lnTo>
                    <a:pt x="254341" y="201257"/>
                  </a:lnTo>
                  <a:lnTo>
                    <a:pt x="283814" y="189628"/>
                  </a:lnTo>
                  <a:lnTo>
                    <a:pt x="265951" y="183137"/>
                  </a:lnTo>
                  <a:lnTo>
                    <a:pt x="286754" y="168461"/>
                  </a:lnTo>
                  <a:lnTo>
                    <a:pt x="341000" y="163817"/>
                  </a:lnTo>
                  <a:lnTo>
                    <a:pt x="334460" y="153064"/>
                  </a:lnTo>
                  <a:lnTo>
                    <a:pt x="321362" y="155888"/>
                  </a:lnTo>
                  <a:lnTo>
                    <a:pt x="314676" y="144442"/>
                  </a:lnTo>
                  <a:lnTo>
                    <a:pt x="290782" y="130155"/>
                  </a:lnTo>
                  <a:lnTo>
                    <a:pt x="295417" y="107876"/>
                  </a:lnTo>
                  <a:lnTo>
                    <a:pt x="295835" y="107086"/>
                  </a:lnTo>
                  <a:lnTo>
                    <a:pt x="311936" y="100659"/>
                  </a:lnTo>
                  <a:lnTo>
                    <a:pt x="369328" y="111922"/>
                  </a:lnTo>
                  <a:lnTo>
                    <a:pt x="398699" y="111900"/>
                  </a:lnTo>
                  <a:lnTo>
                    <a:pt x="410833" y="104078"/>
                  </a:lnTo>
                  <a:lnTo>
                    <a:pt x="457029" y="117833"/>
                  </a:lnTo>
                  <a:lnTo>
                    <a:pt x="481841" y="119390"/>
                  </a:lnTo>
                  <a:lnTo>
                    <a:pt x="509244" y="114366"/>
                  </a:lnTo>
                  <a:lnTo>
                    <a:pt x="519492" y="104317"/>
                  </a:lnTo>
                  <a:lnTo>
                    <a:pt x="518538" y="92567"/>
                  </a:lnTo>
                  <a:lnTo>
                    <a:pt x="565481" y="68580"/>
                  </a:lnTo>
                  <a:lnTo>
                    <a:pt x="591796" y="57773"/>
                  </a:lnTo>
                  <a:lnTo>
                    <a:pt x="604887" y="44633"/>
                  </a:lnTo>
                  <a:lnTo>
                    <a:pt x="627021" y="34632"/>
                  </a:lnTo>
                  <a:lnTo>
                    <a:pt x="659984" y="28377"/>
                  </a:lnTo>
                  <a:lnTo>
                    <a:pt x="706995" y="9783"/>
                  </a:lnTo>
                  <a:lnTo>
                    <a:pt x="730776" y="13481"/>
                  </a:lnTo>
                  <a:lnTo>
                    <a:pt x="780158" y="14566"/>
                  </a:lnTo>
                  <a:lnTo>
                    <a:pt x="799023" y="18875"/>
                  </a:lnTo>
                  <a:lnTo>
                    <a:pt x="848110" y="17396"/>
                  </a:lnTo>
                  <a:close/>
                  <a:moveTo>
                    <a:pt x="119781" y="0"/>
                  </a:moveTo>
                  <a:lnTo>
                    <a:pt x="145929" y="21885"/>
                  </a:lnTo>
                  <a:lnTo>
                    <a:pt x="160906" y="14696"/>
                  </a:lnTo>
                  <a:lnTo>
                    <a:pt x="193789" y="14090"/>
                  </a:lnTo>
                  <a:lnTo>
                    <a:pt x="188820" y="33185"/>
                  </a:lnTo>
                  <a:lnTo>
                    <a:pt x="200265" y="55354"/>
                  </a:lnTo>
                  <a:lnTo>
                    <a:pt x="216734" y="70556"/>
                  </a:lnTo>
                  <a:lnTo>
                    <a:pt x="251405" y="87396"/>
                  </a:lnTo>
                  <a:lnTo>
                    <a:pt x="297673" y="103609"/>
                  </a:lnTo>
                  <a:lnTo>
                    <a:pt x="295835" y="107086"/>
                  </a:lnTo>
                  <a:lnTo>
                    <a:pt x="295558" y="107196"/>
                  </a:lnTo>
                  <a:lnTo>
                    <a:pt x="295417" y="107876"/>
                  </a:lnTo>
                  <a:lnTo>
                    <a:pt x="284934" y="127699"/>
                  </a:lnTo>
                  <a:lnTo>
                    <a:pt x="250336" y="132296"/>
                  </a:lnTo>
                  <a:lnTo>
                    <a:pt x="223259" y="121031"/>
                  </a:lnTo>
                  <a:lnTo>
                    <a:pt x="206821" y="119344"/>
                  </a:lnTo>
                  <a:lnTo>
                    <a:pt x="186044" y="131929"/>
                  </a:lnTo>
                  <a:lnTo>
                    <a:pt x="167437" y="126165"/>
                  </a:lnTo>
                  <a:lnTo>
                    <a:pt x="143216" y="130671"/>
                  </a:lnTo>
                  <a:lnTo>
                    <a:pt x="137591" y="145616"/>
                  </a:lnTo>
                  <a:lnTo>
                    <a:pt x="123544" y="161973"/>
                  </a:lnTo>
                  <a:lnTo>
                    <a:pt x="107585" y="172066"/>
                  </a:lnTo>
                  <a:lnTo>
                    <a:pt x="68501" y="187806"/>
                  </a:lnTo>
                  <a:lnTo>
                    <a:pt x="54140" y="205552"/>
                  </a:lnTo>
                  <a:lnTo>
                    <a:pt x="37914" y="217157"/>
                  </a:lnTo>
                  <a:lnTo>
                    <a:pt x="25584" y="232683"/>
                  </a:lnTo>
                  <a:lnTo>
                    <a:pt x="20174" y="206413"/>
                  </a:lnTo>
                  <a:lnTo>
                    <a:pt x="50027" y="187478"/>
                  </a:lnTo>
                  <a:lnTo>
                    <a:pt x="77935" y="175352"/>
                  </a:lnTo>
                  <a:lnTo>
                    <a:pt x="72716" y="167109"/>
                  </a:lnTo>
                  <a:lnTo>
                    <a:pt x="26217" y="174819"/>
                  </a:lnTo>
                  <a:lnTo>
                    <a:pt x="7334" y="173914"/>
                  </a:lnTo>
                  <a:lnTo>
                    <a:pt x="0" y="158777"/>
                  </a:lnTo>
                  <a:lnTo>
                    <a:pt x="31606" y="133599"/>
                  </a:lnTo>
                  <a:lnTo>
                    <a:pt x="29609" y="97967"/>
                  </a:lnTo>
                  <a:lnTo>
                    <a:pt x="58294" y="83317"/>
                  </a:lnTo>
                  <a:lnTo>
                    <a:pt x="54908" y="58638"/>
                  </a:lnTo>
                  <a:lnTo>
                    <a:pt x="31459" y="45641"/>
                  </a:lnTo>
                  <a:lnTo>
                    <a:pt x="32541" y="32938"/>
                  </a:lnTo>
                  <a:lnTo>
                    <a:pt x="48947" y="32614"/>
                  </a:lnTo>
                  <a:lnTo>
                    <a:pt x="58427" y="15259"/>
                  </a:lnTo>
                  <a:lnTo>
                    <a:pt x="90341" y="11871"/>
                  </a:lnTo>
                  <a:lnTo>
                    <a:pt x="100084" y="1295"/>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0" name="ee4p_57_1_43215"/>
            <p:cNvSpPr>
              <a:spLocks noChangeAspect="1"/>
            </p:cNvSpPr>
            <p:nvPr>
              <p:custDataLst>
                <p:tags r:id="rId26"/>
              </p:custDataLst>
            </p:nvPr>
          </p:nvSpPr>
          <p:spPr bwMode="gray">
            <a:xfrm>
              <a:off x="4256514" y="4900217"/>
              <a:ext cx="568363" cy="430418"/>
            </a:xfrm>
            <a:custGeom>
              <a:avLst/>
              <a:gdLst/>
              <a:ahLst/>
              <a:cxnLst/>
              <a:rect l="l" t="t" r="r" b="b"/>
              <a:pathLst>
                <a:path w="568363" h="430418">
                  <a:moveTo>
                    <a:pt x="286793" y="378161"/>
                  </a:moveTo>
                  <a:lnTo>
                    <a:pt x="316136" y="381959"/>
                  </a:lnTo>
                  <a:lnTo>
                    <a:pt x="320321" y="391454"/>
                  </a:lnTo>
                  <a:lnTo>
                    <a:pt x="289040" y="391622"/>
                  </a:lnTo>
                  <a:close/>
                  <a:moveTo>
                    <a:pt x="129569" y="237453"/>
                  </a:moveTo>
                  <a:lnTo>
                    <a:pt x="164764" y="263991"/>
                  </a:lnTo>
                  <a:lnTo>
                    <a:pt x="151172" y="265036"/>
                  </a:lnTo>
                  <a:lnTo>
                    <a:pt x="131902" y="248040"/>
                  </a:lnTo>
                  <a:close/>
                  <a:moveTo>
                    <a:pt x="75770" y="166342"/>
                  </a:moveTo>
                  <a:lnTo>
                    <a:pt x="85171" y="188439"/>
                  </a:lnTo>
                  <a:lnTo>
                    <a:pt x="94484" y="229320"/>
                  </a:lnTo>
                  <a:lnTo>
                    <a:pt x="81968" y="223076"/>
                  </a:lnTo>
                  <a:lnTo>
                    <a:pt x="80941" y="187922"/>
                  </a:lnTo>
                  <a:close/>
                  <a:moveTo>
                    <a:pt x="101763" y="158688"/>
                  </a:moveTo>
                  <a:lnTo>
                    <a:pt x="112502" y="193412"/>
                  </a:lnTo>
                  <a:lnTo>
                    <a:pt x="92349" y="183875"/>
                  </a:lnTo>
                  <a:close/>
                  <a:moveTo>
                    <a:pt x="273022" y="0"/>
                  </a:moveTo>
                  <a:lnTo>
                    <a:pt x="295366" y="8595"/>
                  </a:lnTo>
                  <a:lnTo>
                    <a:pt x="321406" y="23345"/>
                  </a:lnTo>
                  <a:lnTo>
                    <a:pt x="331783" y="39059"/>
                  </a:lnTo>
                  <a:lnTo>
                    <a:pt x="351774" y="48000"/>
                  </a:lnTo>
                  <a:lnTo>
                    <a:pt x="359404" y="64494"/>
                  </a:lnTo>
                  <a:lnTo>
                    <a:pt x="388650" y="73756"/>
                  </a:lnTo>
                  <a:lnTo>
                    <a:pt x="399439" y="86207"/>
                  </a:lnTo>
                  <a:lnTo>
                    <a:pt x="419090" y="92929"/>
                  </a:lnTo>
                  <a:lnTo>
                    <a:pt x="443123" y="91672"/>
                  </a:lnTo>
                  <a:lnTo>
                    <a:pt x="474381" y="97978"/>
                  </a:lnTo>
                  <a:lnTo>
                    <a:pt x="499396" y="76135"/>
                  </a:lnTo>
                  <a:lnTo>
                    <a:pt x="517232" y="75767"/>
                  </a:lnTo>
                  <a:lnTo>
                    <a:pt x="525820" y="97628"/>
                  </a:lnTo>
                  <a:lnTo>
                    <a:pt x="522684" y="122383"/>
                  </a:lnTo>
                  <a:lnTo>
                    <a:pt x="528407" y="143669"/>
                  </a:lnTo>
                  <a:lnTo>
                    <a:pt x="568363" y="166564"/>
                  </a:lnTo>
                  <a:lnTo>
                    <a:pt x="545995" y="166599"/>
                  </a:lnTo>
                  <a:lnTo>
                    <a:pt x="538157" y="176985"/>
                  </a:lnTo>
                  <a:lnTo>
                    <a:pt x="541810" y="193509"/>
                  </a:lnTo>
                  <a:lnTo>
                    <a:pt x="513365" y="203848"/>
                  </a:lnTo>
                  <a:lnTo>
                    <a:pt x="508153" y="187367"/>
                  </a:lnTo>
                  <a:lnTo>
                    <a:pt x="495749" y="179073"/>
                  </a:lnTo>
                  <a:lnTo>
                    <a:pt x="477369" y="179030"/>
                  </a:lnTo>
                  <a:lnTo>
                    <a:pt x="453988" y="170173"/>
                  </a:lnTo>
                  <a:lnTo>
                    <a:pt x="442752" y="176865"/>
                  </a:lnTo>
                  <a:lnTo>
                    <a:pt x="430577" y="168672"/>
                  </a:lnTo>
                  <a:lnTo>
                    <a:pt x="414993" y="180677"/>
                  </a:lnTo>
                  <a:lnTo>
                    <a:pt x="391655" y="173671"/>
                  </a:lnTo>
                  <a:lnTo>
                    <a:pt x="351581" y="168841"/>
                  </a:lnTo>
                  <a:lnTo>
                    <a:pt x="333474" y="159823"/>
                  </a:lnTo>
                  <a:lnTo>
                    <a:pt x="285124" y="161625"/>
                  </a:lnTo>
                  <a:lnTo>
                    <a:pt x="265560" y="186979"/>
                  </a:lnTo>
                  <a:lnTo>
                    <a:pt x="248208" y="175388"/>
                  </a:lnTo>
                  <a:lnTo>
                    <a:pt x="239725" y="162325"/>
                  </a:lnTo>
                  <a:lnTo>
                    <a:pt x="214845" y="166831"/>
                  </a:lnTo>
                  <a:lnTo>
                    <a:pt x="216678" y="189488"/>
                  </a:lnTo>
                  <a:lnTo>
                    <a:pt x="211371" y="207339"/>
                  </a:lnTo>
                  <a:lnTo>
                    <a:pt x="216484" y="216336"/>
                  </a:lnTo>
                  <a:lnTo>
                    <a:pt x="240689" y="227856"/>
                  </a:lnTo>
                  <a:lnTo>
                    <a:pt x="251258" y="248506"/>
                  </a:lnTo>
                  <a:lnTo>
                    <a:pt x="258174" y="279754"/>
                  </a:lnTo>
                  <a:lnTo>
                    <a:pt x="280402" y="302058"/>
                  </a:lnTo>
                  <a:lnTo>
                    <a:pt x="306342" y="322645"/>
                  </a:lnTo>
                  <a:lnTo>
                    <a:pt x="335152" y="355543"/>
                  </a:lnTo>
                  <a:lnTo>
                    <a:pt x="361715" y="368328"/>
                  </a:lnTo>
                  <a:lnTo>
                    <a:pt x="360062" y="379510"/>
                  </a:lnTo>
                  <a:lnTo>
                    <a:pt x="375697" y="401183"/>
                  </a:lnTo>
                  <a:lnTo>
                    <a:pt x="396424" y="412845"/>
                  </a:lnTo>
                  <a:lnTo>
                    <a:pt x="402631" y="425728"/>
                  </a:lnTo>
                  <a:lnTo>
                    <a:pt x="387049" y="430418"/>
                  </a:lnTo>
                  <a:lnTo>
                    <a:pt x="366856" y="410155"/>
                  </a:lnTo>
                  <a:lnTo>
                    <a:pt x="341862" y="395864"/>
                  </a:lnTo>
                  <a:lnTo>
                    <a:pt x="321665" y="376624"/>
                  </a:lnTo>
                  <a:lnTo>
                    <a:pt x="299679" y="371836"/>
                  </a:lnTo>
                  <a:lnTo>
                    <a:pt x="277283" y="359265"/>
                  </a:lnTo>
                  <a:lnTo>
                    <a:pt x="248611" y="367970"/>
                  </a:lnTo>
                  <a:lnTo>
                    <a:pt x="229513" y="355800"/>
                  </a:lnTo>
                  <a:lnTo>
                    <a:pt x="227348" y="340970"/>
                  </a:lnTo>
                  <a:lnTo>
                    <a:pt x="208219" y="332595"/>
                  </a:lnTo>
                  <a:lnTo>
                    <a:pt x="186207" y="315548"/>
                  </a:lnTo>
                  <a:lnTo>
                    <a:pt x="155949" y="284076"/>
                  </a:lnTo>
                  <a:lnTo>
                    <a:pt x="168343" y="262536"/>
                  </a:lnTo>
                  <a:lnTo>
                    <a:pt x="139744" y="237314"/>
                  </a:lnTo>
                  <a:lnTo>
                    <a:pt x="129182" y="211368"/>
                  </a:lnTo>
                  <a:lnTo>
                    <a:pt x="133873" y="192212"/>
                  </a:lnTo>
                  <a:lnTo>
                    <a:pt x="124824" y="173532"/>
                  </a:lnTo>
                  <a:lnTo>
                    <a:pt x="96542" y="153192"/>
                  </a:lnTo>
                  <a:lnTo>
                    <a:pt x="75663" y="143931"/>
                  </a:lnTo>
                  <a:lnTo>
                    <a:pt x="65838" y="169913"/>
                  </a:lnTo>
                  <a:lnTo>
                    <a:pt x="42067" y="205469"/>
                  </a:lnTo>
                  <a:lnTo>
                    <a:pt x="31908" y="209820"/>
                  </a:lnTo>
                  <a:lnTo>
                    <a:pt x="20970" y="188488"/>
                  </a:lnTo>
                  <a:lnTo>
                    <a:pt x="5082" y="169655"/>
                  </a:lnTo>
                  <a:lnTo>
                    <a:pt x="0" y="146532"/>
                  </a:lnTo>
                  <a:lnTo>
                    <a:pt x="3755" y="129226"/>
                  </a:lnTo>
                  <a:lnTo>
                    <a:pt x="26248" y="134402"/>
                  </a:lnTo>
                  <a:lnTo>
                    <a:pt x="91477" y="122029"/>
                  </a:lnTo>
                  <a:lnTo>
                    <a:pt x="98872" y="108206"/>
                  </a:lnTo>
                  <a:lnTo>
                    <a:pt x="123767" y="131232"/>
                  </a:lnTo>
                  <a:lnTo>
                    <a:pt x="139592" y="126910"/>
                  </a:lnTo>
                  <a:lnTo>
                    <a:pt x="158059" y="135950"/>
                  </a:lnTo>
                  <a:lnTo>
                    <a:pt x="167352" y="130596"/>
                  </a:lnTo>
                  <a:lnTo>
                    <a:pt x="169882" y="95900"/>
                  </a:lnTo>
                  <a:lnTo>
                    <a:pt x="202063" y="86694"/>
                  </a:lnTo>
                  <a:lnTo>
                    <a:pt x="211734" y="60865"/>
                  </a:lnTo>
                  <a:lnTo>
                    <a:pt x="199354" y="52675"/>
                  </a:lnTo>
                  <a:lnTo>
                    <a:pt x="206157" y="38768"/>
                  </a:lnTo>
                  <a:lnTo>
                    <a:pt x="237974" y="29039"/>
                  </a:lnTo>
                  <a:lnTo>
                    <a:pt x="260999" y="5868"/>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1" name="ee4p_58_1_43215"/>
            <p:cNvSpPr>
              <a:spLocks noChangeAspect="1"/>
            </p:cNvSpPr>
            <p:nvPr>
              <p:custDataLst>
                <p:tags r:id="rId27"/>
              </p:custDataLst>
            </p:nvPr>
          </p:nvSpPr>
          <p:spPr bwMode="gray">
            <a:xfrm>
              <a:off x="4467804" y="5060361"/>
              <a:ext cx="375872" cy="313920"/>
            </a:xfrm>
            <a:custGeom>
              <a:avLst/>
              <a:gdLst/>
              <a:ahLst/>
              <a:cxnLst/>
              <a:rect l="0" t="0" r="0" b="0"/>
              <a:pathLst>
                <a:path w="375872" h="313920">
                  <a:moveTo>
                    <a:pt x="334577" y="200244"/>
                  </a:moveTo>
                  <a:lnTo>
                    <a:pt x="324207" y="201846"/>
                  </a:lnTo>
                  <a:lnTo>
                    <a:pt x="308465" y="219912"/>
                  </a:lnTo>
                  <a:lnTo>
                    <a:pt x="287152" y="231857"/>
                  </a:lnTo>
                  <a:lnTo>
                    <a:pt x="283348" y="247080"/>
                  </a:lnTo>
                  <a:lnTo>
                    <a:pt x="267484" y="266074"/>
                  </a:lnTo>
                  <a:lnTo>
                    <a:pt x="267252" y="290971"/>
                  </a:lnTo>
                  <a:lnTo>
                    <a:pt x="275030" y="296729"/>
                  </a:lnTo>
                  <a:lnTo>
                    <a:pt x="266900" y="313919"/>
                  </a:lnTo>
                  <a:lnTo>
                    <a:pt x="245983" y="307559"/>
                  </a:lnTo>
                  <a:lnTo>
                    <a:pt x="200663" y="275760"/>
                  </a:lnTo>
                  <a:lnTo>
                    <a:pt x="187581" y="254119"/>
                  </a:lnTo>
                  <a:lnTo>
                    <a:pt x="156614" y="231776"/>
                  </a:lnTo>
                  <a:lnTo>
                    <a:pt x="152722" y="207629"/>
                  </a:lnTo>
                  <a:lnTo>
                    <a:pt x="126647" y="195980"/>
                  </a:lnTo>
                  <a:lnTo>
                    <a:pt x="95407" y="160198"/>
                  </a:lnTo>
                  <a:lnTo>
                    <a:pt x="71254" y="142563"/>
                  </a:lnTo>
                  <a:lnTo>
                    <a:pt x="50007" y="121859"/>
                  </a:lnTo>
                  <a:lnTo>
                    <a:pt x="39276" y="98361"/>
                  </a:lnTo>
                  <a:lnTo>
                    <a:pt x="31077" y="67857"/>
                  </a:lnTo>
                  <a:lnTo>
                    <a:pt x="8831" y="57552"/>
                  </a:lnTo>
                  <a:lnTo>
                    <a:pt x="0" y="30672"/>
                  </a:lnTo>
                  <a:lnTo>
                    <a:pt x="2914" y="6293"/>
                  </a:lnTo>
                  <a:lnTo>
                    <a:pt x="28730" y="0"/>
                  </a:lnTo>
                  <a:lnTo>
                    <a:pt x="34565" y="13482"/>
                  </a:lnTo>
                  <a:lnTo>
                    <a:pt x="58026" y="24732"/>
                  </a:lnTo>
                  <a:lnTo>
                    <a:pt x="74885" y="188"/>
                  </a:lnTo>
                  <a:lnTo>
                    <a:pt x="103848" y="3708"/>
                  </a:lnTo>
                  <a:lnTo>
                    <a:pt x="126870" y="1041"/>
                  </a:lnTo>
                  <a:lnTo>
                    <a:pt x="140340" y="8114"/>
                  </a:lnTo>
                  <a:lnTo>
                    <a:pt x="172965" y="13660"/>
                  </a:lnTo>
                  <a:lnTo>
                    <a:pt x="187713" y="10217"/>
                  </a:lnTo>
                  <a:lnTo>
                    <a:pt x="205882" y="19700"/>
                  </a:lnTo>
                  <a:lnTo>
                    <a:pt x="217024" y="7802"/>
                  </a:lnTo>
                  <a:lnTo>
                    <a:pt x="277996" y="14961"/>
                  </a:lnTo>
                  <a:lnTo>
                    <a:pt x="290166" y="22548"/>
                  </a:lnTo>
                  <a:lnTo>
                    <a:pt x="303270" y="42415"/>
                  </a:lnTo>
                  <a:lnTo>
                    <a:pt x="319820" y="41852"/>
                  </a:lnTo>
                  <a:lnTo>
                    <a:pt x="332989" y="34472"/>
                  </a:lnTo>
                  <a:lnTo>
                    <a:pt x="352021" y="38634"/>
                  </a:lnTo>
                  <a:lnTo>
                    <a:pt x="348577" y="55117"/>
                  </a:lnTo>
                  <a:lnTo>
                    <a:pt x="328431" y="82810"/>
                  </a:lnTo>
                  <a:lnTo>
                    <a:pt x="331490" y="110390"/>
                  </a:lnTo>
                  <a:lnTo>
                    <a:pt x="346924" y="112242"/>
                  </a:lnTo>
                  <a:lnTo>
                    <a:pt x="375871" y="142485"/>
                  </a:lnTo>
                  <a:lnTo>
                    <a:pt x="343594" y="154570"/>
                  </a:lnTo>
                  <a:lnTo>
                    <a:pt x="366006" y="178448"/>
                  </a:lnTo>
                  <a:lnTo>
                    <a:pt x="363064" y="193302"/>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2" name="ee4p_65_1_43215"/>
            <p:cNvSpPr>
              <a:spLocks noChangeAspect="1"/>
            </p:cNvSpPr>
            <p:nvPr>
              <p:custDataLst>
                <p:tags r:id="rId28"/>
              </p:custDataLst>
            </p:nvPr>
          </p:nvSpPr>
          <p:spPr bwMode="gray">
            <a:xfrm>
              <a:off x="5109254" y="5180121"/>
              <a:ext cx="604788" cy="347274"/>
            </a:xfrm>
            <a:custGeom>
              <a:avLst/>
              <a:gdLst/>
              <a:ahLst/>
              <a:cxnLst/>
              <a:rect l="0" t="0" r="0" b="0"/>
              <a:pathLst>
                <a:path w="604788" h="347274">
                  <a:moveTo>
                    <a:pt x="602022" y="56462"/>
                  </a:moveTo>
                  <a:lnTo>
                    <a:pt x="604787" y="79986"/>
                  </a:lnTo>
                  <a:lnTo>
                    <a:pt x="591491" y="98413"/>
                  </a:lnTo>
                  <a:lnTo>
                    <a:pt x="575886" y="94263"/>
                  </a:lnTo>
                  <a:lnTo>
                    <a:pt x="554947" y="99204"/>
                  </a:lnTo>
                  <a:lnTo>
                    <a:pt x="535367" y="138460"/>
                  </a:lnTo>
                  <a:lnTo>
                    <a:pt x="536242" y="178504"/>
                  </a:lnTo>
                  <a:lnTo>
                    <a:pt x="518944" y="178304"/>
                  </a:lnTo>
                  <a:lnTo>
                    <a:pt x="510555" y="192761"/>
                  </a:lnTo>
                  <a:lnTo>
                    <a:pt x="521917" y="230298"/>
                  </a:lnTo>
                  <a:lnTo>
                    <a:pt x="549445" y="262084"/>
                  </a:lnTo>
                  <a:lnTo>
                    <a:pt x="516562" y="262690"/>
                  </a:lnTo>
                  <a:lnTo>
                    <a:pt x="501585" y="269879"/>
                  </a:lnTo>
                  <a:lnTo>
                    <a:pt x="475437" y="247994"/>
                  </a:lnTo>
                  <a:lnTo>
                    <a:pt x="455740" y="249289"/>
                  </a:lnTo>
                  <a:lnTo>
                    <a:pt x="445997" y="259865"/>
                  </a:lnTo>
                  <a:lnTo>
                    <a:pt x="414083" y="263253"/>
                  </a:lnTo>
                  <a:lnTo>
                    <a:pt x="404603" y="280608"/>
                  </a:lnTo>
                  <a:lnTo>
                    <a:pt x="388197" y="280932"/>
                  </a:lnTo>
                  <a:lnTo>
                    <a:pt x="387115" y="293635"/>
                  </a:lnTo>
                  <a:lnTo>
                    <a:pt x="368880" y="289279"/>
                  </a:lnTo>
                  <a:lnTo>
                    <a:pt x="365870" y="304921"/>
                  </a:lnTo>
                  <a:lnTo>
                    <a:pt x="369199" y="325893"/>
                  </a:lnTo>
                  <a:lnTo>
                    <a:pt x="365301" y="334831"/>
                  </a:lnTo>
                  <a:lnTo>
                    <a:pt x="341297" y="340680"/>
                  </a:lnTo>
                  <a:lnTo>
                    <a:pt x="311281" y="339015"/>
                  </a:lnTo>
                  <a:lnTo>
                    <a:pt x="278264" y="347273"/>
                  </a:lnTo>
                  <a:lnTo>
                    <a:pt x="261905" y="334218"/>
                  </a:lnTo>
                  <a:lnTo>
                    <a:pt x="216793" y="324895"/>
                  </a:lnTo>
                  <a:lnTo>
                    <a:pt x="203782" y="314729"/>
                  </a:lnTo>
                  <a:lnTo>
                    <a:pt x="175920" y="316283"/>
                  </a:lnTo>
                  <a:lnTo>
                    <a:pt x="155652" y="325060"/>
                  </a:lnTo>
                  <a:lnTo>
                    <a:pt x="123784" y="332458"/>
                  </a:lnTo>
                  <a:lnTo>
                    <a:pt x="93382" y="329666"/>
                  </a:lnTo>
                  <a:lnTo>
                    <a:pt x="81621" y="338418"/>
                  </a:lnTo>
                  <a:lnTo>
                    <a:pt x="55198" y="336727"/>
                  </a:lnTo>
                  <a:lnTo>
                    <a:pt x="60042" y="324771"/>
                  </a:lnTo>
                  <a:lnTo>
                    <a:pt x="57550" y="301544"/>
                  </a:lnTo>
                  <a:lnTo>
                    <a:pt x="65506" y="293827"/>
                  </a:lnTo>
                  <a:lnTo>
                    <a:pt x="50550" y="268713"/>
                  </a:lnTo>
                  <a:lnTo>
                    <a:pt x="49356" y="257539"/>
                  </a:lnTo>
                  <a:lnTo>
                    <a:pt x="16605" y="243929"/>
                  </a:lnTo>
                  <a:lnTo>
                    <a:pt x="297" y="223919"/>
                  </a:lnTo>
                  <a:lnTo>
                    <a:pt x="15782" y="213846"/>
                  </a:lnTo>
                  <a:lnTo>
                    <a:pt x="18306" y="200939"/>
                  </a:lnTo>
                  <a:lnTo>
                    <a:pt x="7935" y="194138"/>
                  </a:lnTo>
                  <a:lnTo>
                    <a:pt x="13912" y="173951"/>
                  </a:lnTo>
                  <a:lnTo>
                    <a:pt x="7963" y="164253"/>
                  </a:lnTo>
                  <a:lnTo>
                    <a:pt x="41291" y="145558"/>
                  </a:lnTo>
                  <a:lnTo>
                    <a:pt x="60584" y="130323"/>
                  </a:lnTo>
                  <a:lnTo>
                    <a:pt x="45388" y="104594"/>
                  </a:lnTo>
                  <a:lnTo>
                    <a:pt x="17049" y="87995"/>
                  </a:lnTo>
                  <a:lnTo>
                    <a:pt x="13036" y="68216"/>
                  </a:lnTo>
                  <a:lnTo>
                    <a:pt x="0" y="48103"/>
                  </a:lnTo>
                  <a:lnTo>
                    <a:pt x="5071" y="25062"/>
                  </a:lnTo>
                  <a:lnTo>
                    <a:pt x="25552" y="18057"/>
                  </a:lnTo>
                  <a:lnTo>
                    <a:pt x="30773" y="0"/>
                  </a:lnTo>
                  <a:lnTo>
                    <a:pt x="54993" y="13464"/>
                  </a:lnTo>
                  <a:lnTo>
                    <a:pt x="49288" y="44695"/>
                  </a:lnTo>
                  <a:lnTo>
                    <a:pt x="67701" y="49719"/>
                  </a:lnTo>
                  <a:lnTo>
                    <a:pt x="101451" y="43084"/>
                  </a:lnTo>
                  <a:lnTo>
                    <a:pt x="131319" y="48804"/>
                  </a:lnTo>
                  <a:lnTo>
                    <a:pt x="175738" y="63088"/>
                  </a:lnTo>
                  <a:lnTo>
                    <a:pt x="207444" y="53667"/>
                  </a:lnTo>
                  <a:lnTo>
                    <a:pt x="229575" y="62703"/>
                  </a:lnTo>
                  <a:lnTo>
                    <a:pt x="256257" y="58071"/>
                  </a:lnTo>
                  <a:lnTo>
                    <a:pt x="292813" y="70536"/>
                  </a:lnTo>
                  <a:lnTo>
                    <a:pt x="326763" y="61906"/>
                  </a:lnTo>
                  <a:lnTo>
                    <a:pt x="363607" y="28632"/>
                  </a:lnTo>
                  <a:lnTo>
                    <a:pt x="389253" y="20477"/>
                  </a:lnTo>
                  <a:lnTo>
                    <a:pt x="427251" y="15992"/>
                  </a:lnTo>
                  <a:lnTo>
                    <a:pt x="440218" y="9766"/>
                  </a:lnTo>
                  <a:lnTo>
                    <a:pt x="475350" y="10585"/>
                  </a:lnTo>
                  <a:lnTo>
                    <a:pt x="487894" y="24100"/>
                  </a:lnTo>
                  <a:lnTo>
                    <a:pt x="508469" y="24118"/>
                  </a:lnTo>
                  <a:lnTo>
                    <a:pt x="517947" y="30380"/>
                  </a:lnTo>
                  <a:lnTo>
                    <a:pt x="540620" y="27366"/>
                  </a:lnTo>
                  <a:lnTo>
                    <a:pt x="545453" y="44145"/>
                  </a:lnTo>
                  <a:lnTo>
                    <a:pt x="568858" y="54125"/>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3" name="ee4p_13_1_43215"/>
            <p:cNvSpPr>
              <a:spLocks noChangeAspect="1"/>
            </p:cNvSpPr>
            <p:nvPr>
              <p:custDataLst>
                <p:tags r:id="rId29"/>
              </p:custDataLst>
            </p:nvPr>
          </p:nvSpPr>
          <p:spPr bwMode="gray">
            <a:xfrm>
              <a:off x="3526436" y="4102291"/>
              <a:ext cx="305091" cy="499653"/>
            </a:xfrm>
            <a:custGeom>
              <a:avLst/>
              <a:gdLst/>
              <a:ahLst/>
              <a:cxnLst/>
              <a:rect l="0" t="0" r="0" b="0"/>
              <a:pathLst>
                <a:path w="305091" h="499653">
                  <a:moveTo>
                    <a:pt x="293325" y="364379"/>
                  </a:moveTo>
                  <a:lnTo>
                    <a:pt x="294458" y="364812"/>
                  </a:lnTo>
                  <a:lnTo>
                    <a:pt x="293989" y="376551"/>
                  </a:lnTo>
                  <a:lnTo>
                    <a:pt x="293547" y="376932"/>
                  </a:lnTo>
                  <a:lnTo>
                    <a:pt x="305090" y="403209"/>
                  </a:lnTo>
                  <a:lnTo>
                    <a:pt x="300913" y="422701"/>
                  </a:lnTo>
                  <a:lnTo>
                    <a:pt x="294909" y="432437"/>
                  </a:lnTo>
                  <a:lnTo>
                    <a:pt x="262454" y="428132"/>
                  </a:lnTo>
                  <a:lnTo>
                    <a:pt x="263665" y="411533"/>
                  </a:lnTo>
                  <a:lnTo>
                    <a:pt x="239416" y="419478"/>
                  </a:lnTo>
                  <a:lnTo>
                    <a:pt x="241156" y="458055"/>
                  </a:lnTo>
                  <a:lnTo>
                    <a:pt x="216431" y="499652"/>
                  </a:lnTo>
                  <a:lnTo>
                    <a:pt x="186551" y="489523"/>
                  </a:lnTo>
                  <a:lnTo>
                    <a:pt x="158477" y="488061"/>
                  </a:lnTo>
                  <a:lnTo>
                    <a:pt x="138119" y="472240"/>
                  </a:lnTo>
                  <a:lnTo>
                    <a:pt x="126345" y="479647"/>
                  </a:lnTo>
                  <a:lnTo>
                    <a:pt x="104193" y="478859"/>
                  </a:lnTo>
                  <a:lnTo>
                    <a:pt x="92305" y="468665"/>
                  </a:lnTo>
                  <a:lnTo>
                    <a:pt x="71711" y="474008"/>
                  </a:lnTo>
                  <a:lnTo>
                    <a:pt x="36543" y="421547"/>
                  </a:lnTo>
                  <a:lnTo>
                    <a:pt x="49241" y="394667"/>
                  </a:lnTo>
                  <a:lnTo>
                    <a:pt x="23012" y="383743"/>
                  </a:lnTo>
                  <a:lnTo>
                    <a:pt x="10819" y="362567"/>
                  </a:lnTo>
                  <a:lnTo>
                    <a:pt x="16576" y="340274"/>
                  </a:lnTo>
                  <a:lnTo>
                    <a:pt x="26760" y="336576"/>
                  </a:lnTo>
                  <a:lnTo>
                    <a:pt x="36343" y="313680"/>
                  </a:lnTo>
                  <a:lnTo>
                    <a:pt x="24431" y="295106"/>
                  </a:lnTo>
                  <a:lnTo>
                    <a:pt x="0" y="271395"/>
                  </a:lnTo>
                  <a:lnTo>
                    <a:pt x="8577" y="258559"/>
                  </a:lnTo>
                  <a:lnTo>
                    <a:pt x="3838" y="230862"/>
                  </a:lnTo>
                  <a:lnTo>
                    <a:pt x="7654" y="211769"/>
                  </a:lnTo>
                  <a:lnTo>
                    <a:pt x="22535" y="196211"/>
                  </a:lnTo>
                  <a:lnTo>
                    <a:pt x="21411" y="177811"/>
                  </a:lnTo>
                  <a:lnTo>
                    <a:pt x="3517" y="155454"/>
                  </a:lnTo>
                  <a:lnTo>
                    <a:pt x="5991" y="133678"/>
                  </a:lnTo>
                  <a:lnTo>
                    <a:pt x="46567" y="133287"/>
                  </a:lnTo>
                  <a:lnTo>
                    <a:pt x="80919" y="115071"/>
                  </a:lnTo>
                  <a:lnTo>
                    <a:pt x="67645" y="109300"/>
                  </a:lnTo>
                  <a:lnTo>
                    <a:pt x="95731" y="85290"/>
                  </a:lnTo>
                  <a:lnTo>
                    <a:pt x="104635" y="68166"/>
                  </a:lnTo>
                  <a:lnTo>
                    <a:pt x="69140" y="51623"/>
                  </a:lnTo>
                  <a:lnTo>
                    <a:pt x="69686" y="32708"/>
                  </a:lnTo>
                  <a:lnTo>
                    <a:pt x="102952" y="30412"/>
                  </a:lnTo>
                  <a:lnTo>
                    <a:pt x="110633" y="0"/>
                  </a:lnTo>
                  <a:lnTo>
                    <a:pt x="135852" y="6937"/>
                  </a:lnTo>
                  <a:lnTo>
                    <a:pt x="133628" y="31974"/>
                  </a:lnTo>
                  <a:lnTo>
                    <a:pt x="155535" y="36115"/>
                  </a:lnTo>
                  <a:lnTo>
                    <a:pt x="180420" y="22511"/>
                  </a:lnTo>
                  <a:lnTo>
                    <a:pt x="197771" y="37984"/>
                  </a:lnTo>
                  <a:lnTo>
                    <a:pt x="197807" y="39007"/>
                  </a:lnTo>
                  <a:lnTo>
                    <a:pt x="210029" y="41791"/>
                  </a:lnTo>
                  <a:lnTo>
                    <a:pt x="223654" y="25476"/>
                  </a:lnTo>
                  <a:lnTo>
                    <a:pt x="246216" y="14877"/>
                  </a:lnTo>
                  <a:lnTo>
                    <a:pt x="257680" y="22252"/>
                  </a:lnTo>
                  <a:lnTo>
                    <a:pt x="255269" y="38548"/>
                  </a:lnTo>
                  <a:lnTo>
                    <a:pt x="266325" y="45855"/>
                  </a:lnTo>
                  <a:lnTo>
                    <a:pt x="266315" y="45616"/>
                  </a:lnTo>
                  <a:lnTo>
                    <a:pt x="265039" y="83156"/>
                  </a:lnTo>
                  <a:lnTo>
                    <a:pt x="264819" y="82985"/>
                  </a:lnTo>
                  <a:lnTo>
                    <a:pt x="239471" y="80665"/>
                  </a:lnTo>
                  <a:lnTo>
                    <a:pt x="239220" y="101444"/>
                  </a:lnTo>
                  <a:lnTo>
                    <a:pt x="230486" y="117667"/>
                  </a:lnTo>
                  <a:lnTo>
                    <a:pt x="230077" y="118029"/>
                  </a:lnTo>
                  <a:lnTo>
                    <a:pt x="260216" y="125066"/>
                  </a:lnTo>
                  <a:lnTo>
                    <a:pt x="233769" y="146779"/>
                  </a:lnTo>
                  <a:lnTo>
                    <a:pt x="251050" y="163239"/>
                  </a:lnTo>
                  <a:lnTo>
                    <a:pt x="274995" y="163187"/>
                  </a:lnTo>
                  <a:lnTo>
                    <a:pt x="286267" y="193477"/>
                  </a:lnTo>
                  <a:lnTo>
                    <a:pt x="254814" y="200044"/>
                  </a:lnTo>
                  <a:lnTo>
                    <a:pt x="267903" y="221262"/>
                  </a:lnTo>
                  <a:lnTo>
                    <a:pt x="229243" y="260643"/>
                  </a:lnTo>
                  <a:lnTo>
                    <a:pt x="210918" y="267763"/>
                  </a:lnTo>
                  <a:lnTo>
                    <a:pt x="205101" y="284466"/>
                  </a:lnTo>
                  <a:lnTo>
                    <a:pt x="225813" y="304677"/>
                  </a:lnTo>
                  <a:lnTo>
                    <a:pt x="230795" y="322436"/>
                  </a:lnTo>
                  <a:lnTo>
                    <a:pt x="231212" y="322060"/>
                  </a:lnTo>
                  <a:lnTo>
                    <a:pt x="246651" y="311752"/>
                  </a:lnTo>
                  <a:lnTo>
                    <a:pt x="247058" y="312672"/>
                  </a:lnTo>
                  <a:lnTo>
                    <a:pt x="262063" y="338608"/>
                  </a:lnTo>
                  <a:lnTo>
                    <a:pt x="252197" y="366484"/>
                  </a:lnTo>
                  <a:lnTo>
                    <a:pt x="281161" y="354445"/>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4" name="ee4p_13_2_43215"/>
            <p:cNvSpPr>
              <a:spLocks noChangeAspect="1"/>
            </p:cNvSpPr>
            <p:nvPr>
              <p:custDataLst>
                <p:tags r:id="rId30"/>
              </p:custDataLst>
            </p:nvPr>
          </p:nvSpPr>
          <p:spPr bwMode="gray">
            <a:xfrm>
              <a:off x="3871433" y="4613128"/>
              <a:ext cx="155300" cy="194842"/>
            </a:xfrm>
            <a:custGeom>
              <a:avLst/>
              <a:gdLst/>
              <a:ahLst/>
              <a:cxnLst/>
              <a:rect l="0" t="0" r="0" b="0"/>
              <a:pathLst>
                <a:path w="155300" h="194842">
                  <a:moveTo>
                    <a:pt x="0" y="166022"/>
                  </a:moveTo>
                  <a:lnTo>
                    <a:pt x="28632" y="148601"/>
                  </a:lnTo>
                  <a:lnTo>
                    <a:pt x="54573" y="148866"/>
                  </a:lnTo>
                  <a:lnTo>
                    <a:pt x="58384" y="129357"/>
                  </a:lnTo>
                  <a:lnTo>
                    <a:pt x="58272" y="129455"/>
                  </a:lnTo>
                  <a:lnTo>
                    <a:pt x="48748" y="73749"/>
                  </a:lnTo>
                  <a:lnTo>
                    <a:pt x="39394" y="61522"/>
                  </a:lnTo>
                  <a:lnTo>
                    <a:pt x="59928" y="53953"/>
                  </a:lnTo>
                  <a:lnTo>
                    <a:pt x="59938" y="55021"/>
                  </a:lnTo>
                  <a:lnTo>
                    <a:pt x="74387" y="57147"/>
                  </a:lnTo>
                  <a:lnTo>
                    <a:pt x="88002" y="25528"/>
                  </a:lnTo>
                  <a:lnTo>
                    <a:pt x="88827" y="24844"/>
                  </a:lnTo>
                  <a:lnTo>
                    <a:pt x="94291" y="15712"/>
                  </a:lnTo>
                  <a:lnTo>
                    <a:pt x="125597" y="21134"/>
                  </a:lnTo>
                  <a:lnTo>
                    <a:pt x="117958" y="1042"/>
                  </a:lnTo>
                  <a:lnTo>
                    <a:pt x="117855" y="645"/>
                  </a:lnTo>
                  <a:lnTo>
                    <a:pt x="130697" y="0"/>
                  </a:lnTo>
                  <a:lnTo>
                    <a:pt x="151282" y="17005"/>
                  </a:lnTo>
                  <a:lnTo>
                    <a:pt x="143039" y="30085"/>
                  </a:lnTo>
                  <a:lnTo>
                    <a:pt x="142826" y="30082"/>
                  </a:lnTo>
                  <a:lnTo>
                    <a:pt x="138707" y="34634"/>
                  </a:lnTo>
                  <a:lnTo>
                    <a:pt x="138633" y="34633"/>
                  </a:lnTo>
                  <a:lnTo>
                    <a:pt x="138145" y="41522"/>
                  </a:lnTo>
                  <a:lnTo>
                    <a:pt x="137885" y="41520"/>
                  </a:lnTo>
                  <a:lnTo>
                    <a:pt x="155299" y="66221"/>
                  </a:lnTo>
                  <a:lnTo>
                    <a:pt x="155297" y="66501"/>
                  </a:lnTo>
                  <a:lnTo>
                    <a:pt x="130503" y="78133"/>
                  </a:lnTo>
                  <a:lnTo>
                    <a:pt x="130456" y="78251"/>
                  </a:lnTo>
                  <a:lnTo>
                    <a:pt x="136298" y="88947"/>
                  </a:lnTo>
                  <a:lnTo>
                    <a:pt x="140367" y="120780"/>
                  </a:lnTo>
                  <a:lnTo>
                    <a:pt x="139535" y="120771"/>
                  </a:lnTo>
                  <a:lnTo>
                    <a:pt x="130302" y="144111"/>
                  </a:lnTo>
                  <a:lnTo>
                    <a:pt x="119871" y="146268"/>
                  </a:lnTo>
                  <a:lnTo>
                    <a:pt x="109604" y="165016"/>
                  </a:lnTo>
                  <a:lnTo>
                    <a:pt x="83844" y="169797"/>
                  </a:lnTo>
                  <a:lnTo>
                    <a:pt x="87764" y="178843"/>
                  </a:lnTo>
                  <a:lnTo>
                    <a:pt x="73412" y="194841"/>
                  </a:lnTo>
                  <a:lnTo>
                    <a:pt x="37787" y="166090"/>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5" name="ee4p_12_1_43215"/>
            <p:cNvSpPr>
              <a:spLocks noChangeAspect="1"/>
            </p:cNvSpPr>
            <p:nvPr>
              <p:custDataLst>
                <p:tags r:id="rId31"/>
              </p:custDataLst>
            </p:nvPr>
          </p:nvSpPr>
          <p:spPr bwMode="gray">
            <a:xfrm>
              <a:off x="3673946" y="4499249"/>
              <a:ext cx="323085" cy="279902"/>
            </a:xfrm>
            <a:custGeom>
              <a:avLst/>
              <a:gdLst/>
              <a:ahLst/>
              <a:cxnLst/>
              <a:rect l="0" t="0" r="0" b="0"/>
              <a:pathLst>
                <a:path w="323085" h="279902">
                  <a:moveTo>
                    <a:pt x="212090" y="7977"/>
                  </a:moveTo>
                  <a:lnTo>
                    <a:pt x="233196" y="29216"/>
                  </a:lnTo>
                  <a:lnTo>
                    <a:pt x="247674" y="34626"/>
                  </a:lnTo>
                  <a:lnTo>
                    <a:pt x="256308" y="49785"/>
                  </a:lnTo>
                  <a:lnTo>
                    <a:pt x="253462" y="73770"/>
                  </a:lnTo>
                  <a:lnTo>
                    <a:pt x="268156" y="94212"/>
                  </a:lnTo>
                  <a:lnTo>
                    <a:pt x="290236" y="97787"/>
                  </a:lnTo>
                  <a:lnTo>
                    <a:pt x="315344" y="114532"/>
                  </a:lnTo>
                  <a:lnTo>
                    <a:pt x="315445" y="114921"/>
                  </a:lnTo>
                  <a:lnTo>
                    <a:pt x="323084" y="135013"/>
                  </a:lnTo>
                  <a:lnTo>
                    <a:pt x="291778" y="129591"/>
                  </a:lnTo>
                  <a:lnTo>
                    <a:pt x="286314" y="138723"/>
                  </a:lnTo>
                  <a:lnTo>
                    <a:pt x="285489" y="139407"/>
                  </a:lnTo>
                  <a:lnTo>
                    <a:pt x="271874" y="171026"/>
                  </a:lnTo>
                  <a:lnTo>
                    <a:pt x="257425" y="168900"/>
                  </a:lnTo>
                  <a:lnTo>
                    <a:pt x="257415" y="167832"/>
                  </a:lnTo>
                  <a:lnTo>
                    <a:pt x="236881" y="175401"/>
                  </a:lnTo>
                  <a:lnTo>
                    <a:pt x="246235" y="187628"/>
                  </a:lnTo>
                  <a:lnTo>
                    <a:pt x="255759" y="243334"/>
                  </a:lnTo>
                  <a:lnTo>
                    <a:pt x="255871" y="243236"/>
                  </a:lnTo>
                  <a:lnTo>
                    <a:pt x="252060" y="262745"/>
                  </a:lnTo>
                  <a:lnTo>
                    <a:pt x="226119" y="262480"/>
                  </a:lnTo>
                  <a:lnTo>
                    <a:pt x="197487" y="279901"/>
                  </a:lnTo>
                  <a:lnTo>
                    <a:pt x="168661" y="264565"/>
                  </a:lnTo>
                  <a:lnTo>
                    <a:pt x="132048" y="265264"/>
                  </a:lnTo>
                  <a:lnTo>
                    <a:pt x="101842" y="246883"/>
                  </a:lnTo>
                  <a:lnTo>
                    <a:pt x="73439" y="270203"/>
                  </a:lnTo>
                  <a:lnTo>
                    <a:pt x="37754" y="278341"/>
                  </a:lnTo>
                  <a:lnTo>
                    <a:pt x="9476" y="274596"/>
                  </a:lnTo>
                  <a:lnTo>
                    <a:pt x="0" y="264837"/>
                  </a:lnTo>
                  <a:lnTo>
                    <a:pt x="4715" y="212704"/>
                  </a:lnTo>
                  <a:lnTo>
                    <a:pt x="14422" y="194980"/>
                  </a:lnTo>
                  <a:lnTo>
                    <a:pt x="27320" y="150449"/>
                  </a:lnTo>
                  <a:lnTo>
                    <a:pt x="43463" y="128534"/>
                  </a:lnTo>
                  <a:lnTo>
                    <a:pt x="55854" y="122120"/>
                  </a:lnTo>
                  <a:lnTo>
                    <a:pt x="68921" y="102694"/>
                  </a:lnTo>
                  <a:lnTo>
                    <a:pt x="93646" y="61097"/>
                  </a:lnTo>
                  <a:lnTo>
                    <a:pt x="91906" y="22520"/>
                  </a:lnTo>
                  <a:lnTo>
                    <a:pt x="116155" y="14575"/>
                  </a:lnTo>
                  <a:lnTo>
                    <a:pt x="114944" y="31174"/>
                  </a:lnTo>
                  <a:lnTo>
                    <a:pt x="147399" y="35479"/>
                  </a:lnTo>
                  <a:lnTo>
                    <a:pt x="153403" y="25743"/>
                  </a:lnTo>
                  <a:lnTo>
                    <a:pt x="181107" y="18379"/>
                  </a:lnTo>
                  <a:lnTo>
                    <a:pt x="174166" y="2522"/>
                  </a:lnTo>
                  <a:lnTo>
                    <a:pt x="206304" y="0"/>
                  </a:lnTo>
                  <a:lnTo>
                    <a:pt x="211046" y="8897"/>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6" name="ee4p_14_1_43215"/>
            <p:cNvSpPr>
              <a:spLocks noChangeAspect="1"/>
            </p:cNvSpPr>
            <p:nvPr>
              <p:custDataLst>
                <p:tags r:id="rId32"/>
              </p:custDataLst>
            </p:nvPr>
          </p:nvSpPr>
          <p:spPr bwMode="gray">
            <a:xfrm>
              <a:off x="3892883" y="3863417"/>
              <a:ext cx="507766" cy="582811"/>
            </a:xfrm>
            <a:custGeom>
              <a:avLst/>
              <a:gdLst/>
              <a:ahLst/>
              <a:cxnLst/>
              <a:rect l="l" t="t" r="r" b="b"/>
              <a:pathLst>
                <a:path w="507766" h="582811">
                  <a:moveTo>
                    <a:pt x="38022" y="124660"/>
                  </a:moveTo>
                  <a:lnTo>
                    <a:pt x="36956" y="152936"/>
                  </a:lnTo>
                  <a:lnTo>
                    <a:pt x="44691" y="169990"/>
                  </a:lnTo>
                  <a:lnTo>
                    <a:pt x="7212" y="164451"/>
                  </a:lnTo>
                  <a:lnTo>
                    <a:pt x="0" y="141467"/>
                  </a:lnTo>
                  <a:close/>
                  <a:moveTo>
                    <a:pt x="263635" y="26976"/>
                  </a:moveTo>
                  <a:lnTo>
                    <a:pt x="296050" y="44549"/>
                  </a:lnTo>
                  <a:lnTo>
                    <a:pt x="310887" y="33208"/>
                  </a:lnTo>
                  <a:lnTo>
                    <a:pt x="321799" y="50770"/>
                  </a:lnTo>
                  <a:lnTo>
                    <a:pt x="357063" y="75617"/>
                  </a:lnTo>
                  <a:lnTo>
                    <a:pt x="378350" y="71480"/>
                  </a:lnTo>
                  <a:lnTo>
                    <a:pt x="384479" y="89271"/>
                  </a:lnTo>
                  <a:lnTo>
                    <a:pt x="410927" y="108172"/>
                  </a:lnTo>
                  <a:lnTo>
                    <a:pt x="405067" y="121489"/>
                  </a:lnTo>
                  <a:lnTo>
                    <a:pt x="434096" y="125826"/>
                  </a:lnTo>
                  <a:lnTo>
                    <a:pt x="438517" y="154428"/>
                  </a:lnTo>
                  <a:lnTo>
                    <a:pt x="450988" y="189490"/>
                  </a:lnTo>
                  <a:lnTo>
                    <a:pt x="440635" y="216855"/>
                  </a:lnTo>
                  <a:lnTo>
                    <a:pt x="421512" y="228253"/>
                  </a:lnTo>
                  <a:lnTo>
                    <a:pt x="428442" y="246665"/>
                  </a:lnTo>
                  <a:lnTo>
                    <a:pt x="466388" y="274720"/>
                  </a:lnTo>
                  <a:lnTo>
                    <a:pt x="458906" y="301947"/>
                  </a:lnTo>
                  <a:lnTo>
                    <a:pt x="475419" y="322124"/>
                  </a:lnTo>
                  <a:lnTo>
                    <a:pt x="479429" y="344349"/>
                  </a:lnTo>
                  <a:lnTo>
                    <a:pt x="466328" y="373129"/>
                  </a:lnTo>
                  <a:lnTo>
                    <a:pt x="477285" y="393033"/>
                  </a:lnTo>
                  <a:lnTo>
                    <a:pt x="478494" y="414234"/>
                  </a:lnTo>
                  <a:lnTo>
                    <a:pt x="495815" y="418740"/>
                  </a:lnTo>
                  <a:lnTo>
                    <a:pt x="507766" y="444183"/>
                  </a:lnTo>
                  <a:lnTo>
                    <a:pt x="502296" y="471811"/>
                  </a:lnTo>
                  <a:lnTo>
                    <a:pt x="483032" y="504359"/>
                  </a:lnTo>
                  <a:lnTo>
                    <a:pt x="469889" y="501457"/>
                  </a:lnTo>
                  <a:lnTo>
                    <a:pt x="451155" y="478044"/>
                  </a:lnTo>
                  <a:lnTo>
                    <a:pt x="443749" y="496201"/>
                  </a:lnTo>
                  <a:lnTo>
                    <a:pt x="397614" y="509611"/>
                  </a:lnTo>
                  <a:lnTo>
                    <a:pt x="393874" y="517480"/>
                  </a:lnTo>
                  <a:lnTo>
                    <a:pt x="364087" y="518564"/>
                  </a:lnTo>
                  <a:lnTo>
                    <a:pt x="329932" y="545614"/>
                  </a:lnTo>
                  <a:lnTo>
                    <a:pt x="308747" y="556576"/>
                  </a:lnTo>
                  <a:lnTo>
                    <a:pt x="295821" y="551394"/>
                  </a:lnTo>
                  <a:lnTo>
                    <a:pt x="264146" y="558376"/>
                  </a:lnTo>
                  <a:lnTo>
                    <a:pt x="240671" y="579316"/>
                  </a:lnTo>
                  <a:lnTo>
                    <a:pt x="226304" y="569403"/>
                  </a:lnTo>
                  <a:lnTo>
                    <a:pt x="197477" y="559287"/>
                  </a:lnTo>
                  <a:lnTo>
                    <a:pt x="169105" y="560796"/>
                  </a:lnTo>
                  <a:lnTo>
                    <a:pt x="157845" y="551856"/>
                  </a:lnTo>
                  <a:lnTo>
                    <a:pt x="144181" y="560877"/>
                  </a:lnTo>
                  <a:lnTo>
                    <a:pt x="101130" y="560132"/>
                  </a:lnTo>
                  <a:lnTo>
                    <a:pt x="91764" y="582811"/>
                  </a:lnTo>
                  <a:lnTo>
                    <a:pt x="61035" y="559226"/>
                  </a:lnTo>
                  <a:lnTo>
                    <a:pt x="40455" y="538851"/>
                  </a:lnTo>
                  <a:lnTo>
                    <a:pt x="25051" y="536496"/>
                  </a:lnTo>
                  <a:lnTo>
                    <a:pt x="14779" y="515480"/>
                  </a:lnTo>
                  <a:lnTo>
                    <a:pt x="26763" y="495711"/>
                  </a:lnTo>
                  <a:lnTo>
                    <a:pt x="24838" y="480059"/>
                  </a:lnTo>
                  <a:lnTo>
                    <a:pt x="36266" y="469710"/>
                  </a:lnTo>
                  <a:lnTo>
                    <a:pt x="36691" y="469358"/>
                  </a:lnTo>
                  <a:lnTo>
                    <a:pt x="13415" y="434332"/>
                  </a:lnTo>
                  <a:lnTo>
                    <a:pt x="37449" y="424960"/>
                  </a:lnTo>
                  <a:lnTo>
                    <a:pt x="63629" y="406464"/>
                  </a:lnTo>
                  <a:lnTo>
                    <a:pt x="88914" y="399388"/>
                  </a:lnTo>
                  <a:lnTo>
                    <a:pt x="76541" y="378006"/>
                  </a:lnTo>
                  <a:lnTo>
                    <a:pt x="83542" y="367638"/>
                  </a:lnTo>
                  <a:lnTo>
                    <a:pt x="75784" y="351132"/>
                  </a:lnTo>
                  <a:lnTo>
                    <a:pt x="112538" y="339719"/>
                  </a:lnTo>
                  <a:lnTo>
                    <a:pt x="126315" y="323642"/>
                  </a:lnTo>
                  <a:lnTo>
                    <a:pt x="120984" y="313548"/>
                  </a:lnTo>
                  <a:lnTo>
                    <a:pt x="120372" y="312804"/>
                  </a:lnTo>
                  <a:lnTo>
                    <a:pt x="123333" y="308263"/>
                  </a:lnTo>
                  <a:lnTo>
                    <a:pt x="124482" y="307331"/>
                  </a:lnTo>
                  <a:lnTo>
                    <a:pt x="128131" y="295328"/>
                  </a:lnTo>
                  <a:lnTo>
                    <a:pt x="113538" y="284710"/>
                  </a:lnTo>
                  <a:lnTo>
                    <a:pt x="97128" y="257101"/>
                  </a:lnTo>
                  <a:lnTo>
                    <a:pt x="95403" y="242213"/>
                  </a:lnTo>
                  <a:lnTo>
                    <a:pt x="117297" y="234949"/>
                  </a:lnTo>
                  <a:lnTo>
                    <a:pt x="148549" y="239695"/>
                  </a:lnTo>
                  <a:lnTo>
                    <a:pt x="163574" y="231566"/>
                  </a:lnTo>
                  <a:lnTo>
                    <a:pt x="116869" y="179200"/>
                  </a:lnTo>
                  <a:lnTo>
                    <a:pt x="97644" y="180931"/>
                  </a:lnTo>
                  <a:lnTo>
                    <a:pt x="87921" y="162122"/>
                  </a:lnTo>
                  <a:lnTo>
                    <a:pt x="112971" y="137447"/>
                  </a:lnTo>
                  <a:lnTo>
                    <a:pt x="95183" y="123734"/>
                  </a:lnTo>
                  <a:lnTo>
                    <a:pt x="95566" y="107062"/>
                  </a:lnTo>
                  <a:lnTo>
                    <a:pt x="107259" y="97123"/>
                  </a:lnTo>
                  <a:lnTo>
                    <a:pt x="134944" y="89234"/>
                  </a:lnTo>
                  <a:lnTo>
                    <a:pt x="172089" y="87428"/>
                  </a:lnTo>
                  <a:lnTo>
                    <a:pt x="183485" y="70926"/>
                  </a:lnTo>
                  <a:lnTo>
                    <a:pt x="227619" y="65716"/>
                  </a:lnTo>
                  <a:lnTo>
                    <a:pt x="247025" y="51659"/>
                  </a:lnTo>
                  <a:close/>
                  <a:moveTo>
                    <a:pt x="352494" y="0"/>
                  </a:moveTo>
                  <a:lnTo>
                    <a:pt x="355182" y="15392"/>
                  </a:lnTo>
                  <a:lnTo>
                    <a:pt x="376147" y="44624"/>
                  </a:lnTo>
                  <a:lnTo>
                    <a:pt x="360181" y="45512"/>
                  </a:lnTo>
                  <a:lnTo>
                    <a:pt x="348731" y="61722"/>
                  </a:lnTo>
                  <a:lnTo>
                    <a:pt x="324487" y="51844"/>
                  </a:lnTo>
                  <a:lnTo>
                    <a:pt x="326745" y="18661"/>
                  </a:lnTo>
                  <a:lnTo>
                    <a:pt x="338517" y="1600"/>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7" name="ee4p_11_1_43215"/>
            <p:cNvSpPr>
              <a:spLocks noChangeAspect="1"/>
            </p:cNvSpPr>
            <p:nvPr>
              <p:custDataLst>
                <p:tags r:id="rId33"/>
              </p:custDataLst>
            </p:nvPr>
          </p:nvSpPr>
          <p:spPr bwMode="gray">
            <a:xfrm>
              <a:off x="3625678" y="3834445"/>
              <a:ext cx="659060" cy="962107"/>
            </a:xfrm>
            <a:custGeom>
              <a:avLst/>
              <a:gdLst/>
              <a:ahLst/>
              <a:cxnLst/>
              <a:rect l="l" t="t" r="r" b="b"/>
              <a:pathLst>
                <a:path w="659060" h="962107">
                  <a:moveTo>
                    <a:pt x="305227" y="153633"/>
                  </a:moveTo>
                  <a:lnTo>
                    <a:pt x="267205" y="170440"/>
                  </a:lnTo>
                  <a:lnTo>
                    <a:pt x="274417" y="193424"/>
                  </a:lnTo>
                  <a:lnTo>
                    <a:pt x="311896" y="198963"/>
                  </a:lnTo>
                  <a:lnTo>
                    <a:pt x="304161" y="181909"/>
                  </a:lnTo>
                  <a:close/>
                  <a:moveTo>
                    <a:pt x="188716" y="0"/>
                  </a:moveTo>
                  <a:lnTo>
                    <a:pt x="218473" y="13202"/>
                  </a:lnTo>
                  <a:lnTo>
                    <a:pt x="251471" y="9271"/>
                  </a:lnTo>
                  <a:lnTo>
                    <a:pt x="291035" y="32247"/>
                  </a:lnTo>
                  <a:lnTo>
                    <a:pt x="301033" y="55800"/>
                  </a:lnTo>
                  <a:lnTo>
                    <a:pt x="363982" y="78892"/>
                  </a:lnTo>
                  <a:lnTo>
                    <a:pt x="391666" y="74412"/>
                  </a:lnTo>
                  <a:lnTo>
                    <a:pt x="393709" y="93690"/>
                  </a:lnTo>
                  <a:lnTo>
                    <a:pt x="360757" y="115921"/>
                  </a:lnTo>
                  <a:lnTo>
                    <a:pt x="374464" y="126096"/>
                  </a:lnTo>
                  <a:lnTo>
                    <a:pt x="362771" y="136035"/>
                  </a:lnTo>
                  <a:lnTo>
                    <a:pt x="362388" y="152707"/>
                  </a:lnTo>
                  <a:lnTo>
                    <a:pt x="380176" y="166420"/>
                  </a:lnTo>
                  <a:lnTo>
                    <a:pt x="355126" y="191095"/>
                  </a:lnTo>
                  <a:lnTo>
                    <a:pt x="364849" y="209904"/>
                  </a:lnTo>
                  <a:lnTo>
                    <a:pt x="384074" y="208173"/>
                  </a:lnTo>
                  <a:lnTo>
                    <a:pt x="430779" y="260539"/>
                  </a:lnTo>
                  <a:lnTo>
                    <a:pt x="415754" y="268668"/>
                  </a:lnTo>
                  <a:lnTo>
                    <a:pt x="384502" y="263922"/>
                  </a:lnTo>
                  <a:lnTo>
                    <a:pt x="362608" y="271186"/>
                  </a:lnTo>
                  <a:lnTo>
                    <a:pt x="364333" y="286074"/>
                  </a:lnTo>
                  <a:lnTo>
                    <a:pt x="380743" y="313683"/>
                  </a:lnTo>
                  <a:lnTo>
                    <a:pt x="395336" y="324301"/>
                  </a:lnTo>
                  <a:lnTo>
                    <a:pt x="391687" y="336304"/>
                  </a:lnTo>
                  <a:lnTo>
                    <a:pt x="390538" y="337236"/>
                  </a:lnTo>
                  <a:lnTo>
                    <a:pt x="387577" y="341777"/>
                  </a:lnTo>
                  <a:lnTo>
                    <a:pt x="388189" y="342521"/>
                  </a:lnTo>
                  <a:lnTo>
                    <a:pt x="393520" y="352615"/>
                  </a:lnTo>
                  <a:lnTo>
                    <a:pt x="379743" y="368692"/>
                  </a:lnTo>
                  <a:lnTo>
                    <a:pt x="342989" y="380105"/>
                  </a:lnTo>
                  <a:lnTo>
                    <a:pt x="350747" y="396611"/>
                  </a:lnTo>
                  <a:lnTo>
                    <a:pt x="343746" y="406979"/>
                  </a:lnTo>
                  <a:lnTo>
                    <a:pt x="356119" y="428361"/>
                  </a:lnTo>
                  <a:lnTo>
                    <a:pt x="330834" y="435437"/>
                  </a:lnTo>
                  <a:lnTo>
                    <a:pt x="304654" y="453933"/>
                  </a:lnTo>
                  <a:lnTo>
                    <a:pt x="280620" y="463305"/>
                  </a:lnTo>
                  <a:lnTo>
                    <a:pt x="303896" y="498331"/>
                  </a:lnTo>
                  <a:lnTo>
                    <a:pt x="303471" y="498683"/>
                  </a:lnTo>
                  <a:lnTo>
                    <a:pt x="292043" y="509032"/>
                  </a:lnTo>
                  <a:lnTo>
                    <a:pt x="293968" y="524684"/>
                  </a:lnTo>
                  <a:lnTo>
                    <a:pt x="281984" y="544453"/>
                  </a:lnTo>
                  <a:lnTo>
                    <a:pt x="292256" y="565469"/>
                  </a:lnTo>
                  <a:lnTo>
                    <a:pt x="307660" y="567824"/>
                  </a:lnTo>
                  <a:lnTo>
                    <a:pt x="328240" y="588199"/>
                  </a:lnTo>
                  <a:lnTo>
                    <a:pt x="358969" y="611784"/>
                  </a:lnTo>
                  <a:lnTo>
                    <a:pt x="368335" y="589105"/>
                  </a:lnTo>
                  <a:lnTo>
                    <a:pt x="411386" y="589850"/>
                  </a:lnTo>
                  <a:lnTo>
                    <a:pt x="425050" y="580829"/>
                  </a:lnTo>
                  <a:lnTo>
                    <a:pt x="436310" y="589769"/>
                  </a:lnTo>
                  <a:lnTo>
                    <a:pt x="464682" y="588260"/>
                  </a:lnTo>
                  <a:lnTo>
                    <a:pt x="493509" y="598376"/>
                  </a:lnTo>
                  <a:lnTo>
                    <a:pt x="500673" y="623871"/>
                  </a:lnTo>
                  <a:lnTo>
                    <a:pt x="526726" y="638525"/>
                  </a:lnTo>
                  <a:lnTo>
                    <a:pt x="534231" y="651223"/>
                  </a:lnTo>
                  <a:lnTo>
                    <a:pt x="526493" y="665091"/>
                  </a:lnTo>
                  <a:lnTo>
                    <a:pt x="545378" y="709491"/>
                  </a:lnTo>
                  <a:lnTo>
                    <a:pt x="573614" y="720014"/>
                  </a:lnTo>
                  <a:lnTo>
                    <a:pt x="589545" y="739049"/>
                  </a:lnTo>
                  <a:lnTo>
                    <a:pt x="635117" y="767506"/>
                  </a:lnTo>
                  <a:lnTo>
                    <a:pt x="659060" y="791638"/>
                  </a:lnTo>
                  <a:lnTo>
                    <a:pt x="655789" y="816290"/>
                  </a:lnTo>
                  <a:lnTo>
                    <a:pt x="647946" y="823755"/>
                  </a:lnTo>
                  <a:lnTo>
                    <a:pt x="628439" y="813894"/>
                  </a:lnTo>
                  <a:lnTo>
                    <a:pt x="617904" y="841010"/>
                  </a:lnTo>
                  <a:lnTo>
                    <a:pt x="607006" y="849417"/>
                  </a:lnTo>
                  <a:lnTo>
                    <a:pt x="580194" y="855543"/>
                  </a:lnTo>
                  <a:lnTo>
                    <a:pt x="554275" y="873255"/>
                  </a:lnTo>
                  <a:lnTo>
                    <a:pt x="578284" y="905976"/>
                  </a:lnTo>
                  <a:lnTo>
                    <a:pt x="588389" y="932205"/>
                  </a:lnTo>
                  <a:lnTo>
                    <a:pt x="578619" y="953148"/>
                  </a:lnTo>
                  <a:lnTo>
                    <a:pt x="557012" y="939293"/>
                  </a:lnTo>
                  <a:lnTo>
                    <a:pt x="552695" y="926915"/>
                  </a:lnTo>
                  <a:lnTo>
                    <a:pt x="530379" y="933477"/>
                  </a:lnTo>
                  <a:lnTo>
                    <a:pt x="522005" y="924877"/>
                  </a:lnTo>
                  <a:lnTo>
                    <a:pt x="502786" y="935807"/>
                  </a:lnTo>
                  <a:lnTo>
                    <a:pt x="449257" y="938712"/>
                  </a:lnTo>
                  <a:lnTo>
                    <a:pt x="413089" y="957878"/>
                  </a:lnTo>
                  <a:lnTo>
                    <a:pt x="394061" y="962107"/>
                  </a:lnTo>
                  <a:lnTo>
                    <a:pt x="355359" y="943700"/>
                  </a:lnTo>
                  <a:lnTo>
                    <a:pt x="365626" y="924952"/>
                  </a:lnTo>
                  <a:lnTo>
                    <a:pt x="376057" y="922795"/>
                  </a:lnTo>
                  <a:lnTo>
                    <a:pt x="385290" y="899455"/>
                  </a:lnTo>
                  <a:lnTo>
                    <a:pt x="386122" y="899464"/>
                  </a:lnTo>
                  <a:lnTo>
                    <a:pt x="382053" y="867631"/>
                  </a:lnTo>
                  <a:lnTo>
                    <a:pt x="376211" y="856935"/>
                  </a:lnTo>
                  <a:lnTo>
                    <a:pt x="376258" y="856817"/>
                  </a:lnTo>
                  <a:lnTo>
                    <a:pt x="401052" y="845185"/>
                  </a:lnTo>
                  <a:lnTo>
                    <a:pt x="401054" y="844905"/>
                  </a:lnTo>
                  <a:lnTo>
                    <a:pt x="383640" y="820204"/>
                  </a:lnTo>
                  <a:lnTo>
                    <a:pt x="383900" y="820206"/>
                  </a:lnTo>
                  <a:lnTo>
                    <a:pt x="384388" y="813317"/>
                  </a:lnTo>
                  <a:lnTo>
                    <a:pt x="384462" y="813318"/>
                  </a:lnTo>
                  <a:lnTo>
                    <a:pt x="388581" y="808766"/>
                  </a:lnTo>
                  <a:lnTo>
                    <a:pt x="388794" y="808769"/>
                  </a:lnTo>
                  <a:lnTo>
                    <a:pt x="397037" y="795689"/>
                  </a:lnTo>
                  <a:lnTo>
                    <a:pt x="376452" y="778684"/>
                  </a:lnTo>
                  <a:lnTo>
                    <a:pt x="363610" y="779329"/>
                  </a:lnTo>
                  <a:lnTo>
                    <a:pt x="363612" y="779337"/>
                  </a:lnTo>
                  <a:lnTo>
                    <a:pt x="338504" y="762592"/>
                  </a:lnTo>
                  <a:lnTo>
                    <a:pt x="316424" y="759017"/>
                  </a:lnTo>
                  <a:lnTo>
                    <a:pt x="301730" y="738575"/>
                  </a:lnTo>
                  <a:lnTo>
                    <a:pt x="304576" y="714590"/>
                  </a:lnTo>
                  <a:lnTo>
                    <a:pt x="295942" y="699431"/>
                  </a:lnTo>
                  <a:lnTo>
                    <a:pt x="281464" y="694021"/>
                  </a:lnTo>
                  <a:lnTo>
                    <a:pt x="260358" y="672782"/>
                  </a:lnTo>
                  <a:lnTo>
                    <a:pt x="259314" y="673702"/>
                  </a:lnTo>
                  <a:lnTo>
                    <a:pt x="254572" y="664805"/>
                  </a:lnTo>
                  <a:lnTo>
                    <a:pt x="222434" y="667327"/>
                  </a:lnTo>
                  <a:lnTo>
                    <a:pt x="229375" y="683184"/>
                  </a:lnTo>
                  <a:lnTo>
                    <a:pt x="201671" y="690548"/>
                  </a:lnTo>
                  <a:lnTo>
                    <a:pt x="205848" y="671056"/>
                  </a:lnTo>
                  <a:lnTo>
                    <a:pt x="194305" y="644779"/>
                  </a:lnTo>
                  <a:lnTo>
                    <a:pt x="194747" y="644398"/>
                  </a:lnTo>
                  <a:lnTo>
                    <a:pt x="195216" y="632659"/>
                  </a:lnTo>
                  <a:lnTo>
                    <a:pt x="194083" y="632226"/>
                  </a:lnTo>
                  <a:lnTo>
                    <a:pt x="181919" y="622292"/>
                  </a:lnTo>
                  <a:lnTo>
                    <a:pt x="152955" y="634331"/>
                  </a:lnTo>
                  <a:lnTo>
                    <a:pt x="162821" y="606455"/>
                  </a:lnTo>
                  <a:lnTo>
                    <a:pt x="147816" y="580519"/>
                  </a:lnTo>
                  <a:lnTo>
                    <a:pt x="147409" y="579599"/>
                  </a:lnTo>
                  <a:lnTo>
                    <a:pt x="131970" y="589907"/>
                  </a:lnTo>
                  <a:lnTo>
                    <a:pt x="131553" y="590283"/>
                  </a:lnTo>
                  <a:lnTo>
                    <a:pt x="126571" y="572524"/>
                  </a:lnTo>
                  <a:lnTo>
                    <a:pt x="105859" y="552313"/>
                  </a:lnTo>
                  <a:lnTo>
                    <a:pt x="111676" y="535610"/>
                  </a:lnTo>
                  <a:lnTo>
                    <a:pt x="130001" y="528490"/>
                  </a:lnTo>
                  <a:lnTo>
                    <a:pt x="168661" y="489109"/>
                  </a:lnTo>
                  <a:lnTo>
                    <a:pt x="155572" y="467891"/>
                  </a:lnTo>
                  <a:lnTo>
                    <a:pt x="187025" y="461324"/>
                  </a:lnTo>
                  <a:lnTo>
                    <a:pt x="175753" y="431034"/>
                  </a:lnTo>
                  <a:lnTo>
                    <a:pt x="151808" y="431086"/>
                  </a:lnTo>
                  <a:lnTo>
                    <a:pt x="134527" y="414626"/>
                  </a:lnTo>
                  <a:lnTo>
                    <a:pt x="160974" y="392913"/>
                  </a:lnTo>
                  <a:lnTo>
                    <a:pt x="130835" y="385876"/>
                  </a:lnTo>
                  <a:lnTo>
                    <a:pt x="131244" y="385514"/>
                  </a:lnTo>
                  <a:lnTo>
                    <a:pt x="139978" y="369291"/>
                  </a:lnTo>
                  <a:lnTo>
                    <a:pt x="140229" y="348512"/>
                  </a:lnTo>
                  <a:lnTo>
                    <a:pt x="165577" y="350832"/>
                  </a:lnTo>
                  <a:lnTo>
                    <a:pt x="165797" y="351003"/>
                  </a:lnTo>
                  <a:lnTo>
                    <a:pt x="167065" y="313690"/>
                  </a:lnTo>
                  <a:lnTo>
                    <a:pt x="167083" y="313702"/>
                  </a:lnTo>
                  <a:lnTo>
                    <a:pt x="167073" y="313463"/>
                  </a:lnTo>
                  <a:lnTo>
                    <a:pt x="167065" y="313690"/>
                  </a:lnTo>
                  <a:lnTo>
                    <a:pt x="156027" y="306395"/>
                  </a:lnTo>
                  <a:lnTo>
                    <a:pt x="158438" y="290099"/>
                  </a:lnTo>
                  <a:lnTo>
                    <a:pt x="146974" y="282724"/>
                  </a:lnTo>
                  <a:lnTo>
                    <a:pt x="124412" y="293323"/>
                  </a:lnTo>
                  <a:lnTo>
                    <a:pt x="110787" y="309638"/>
                  </a:lnTo>
                  <a:lnTo>
                    <a:pt x="98565" y="306854"/>
                  </a:lnTo>
                  <a:lnTo>
                    <a:pt x="98529" y="305831"/>
                  </a:lnTo>
                  <a:lnTo>
                    <a:pt x="81178" y="290358"/>
                  </a:lnTo>
                  <a:lnTo>
                    <a:pt x="56293" y="303962"/>
                  </a:lnTo>
                  <a:lnTo>
                    <a:pt x="34386" y="299821"/>
                  </a:lnTo>
                  <a:lnTo>
                    <a:pt x="36610" y="274784"/>
                  </a:lnTo>
                  <a:lnTo>
                    <a:pt x="11391" y="267847"/>
                  </a:lnTo>
                  <a:lnTo>
                    <a:pt x="22268" y="251985"/>
                  </a:lnTo>
                  <a:lnTo>
                    <a:pt x="21610" y="208782"/>
                  </a:lnTo>
                  <a:lnTo>
                    <a:pt x="0" y="207941"/>
                  </a:lnTo>
                  <a:lnTo>
                    <a:pt x="54" y="188586"/>
                  </a:lnTo>
                  <a:lnTo>
                    <a:pt x="26341" y="162549"/>
                  </a:lnTo>
                  <a:lnTo>
                    <a:pt x="52143" y="163320"/>
                  </a:lnTo>
                  <a:lnTo>
                    <a:pt x="94449" y="158289"/>
                  </a:lnTo>
                  <a:lnTo>
                    <a:pt x="117887" y="175539"/>
                  </a:lnTo>
                  <a:lnTo>
                    <a:pt x="141163" y="165853"/>
                  </a:lnTo>
                  <a:lnTo>
                    <a:pt x="147990" y="143033"/>
                  </a:lnTo>
                  <a:lnTo>
                    <a:pt x="192715" y="142003"/>
                  </a:lnTo>
                  <a:lnTo>
                    <a:pt x="174385" y="116843"/>
                  </a:lnTo>
                  <a:lnTo>
                    <a:pt x="176266" y="85036"/>
                  </a:lnTo>
                  <a:lnTo>
                    <a:pt x="150463" y="79262"/>
                  </a:lnTo>
                  <a:lnTo>
                    <a:pt x="159279" y="66926"/>
                  </a:lnTo>
                  <a:lnTo>
                    <a:pt x="183146" y="63775"/>
                  </a:lnTo>
                  <a:lnTo>
                    <a:pt x="179921" y="42024"/>
                  </a:lnTo>
                  <a:lnTo>
                    <a:pt x="160193" y="15420"/>
                  </a:lnTo>
                  <a:lnTo>
                    <a:pt x="144066" y="2409"/>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8" name="ee4p_51_1_43215"/>
            <p:cNvSpPr>
              <a:spLocks noChangeAspect="1"/>
            </p:cNvSpPr>
            <p:nvPr>
              <p:custDataLst>
                <p:tags r:id="rId34"/>
              </p:custDataLst>
            </p:nvPr>
          </p:nvSpPr>
          <p:spPr bwMode="gray">
            <a:xfrm>
              <a:off x="4849551" y="5469400"/>
              <a:ext cx="828083" cy="768289"/>
            </a:xfrm>
            <a:custGeom>
              <a:avLst/>
              <a:gdLst/>
              <a:ahLst/>
              <a:cxnLst/>
              <a:rect l="l" t="t" r="r" b="b"/>
              <a:pathLst>
                <a:path w="828083" h="768289">
                  <a:moveTo>
                    <a:pt x="435536" y="695427"/>
                  </a:moveTo>
                  <a:lnTo>
                    <a:pt x="444120" y="720130"/>
                  </a:lnTo>
                  <a:lnTo>
                    <a:pt x="475071" y="717939"/>
                  </a:lnTo>
                  <a:lnTo>
                    <a:pt x="486270" y="713016"/>
                  </a:lnTo>
                  <a:lnTo>
                    <a:pt x="514430" y="714512"/>
                  </a:lnTo>
                  <a:lnTo>
                    <a:pt x="519991" y="722134"/>
                  </a:lnTo>
                  <a:lnTo>
                    <a:pt x="552918" y="722825"/>
                  </a:lnTo>
                  <a:lnTo>
                    <a:pt x="559063" y="727853"/>
                  </a:lnTo>
                  <a:lnTo>
                    <a:pt x="579424" y="721722"/>
                  </a:lnTo>
                  <a:lnTo>
                    <a:pt x="584335" y="741811"/>
                  </a:lnTo>
                  <a:lnTo>
                    <a:pt x="594109" y="747901"/>
                  </a:lnTo>
                  <a:lnTo>
                    <a:pt x="615583" y="734547"/>
                  </a:lnTo>
                  <a:lnTo>
                    <a:pt x="639394" y="747685"/>
                  </a:lnTo>
                  <a:lnTo>
                    <a:pt x="622789" y="760355"/>
                  </a:lnTo>
                  <a:lnTo>
                    <a:pt x="609984" y="755636"/>
                  </a:lnTo>
                  <a:lnTo>
                    <a:pt x="594255" y="759950"/>
                  </a:lnTo>
                  <a:lnTo>
                    <a:pt x="551898" y="760114"/>
                  </a:lnTo>
                  <a:lnTo>
                    <a:pt x="495436" y="768289"/>
                  </a:lnTo>
                  <a:lnTo>
                    <a:pt x="488579" y="749773"/>
                  </a:lnTo>
                  <a:lnTo>
                    <a:pt x="475628" y="749253"/>
                  </a:lnTo>
                  <a:lnTo>
                    <a:pt x="455522" y="738514"/>
                  </a:lnTo>
                  <a:lnTo>
                    <a:pt x="420288" y="737769"/>
                  </a:lnTo>
                  <a:lnTo>
                    <a:pt x="400713" y="732647"/>
                  </a:lnTo>
                  <a:lnTo>
                    <a:pt x="378974" y="734546"/>
                  </a:lnTo>
                  <a:lnTo>
                    <a:pt x="374409" y="725064"/>
                  </a:lnTo>
                  <a:lnTo>
                    <a:pt x="377840" y="706570"/>
                  </a:lnTo>
                  <a:lnTo>
                    <a:pt x="397351" y="700017"/>
                  </a:lnTo>
                  <a:lnTo>
                    <a:pt x="413382" y="703417"/>
                  </a:lnTo>
                  <a:close/>
                  <a:moveTo>
                    <a:pt x="317191" y="607318"/>
                  </a:moveTo>
                  <a:lnTo>
                    <a:pt x="331643" y="622337"/>
                  </a:lnTo>
                  <a:lnTo>
                    <a:pt x="316124" y="632502"/>
                  </a:lnTo>
                  <a:lnTo>
                    <a:pt x="311294" y="614522"/>
                  </a:lnTo>
                  <a:close/>
                  <a:moveTo>
                    <a:pt x="828083" y="603448"/>
                  </a:moveTo>
                  <a:lnTo>
                    <a:pt x="812260" y="637967"/>
                  </a:lnTo>
                  <a:lnTo>
                    <a:pt x="786037" y="662116"/>
                  </a:lnTo>
                  <a:lnTo>
                    <a:pt x="778470" y="656516"/>
                  </a:lnTo>
                  <a:lnTo>
                    <a:pt x="783232" y="629087"/>
                  </a:lnTo>
                  <a:lnTo>
                    <a:pt x="793921" y="614209"/>
                  </a:lnTo>
                  <a:lnTo>
                    <a:pt x="817113" y="603531"/>
                  </a:lnTo>
                  <a:close/>
                  <a:moveTo>
                    <a:pt x="568869" y="518954"/>
                  </a:moveTo>
                  <a:lnTo>
                    <a:pt x="573363" y="526947"/>
                  </a:lnTo>
                  <a:lnTo>
                    <a:pt x="568650" y="543728"/>
                  </a:lnTo>
                  <a:lnTo>
                    <a:pt x="558950" y="548379"/>
                  </a:lnTo>
                  <a:lnTo>
                    <a:pt x="547653" y="530586"/>
                  </a:lnTo>
                  <a:close/>
                  <a:moveTo>
                    <a:pt x="106074" y="445085"/>
                  </a:moveTo>
                  <a:lnTo>
                    <a:pt x="119193" y="449250"/>
                  </a:lnTo>
                  <a:lnTo>
                    <a:pt x="109711" y="466052"/>
                  </a:lnTo>
                  <a:lnTo>
                    <a:pt x="92153" y="447438"/>
                  </a:lnTo>
                  <a:close/>
                  <a:moveTo>
                    <a:pt x="212673" y="389756"/>
                  </a:moveTo>
                  <a:lnTo>
                    <a:pt x="226107" y="392100"/>
                  </a:lnTo>
                  <a:lnTo>
                    <a:pt x="242127" y="404831"/>
                  </a:lnTo>
                  <a:lnTo>
                    <a:pt x="272630" y="412053"/>
                  </a:lnTo>
                  <a:lnTo>
                    <a:pt x="302442" y="431207"/>
                  </a:lnTo>
                  <a:lnTo>
                    <a:pt x="322816" y="436764"/>
                  </a:lnTo>
                  <a:lnTo>
                    <a:pt x="339173" y="449357"/>
                  </a:lnTo>
                  <a:lnTo>
                    <a:pt x="336999" y="469513"/>
                  </a:lnTo>
                  <a:lnTo>
                    <a:pt x="369885" y="491992"/>
                  </a:lnTo>
                  <a:lnTo>
                    <a:pt x="347854" y="493774"/>
                  </a:lnTo>
                  <a:lnTo>
                    <a:pt x="319651" y="481406"/>
                  </a:lnTo>
                  <a:lnTo>
                    <a:pt x="295563" y="484853"/>
                  </a:lnTo>
                  <a:lnTo>
                    <a:pt x="320421" y="530940"/>
                  </a:lnTo>
                  <a:lnTo>
                    <a:pt x="325689" y="554812"/>
                  </a:lnTo>
                  <a:lnTo>
                    <a:pt x="324848" y="579597"/>
                  </a:lnTo>
                  <a:lnTo>
                    <a:pt x="318841" y="592438"/>
                  </a:lnTo>
                  <a:lnTo>
                    <a:pt x="300446" y="561211"/>
                  </a:lnTo>
                  <a:lnTo>
                    <a:pt x="279637" y="564634"/>
                  </a:lnTo>
                  <a:lnTo>
                    <a:pt x="260826" y="597111"/>
                  </a:lnTo>
                  <a:lnTo>
                    <a:pt x="260585" y="574807"/>
                  </a:lnTo>
                  <a:lnTo>
                    <a:pt x="253827" y="559759"/>
                  </a:lnTo>
                  <a:lnTo>
                    <a:pt x="239316" y="545191"/>
                  </a:lnTo>
                  <a:lnTo>
                    <a:pt x="218387" y="541166"/>
                  </a:lnTo>
                  <a:lnTo>
                    <a:pt x="218782" y="565696"/>
                  </a:lnTo>
                  <a:lnTo>
                    <a:pt x="198813" y="561331"/>
                  </a:lnTo>
                  <a:lnTo>
                    <a:pt x="197123" y="545567"/>
                  </a:lnTo>
                  <a:lnTo>
                    <a:pt x="184684" y="532962"/>
                  </a:lnTo>
                  <a:lnTo>
                    <a:pt x="184257" y="517611"/>
                  </a:lnTo>
                  <a:lnTo>
                    <a:pt x="195950" y="504322"/>
                  </a:lnTo>
                  <a:lnTo>
                    <a:pt x="181856" y="477467"/>
                  </a:lnTo>
                  <a:lnTo>
                    <a:pt x="164958" y="465704"/>
                  </a:lnTo>
                  <a:lnTo>
                    <a:pt x="157760" y="454487"/>
                  </a:lnTo>
                  <a:lnTo>
                    <a:pt x="138569" y="444276"/>
                  </a:lnTo>
                  <a:lnTo>
                    <a:pt x="157910" y="424200"/>
                  </a:lnTo>
                  <a:lnTo>
                    <a:pt x="164192" y="403712"/>
                  </a:lnTo>
                  <a:lnTo>
                    <a:pt x="186947" y="411298"/>
                  </a:lnTo>
                  <a:lnTo>
                    <a:pt x="200492" y="395642"/>
                  </a:lnTo>
                  <a:close/>
                  <a:moveTo>
                    <a:pt x="86172" y="373941"/>
                  </a:moveTo>
                  <a:lnTo>
                    <a:pt x="108305" y="412661"/>
                  </a:lnTo>
                  <a:lnTo>
                    <a:pt x="85166" y="417010"/>
                  </a:lnTo>
                  <a:lnTo>
                    <a:pt x="64289" y="406100"/>
                  </a:lnTo>
                  <a:lnTo>
                    <a:pt x="70408" y="390082"/>
                  </a:lnTo>
                  <a:lnTo>
                    <a:pt x="83279" y="389005"/>
                  </a:lnTo>
                  <a:close/>
                  <a:moveTo>
                    <a:pt x="614730" y="360166"/>
                  </a:moveTo>
                  <a:lnTo>
                    <a:pt x="627649" y="365148"/>
                  </a:lnTo>
                  <a:lnTo>
                    <a:pt x="627547" y="392524"/>
                  </a:lnTo>
                  <a:lnTo>
                    <a:pt x="613174" y="409990"/>
                  </a:lnTo>
                  <a:lnTo>
                    <a:pt x="599042" y="399930"/>
                  </a:lnTo>
                  <a:lnTo>
                    <a:pt x="611751" y="388914"/>
                  </a:lnTo>
                  <a:lnTo>
                    <a:pt x="597825" y="362465"/>
                  </a:lnTo>
                  <a:close/>
                  <a:moveTo>
                    <a:pt x="98753" y="331440"/>
                  </a:moveTo>
                  <a:lnTo>
                    <a:pt x="101643" y="354527"/>
                  </a:lnTo>
                  <a:lnTo>
                    <a:pt x="85464" y="350735"/>
                  </a:lnTo>
                  <a:close/>
                  <a:moveTo>
                    <a:pt x="352665" y="310331"/>
                  </a:moveTo>
                  <a:lnTo>
                    <a:pt x="363489" y="319869"/>
                  </a:lnTo>
                  <a:lnTo>
                    <a:pt x="367481" y="333339"/>
                  </a:lnTo>
                  <a:lnTo>
                    <a:pt x="394945" y="347831"/>
                  </a:lnTo>
                  <a:lnTo>
                    <a:pt x="430683" y="352313"/>
                  </a:lnTo>
                  <a:lnTo>
                    <a:pt x="441121" y="368364"/>
                  </a:lnTo>
                  <a:lnTo>
                    <a:pt x="436264" y="382981"/>
                  </a:lnTo>
                  <a:lnTo>
                    <a:pt x="445022" y="405095"/>
                  </a:lnTo>
                  <a:lnTo>
                    <a:pt x="475835" y="411736"/>
                  </a:lnTo>
                  <a:lnTo>
                    <a:pt x="475173" y="424620"/>
                  </a:lnTo>
                  <a:lnTo>
                    <a:pt x="452422" y="429755"/>
                  </a:lnTo>
                  <a:lnTo>
                    <a:pt x="432082" y="395699"/>
                  </a:lnTo>
                  <a:lnTo>
                    <a:pt x="418313" y="381892"/>
                  </a:lnTo>
                  <a:lnTo>
                    <a:pt x="383706" y="381604"/>
                  </a:lnTo>
                  <a:lnTo>
                    <a:pt x="379459" y="362828"/>
                  </a:lnTo>
                  <a:lnTo>
                    <a:pt x="353203" y="341529"/>
                  </a:lnTo>
                  <a:lnTo>
                    <a:pt x="322706" y="324900"/>
                  </a:lnTo>
                  <a:lnTo>
                    <a:pt x="334412" y="313823"/>
                  </a:lnTo>
                  <a:close/>
                  <a:moveTo>
                    <a:pt x="646587" y="271921"/>
                  </a:moveTo>
                  <a:lnTo>
                    <a:pt x="648954" y="282642"/>
                  </a:lnTo>
                  <a:lnTo>
                    <a:pt x="664046" y="295392"/>
                  </a:lnTo>
                  <a:lnTo>
                    <a:pt x="671752" y="311934"/>
                  </a:lnTo>
                  <a:lnTo>
                    <a:pt x="652556" y="319009"/>
                  </a:lnTo>
                  <a:lnTo>
                    <a:pt x="628377" y="313246"/>
                  </a:lnTo>
                  <a:lnTo>
                    <a:pt x="621586" y="305432"/>
                  </a:lnTo>
                  <a:lnTo>
                    <a:pt x="600033" y="297520"/>
                  </a:lnTo>
                  <a:lnTo>
                    <a:pt x="598218" y="285805"/>
                  </a:lnTo>
                  <a:close/>
                  <a:moveTo>
                    <a:pt x="54" y="224295"/>
                  </a:moveTo>
                  <a:lnTo>
                    <a:pt x="23452" y="224797"/>
                  </a:lnTo>
                  <a:lnTo>
                    <a:pt x="15954" y="235758"/>
                  </a:lnTo>
                  <a:lnTo>
                    <a:pt x="0" y="237472"/>
                  </a:lnTo>
                  <a:close/>
                  <a:moveTo>
                    <a:pt x="557712" y="200479"/>
                  </a:moveTo>
                  <a:lnTo>
                    <a:pt x="548389" y="214936"/>
                  </a:lnTo>
                  <a:lnTo>
                    <a:pt x="521006" y="215945"/>
                  </a:lnTo>
                  <a:lnTo>
                    <a:pt x="520315" y="202914"/>
                  </a:lnTo>
                  <a:close/>
                  <a:moveTo>
                    <a:pt x="357313" y="184580"/>
                  </a:moveTo>
                  <a:lnTo>
                    <a:pt x="373171" y="199068"/>
                  </a:lnTo>
                  <a:lnTo>
                    <a:pt x="364797" y="204448"/>
                  </a:lnTo>
                  <a:lnTo>
                    <a:pt x="352177" y="192070"/>
                  </a:lnTo>
                  <a:close/>
                  <a:moveTo>
                    <a:pt x="483344" y="111376"/>
                  </a:moveTo>
                  <a:lnTo>
                    <a:pt x="493862" y="130185"/>
                  </a:lnTo>
                  <a:lnTo>
                    <a:pt x="480617" y="134433"/>
                  </a:lnTo>
                  <a:lnTo>
                    <a:pt x="468228" y="128172"/>
                  </a:lnTo>
                  <a:close/>
                  <a:moveTo>
                    <a:pt x="628583" y="0"/>
                  </a:moveTo>
                  <a:lnTo>
                    <a:pt x="646818" y="4356"/>
                  </a:lnTo>
                  <a:lnTo>
                    <a:pt x="670267" y="17353"/>
                  </a:lnTo>
                  <a:lnTo>
                    <a:pt x="673653" y="42032"/>
                  </a:lnTo>
                  <a:lnTo>
                    <a:pt x="644968" y="56682"/>
                  </a:lnTo>
                  <a:lnTo>
                    <a:pt x="646965" y="92314"/>
                  </a:lnTo>
                  <a:lnTo>
                    <a:pt x="615359" y="117492"/>
                  </a:lnTo>
                  <a:lnTo>
                    <a:pt x="603674" y="103996"/>
                  </a:lnTo>
                  <a:lnTo>
                    <a:pt x="569803" y="102904"/>
                  </a:lnTo>
                  <a:lnTo>
                    <a:pt x="528014" y="91580"/>
                  </a:lnTo>
                  <a:lnTo>
                    <a:pt x="522129" y="85907"/>
                  </a:lnTo>
                  <a:lnTo>
                    <a:pt x="495949" y="104230"/>
                  </a:lnTo>
                  <a:lnTo>
                    <a:pt x="479409" y="102289"/>
                  </a:lnTo>
                  <a:lnTo>
                    <a:pt x="471782" y="91747"/>
                  </a:lnTo>
                  <a:lnTo>
                    <a:pt x="456832" y="94134"/>
                  </a:lnTo>
                  <a:lnTo>
                    <a:pt x="448887" y="106666"/>
                  </a:lnTo>
                  <a:lnTo>
                    <a:pt x="423122" y="118888"/>
                  </a:lnTo>
                  <a:lnTo>
                    <a:pt x="403676" y="111320"/>
                  </a:lnTo>
                  <a:lnTo>
                    <a:pt x="393761" y="126018"/>
                  </a:lnTo>
                  <a:lnTo>
                    <a:pt x="402579" y="137364"/>
                  </a:lnTo>
                  <a:lnTo>
                    <a:pt x="402163" y="159400"/>
                  </a:lnTo>
                  <a:lnTo>
                    <a:pt x="389533" y="164462"/>
                  </a:lnTo>
                  <a:lnTo>
                    <a:pt x="397438" y="179479"/>
                  </a:lnTo>
                  <a:lnTo>
                    <a:pt x="416437" y="186677"/>
                  </a:lnTo>
                  <a:lnTo>
                    <a:pt x="420707" y="200077"/>
                  </a:lnTo>
                  <a:lnTo>
                    <a:pt x="413562" y="208151"/>
                  </a:lnTo>
                  <a:lnTo>
                    <a:pt x="385027" y="175427"/>
                  </a:lnTo>
                  <a:lnTo>
                    <a:pt x="359584" y="169684"/>
                  </a:lnTo>
                  <a:lnTo>
                    <a:pt x="350953" y="174552"/>
                  </a:lnTo>
                  <a:lnTo>
                    <a:pt x="313923" y="157568"/>
                  </a:lnTo>
                  <a:lnTo>
                    <a:pt x="296895" y="137119"/>
                  </a:lnTo>
                  <a:lnTo>
                    <a:pt x="282734" y="146841"/>
                  </a:lnTo>
                  <a:lnTo>
                    <a:pt x="289151" y="159289"/>
                  </a:lnTo>
                  <a:lnTo>
                    <a:pt x="278161" y="184473"/>
                  </a:lnTo>
                  <a:lnTo>
                    <a:pt x="282650" y="199669"/>
                  </a:lnTo>
                  <a:lnTo>
                    <a:pt x="307652" y="223831"/>
                  </a:lnTo>
                  <a:lnTo>
                    <a:pt x="315643" y="249605"/>
                  </a:lnTo>
                  <a:lnTo>
                    <a:pt x="331175" y="258014"/>
                  </a:lnTo>
                  <a:lnTo>
                    <a:pt x="348518" y="279067"/>
                  </a:lnTo>
                  <a:lnTo>
                    <a:pt x="316441" y="275853"/>
                  </a:lnTo>
                  <a:lnTo>
                    <a:pt x="304762" y="291224"/>
                  </a:lnTo>
                  <a:lnTo>
                    <a:pt x="318445" y="301106"/>
                  </a:lnTo>
                  <a:lnTo>
                    <a:pt x="322905" y="317442"/>
                  </a:lnTo>
                  <a:lnTo>
                    <a:pt x="292778" y="332468"/>
                  </a:lnTo>
                  <a:lnTo>
                    <a:pt x="298658" y="339019"/>
                  </a:lnTo>
                  <a:lnTo>
                    <a:pt x="325257" y="342221"/>
                  </a:lnTo>
                  <a:lnTo>
                    <a:pt x="330525" y="354134"/>
                  </a:lnTo>
                  <a:lnTo>
                    <a:pt x="352974" y="355549"/>
                  </a:lnTo>
                  <a:lnTo>
                    <a:pt x="354352" y="367523"/>
                  </a:lnTo>
                  <a:lnTo>
                    <a:pt x="379109" y="374011"/>
                  </a:lnTo>
                  <a:lnTo>
                    <a:pt x="387490" y="389181"/>
                  </a:lnTo>
                  <a:lnTo>
                    <a:pt x="414509" y="395502"/>
                  </a:lnTo>
                  <a:lnTo>
                    <a:pt x="423339" y="404013"/>
                  </a:lnTo>
                  <a:lnTo>
                    <a:pt x="416872" y="415254"/>
                  </a:lnTo>
                  <a:lnTo>
                    <a:pt x="426905" y="451853"/>
                  </a:lnTo>
                  <a:lnTo>
                    <a:pt x="413314" y="464438"/>
                  </a:lnTo>
                  <a:lnTo>
                    <a:pt x="406081" y="449829"/>
                  </a:lnTo>
                  <a:lnTo>
                    <a:pt x="388099" y="435369"/>
                  </a:lnTo>
                  <a:lnTo>
                    <a:pt x="365561" y="424685"/>
                  </a:lnTo>
                  <a:lnTo>
                    <a:pt x="322810" y="436661"/>
                  </a:lnTo>
                  <a:lnTo>
                    <a:pt x="318253" y="418367"/>
                  </a:lnTo>
                  <a:lnTo>
                    <a:pt x="338348" y="419053"/>
                  </a:lnTo>
                  <a:lnTo>
                    <a:pt x="332231" y="404315"/>
                  </a:lnTo>
                  <a:lnTo>
                    <a:pt x="316067" y="406778"/>
                  </a:lnTo>
                  <a:lnTo>
                    <a:pt x="302314" y="396430"/>
                  </a:lnTo>
                  <a:lnTo>
                    <a:pt x="265754" y="378818"/>
                  </a:lnTo>
                  <a:lnTo>
                    <a:pt x="263313" y="388346"/>
                  </a:lnTo>
                  <a:lnTo>
                    <a:pt x="243928" y="389331"/>
                  </a:lnTo>
                  <a:lnTo>
                    <a:pt x="230112" y="382964"/>
                  </a:lnTo>
                  <a:lnTo>
                    <a:pt x="208880" y="383233"/>
                  </a:lnTo>
                  <a:lnTo>
                    <a:pt x="202533" y="390665"/>
                  </a:lnTo>
                  <a:lnTo>
                    <a:pt x="175565" y="393718"/>
                  </a:lnTo>
                  <a:lnTo>
                    <a:pt x="168230" y="383063"/>
                  </a:lnTo>
                  <a:lnTo>
                    <a:pt x="145072" y="393783"/>
                  </a:lnTo>
                  <a:lnTo>
                    <a:pt x="141243" y="380644"/>
                  </a:lnTo>
                  <a:lnTo>
                    <a:pt x="120813" y="351980"/>
                  </a:lnTo>
                  <a:lnTo>
                    <a:pt x="115992" y="337865"/>
                  </a:lnTo>
                  <a:lnTo>
                    <a:pt x="102220" y="337997"/>
                  </a:lnTo>
                  <a:lnTo>
                    <a:pt x="105178" y="322337"/>
                  </a:lnTo>
                  <a:lnTo>
                    <a:pt x="141882" y="323438"/>
                  </a:lnTo>
                  <a:lnTo>
                    <a:pt x="109039" y="302879"/>
                  </a:lnTo>
                  <a:lnTo>
                    <a:pt x="97832" y="306833"/>
                  </a:lnTo>
                  <a:lnTo>
                    <a:pt x="59446" y="277588"/>
                  </a:lnTo>
                  <a:lnTo>
                    <a:pt x="50374" y="241554"/>
                  </a:lnTo>
                  <a:lnTo>
                    <a:pt x="71981" y="219216"/>
                  </a:lnTo>
                  <a:lnTo>
                    <a:pt x="61837" y="202105"/>
                  </a:lnTo>
                  <a:lnTo>
                    <a:pt x="72263" y="194081"/>
                  </a:lnTo>
                  <a:lnTo>
                    <a:pt x="97353" y="188541"/>
                  </a:lnTo>
                  <a:lnTo>
                    <a:pt x="100668" y="168802"/>
                  </a:lnTo>
                  <a:lnTo>
                    <a:pt x="113195" y="146252"/>
                  </a:lnTo>
                  <a:lnTo>
                    <a:pt x="125324" y="145246"/>
                  </a:lnTo>
                  <a:lnTo>
                    <a:pt x="133918" y="124669"/>
                  </a:lnTo>
                  <a:lnTo>
                    <a:pt x="126470" y="103082"/>
                  </a:lnTo>
                  <a:lnTo>
                    <a:pt x="153492" y="102641"/>
                  </a:lnTo>
                  <a:lnTo>
                    <a:pt x="168759" y="95949"/>
                  </a:lnTo>
                  <a:lnTo>
                    <a:pt x="183203" y="101846"/>
                  </a:lnTo>
                  <a:lnTo>
                    <a:pt x="205776" y="89306"/>
                  </a:lnTo>
                  <a:lnTo>
                    <a:pt x="216331" y="76015"/>
                  </a:lnTo>
                  <a:lnTo>
                    <a:pt x="231634" y="68444"/>
                  </a:lnTo>
                  <a:lnTo>
                    <a:pt x="250330" y="67333"/>
                  </a:lnTo>
                  <a:lnTo>
                    <a:pt x="270182" y="73029"/>
                  </a:lnTo>
                  <a:lnTo>
                    <a:pt x="297465" y="67697"/>
                  </a:lnTo>
                  <a:lnTo>
                    <a:pt x="299466" y="48955"/>
                  </a:lnTo>
                  <a:lnTo>
                    <a:pt x="314901" y="47448"/>
                  </a:lnTo>
                  <a:lnTo>
                    <a:pt x="341324" y="49139"/>
                  </a:lnTo>
                  <a:lnTo>
                    <a:pt x="353085" y="40387"/>
                  </a:lnTo>
                  <a:lnTo>
                    <a:pt x="383487" y="43179"/>
                  </a:lnTo>
                  <a:lnTo>
                    <a:pt x="415355" y="35781"/>
                  </a:lnTo>
                  <a:lnTo>
                    <a:pt x="435623" y="27004"/>
                  </a:lnTo>
                  <a:lnTo>
                    <a:pt x="463485" y="25450"/>
                  </a:lnTo>
                  <a:lnTo>
                    <a:pt x="476496" y="35616"/>
                  </a:lnTo>
                  <a:lnTo>
                    <a:pt x="521608" y="44939"/>
                  </a:lnTo>
                  <a:lnTo>
                    <a:pt x="537967" y="57994"/>
                  </a:lnTo>
                  <a:lnTo>
                    <a:pt x="570984" y="49736"/>
                  </a:lnTo>
                  <a:lnTo>
                    <a:pt x="601000" y="51401"/>
                  </a:lnTo>
                  <a:lnTo>
                    <a:pt x="625004" y="45552"/>
                  </a:lnTo>
                  <a:lnTo>
                    <a:pt x="628902" y="36614"/>
                  </a:lnTo>
                  <a:lnTo>
                    <a:pt x="625573" y="15642"/>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9" name="ee4p_53_1_43215"/>
            <p:cNvSpPr>
              <a:spLocks noChangeAspect="1"/>
            </p:cNvSpPr>
            <p:nvPr>
              <p:custDataLst>
                <p:tags r:id="rId35"/>
              </p:custDataLst>
            </p:nvPr>
          </p:nvSpPr>
          <p:spPr bwMode="gray">
            <a:xfrm>
              <a:off x="2156217" y="3033496"/>
              <a:ext cx="960080" cy="1441913"/>
            </a:xfrm>
            <a:custGeom>
              <a:avLst/>
              <a:gdLst/>
              <a:ahLst/>
              <a:cxnLst/>
              <a:rect l="l" t="t" r="r" b="b"/>
              <a:pathLst>
                <a:path w="960080" h="1441913">
                  <a:moveTo>
                    <a:pt x="363356" y="997573"/>
                  </a:moveTo>
                  <a:lnTo>
                    <a:pt x="374365" y="998989"/>
                  </a:lnTo>
                  <a:lnTo>
                    <a:pt x="394261" y="1018517"/>
                  </a:lnTo>
                  <a:lnTo>
                    <a:pt x="383999" y="1025292"/>
                  </a:lnTo>
                  <a:lnTo>
                    <a:pt x="383362" y="1025496"/>
                  </a:lnTo>
                  <a:lnTo>
                    <a:pt x="383122" y="1025870"/>
                  </a:lnTo>
                  <a:lnTo>
                    <a:pt x="368022" y="1035838"/>
                  </a:lnTo>
                  <a:lnTo>
                    <a:pt x="345893" y="1014807"/>
                  </a:lnTo>
                  <a:lnTo>
                    <a:pt x="346993" y="1000551"/>
                  </a:lnTo>
                  <a:close/>
                  <a:moveTo>
                    <a:pt x="160424" y="754316"/>
                  </a:moveTo>
                  <a:lnTo>
                    <a:pt x="195658" y="756999"/>
                  </a:lnTo>
                  <a:lnTo>
                    <a:pt x="205025" y="780387"/>
                  </a:lnTo>
                  <a:lnTo>
                    <a:pt x="254705" y="835807"/>
                  </a:lnTo>
                  <a:lnTo>
                    <a:pt x="238513" y="848345"/>
                  </a:lnTo>
                  <a:lnTo>
                    <a:pt x="253868" y="879601"/>
                  </a:lnTo>
                  <a:lnTo>
                    <a:pt x="220357" y="892753"/>
                  </a:lnTo>
                  <a:lnTo>
                    <a:pt x="219172" y="907265"/>
                  </a:lnTo>
                  <a:lnTo>
                    <a:pt x="199900" y="912829"/>
                  </a:lnTo>
                  <a:lnTo>
                    <a:pt x="183245" y="907609"/>
                  </a:lnTo>
                  <a:lnTo>
                    <a:pt x="148821" y="916349"/>
                  </a:lnTo>
                  <a:lnTo>
                    <a:pt x="148215" y="900830"/>
                  </a:lnTo>
                  <a:lnTo>
                    <a:pt x="130281" y="891520"/>
                  </a:lnTo>
                  <a:lnTo>
                    <a:pt x="124389" y="875071"/>
                  </a:lnTo>
                  <a:lnTo>
                    <a:pt x="107209" y="866357"/>
                  </a:lnTo>
                  <a:lnTo>
                    <a:pt x="79551" y="901771"/>
                  </a:lnTo>
                  <a:lnTo>
                    <a:pt x="57655" y="904395"/>
                  </a:lnTo>
                  <a:lnTo>
                    <a:pt x="29248" y="892297"/>
                  </a:lnTo>
                  <a:lnTo>
                    <a:pt x="0" y="862359"/>
                  </a:lnTo>
                  <a:lnTo>
                    <a:pt x="15076" y="848472"/>
                  </a:lnTo>
                  <a:lnTo>
                    <a:pt x="39607" y="841486"/>
                  </a:lnTo>
                  <a:lnTo>
                    <a:pt x="40229" y="827265"/>
                  </a:lnTo>
                  <a:lnTo>
                    <a:pt x="69631" y="803848"/>
                  </a:lnTo>
                  <a:lnTo>
                    <a:pt x="73160" y="787107"/>
                  </a:lnTo>
                  <a:lnTo>
                    <a:pt x="87640" y="778562"/>
                  </a:lnTo>
                  <a:lnTo>
                    <a:pt x="105442" y="781367"/>
                  </a:lnTo>
                  <a:lnTo>
                    <a:pt x="120486" y="763913"/>
                  </a:lnTo>
                  <a:lnTo>
                    <a:pt x="138550" y="764505"/>
                  </a:lnTo>
                  <a:close/>
                  <a:moveTo>
                    <a:pt x="290560" y="696246"/>
                  </a:moveTo>
                  <a:lnTo>
                    <a:pt x="297847" y="726243"/>
                  </a:lnTo>
                  <a:lnTo>
                    <a:pt x="282020" y="728399"/>
                  </a:lnTo>
                  <a:lnTo>
                    <a:pt x="267693" y="705008"/>
                  </a:lnTo>
                  <a:close/>
                  <a:moveTo>
                    <a:pt x="197547" y="661065"/>
                  </a:moveTo>
                  <a:lnTo>
                    <a:pt x="206450" y="696100"/>
                  </a:lnTo>
                  <a:lnTo>
                    <a:pt x="183356" y="709275"/>
                  </a:lnTo>
                  <a:lnTo>
                    <a:pt x="165072" y="672219"/>
                  </a:lnTo>
                  <a:close/>
                  <a:moveTo>
                    <a:pt x="214009" y="647015"/>
                  </a:moveTo>
                  <a:lnTo>
                    <a:pt x="229185" y="650415"/>
                  </a:lnTo>
                  <a:lnTo>
                    <a:pt x="215313" y="670322"/>
                  </a:lnTo>
                  <a:lnTo>
                    <a:pt x="200145" y="667040"/>
                  </a:lnTo>
                  <a:close/>
                  <a:moveTo>
                    <a:pt x="198274" y="563930"/>
                  </a:moveTo>
                  <a:lnTo>
                    <a:pt x="212665" y="579589"/>
                  </a:lnTo>
                  <a:lnTo>
                    <a:pt x="243351" y="590570"/>
                  </a:lnTo>
                  <a:lnTo>
                    <a:pt x="225175" y="609710"/>
                  </a:lnTo>
                  <a:lnTo>
                    <a:pt x="185439" y="612726"/>
                  </a:lnTo>
                  <a:lnTo>
                    <a:pt x="197385" y="587542"/>
                  </a:lnTo>
                  <a:lnTo>
                    <a:pt x="177993" y="570567"/>
                  </a:lnTo>
                  <a:close/>
                  <a:moveTo>
                    <a:pt x="65629" y="422664"/>
                  </a:moveTo>
                  <a:lnTo>
                    <a:pt x="94972" y="424825"/>
                  </a:lnTo>
                  <a:lnTo>
                    <a:pt x="88635" y="444428"/>
                  </a:lnTo>
                  <a:lnTo>
                    <a:pt x="59282" y="431086"/>
                  </a:lnTo>
                  <a:close/>
                  <a:moveTo>
                    <a:pt x="180468" y="416474"/>
                  </a:moveTo>
                  <a:lnTo>
                    <a:pt x="194602" y="433348"/>
                  </a:lnTo>
                  <a:lnTo>
                    <a:pt x="195141" y="463363"/>
                  </a:lnTo>
                  <a:lnTo>
                    <a:pt x="218377" y="479760"/>
                  </a:lnTo>
                  <a:lnTo>
                    <a:pt x="217390" y="491870"/>
                  </a:lnTo>
                  <a:lnTo>
                    <a:pt x="174026" y="488172"/>
                  </a:lnTo>
                  <a:lnTo>
                    <a:pt x="162395" y="471724"/>
                  </a:lnTo>
                  <a:lnTo>
                    <a:pt x="139568" y="463261"/>
                  </a:lnTo>
                  <a:lnTo>
                    <a:pt x="133139" y="451875"/>
                  </a:lnTo>
                  <a:lnTo>
                    <a:pt x="146112" y="437871"/>
                  </a:lnTo>
                  <a:close/>
                  <a:moveTo>
                    <a:pt x="179990" y="307835"/>
                  </a:moveTo>
                  <a:lnTo>
                    <a:pt x="193018" y="326750"/>
                  </a:lnTo>
                  <a:lnTo>
                    <a:pt x="172071" y="350092"/>
                  </a:lnTo>
                  <a:lnTo>
                    <a:pt x="173779" y="372970"/>
                  </a:lnTo>
                  <a:lnTo>
                    <a:pt x="163784" y="384026"/>
                  </a:lnTo>
                  <a:lnTo>
                    <a:pt x="113687" y="411593"/>
                  </a:lnTo>
                  <a:lnTo>
                    <a:pt x="105111" y="400434"/>
                  </a:lnTo>
                  <a:lnTo>
                    <a:pt x="99318" y="357683"/>
                  </a:lnTo>
                  <a:lnTo>
                    <a:pt x="107647" y="342840"/>
                  </a:lnTo>
                  <a:lnTo>
                    <a:pt x="128995" y="335585"/>
                  </a:lnTo>
                  <a:close/>
                  <a:moveTo>
                    <a:pt x="466190" y="284363"/>
                  </a:moveTo>
                  <a:lnTo>
                    <a:pt x="497095" y="284702"/>
                  </a:lnTo>
                  <a:lnTo>
                    <a:pt x="494646" y="311912"/>
                  </a:lnTo>
                  <a:lnTo>
                    <a:pt x="479158" y="331927"/>
                  </a:lnTo>
                  <a:lnTo>
                    <a:pt x="413224" y="377180"/>
                  </a:lnTo>
                  <a:lnTo>
                    <a:pt x="399145" y="394075"/>
                  </a:lnTo>
                  <a:lnTo>
                    <a:pt x="410799" y="410164"/>
                  </a:lnTo>
                  <a:lnTo>
                    <a:pt x="397082" y="432736"/>
                  </a:lnTo>
                  <a:lnTo>
                    <a:pt x="418911" y="431856"/>
                  </a:lnTo>
                  <a:lnTo>
                    <a:pt x="465814" y="414115"/>
                  </a:lnTo>
                  <a:lnTo>
                    <a:pt x="496828" y="422593"/>
                  </a:lnTo>
                  <a:lnTo>
                    <a:pt x="513209" y="416607"/>
                  </a:lnTo>
                  <a:lnTo>
                    <a:pt x="543850" y="421835"/>
                  </a:lnTo>
                  <a:lnTo>
                    <a:pt x="584955" y="417446"/>
                  </a:lnTo>
                  <a:lnTo>
                    <a:pt x="613311" y="429779"/>
                  </a:lnTo>
                  <a:lnTo>
                    <a:pt x="615980" y="451779"/>
                  </a:lnTo>
                  <a:lnTo>
                    <a:pt x="596701" y="471543"/>
                  </a:lnTo>
                  <a:lnTo>
                    <a:pt x="591349" y="497061"/>
                  </a:lnTo>
                  <a:lnTo>
                    <a:pt x="575456" y="531118"/>
                  </a:lnTo>
                  <a:lnTo>
                    <a:pt x="557173" y="546191"/>
                  </a:lnTo>
                  <a:lnTo>
                    <a:pt x="544102" y="574654"/>
                  </a:lnTo>
                  <a:lnTo>
                    <a:pt x="517929" y="591403"/>
                  </a:lnTo>
                  <a:lnTo>
                    <a:pt x="520888" y="606593"/>
                  </a:lnTo>
                  <a:lnTo>
                    <a:pt x="503787" y="623404"/>
                  </a:lnTo>
                  <a:lnTo>
                    <a:pt x="471975" y="644461"/>
                  </a:lnTo>
                  <a:lnTo>
                    <a:pt x="491947" y="659389"/>
                  </a:lnTo>
                  <a:lnTo>
                    <a:pt x="517294" y="643637"/>
                  </a:lnTo>
                  <a:lnTo>
                    <a:pt x="588441" y="669032"/>
                  </a:lnTo>
                  <a:lnTo>
                    <a:pt x="600023" y="688444"/>
                  </a:lnTo>
                  <a:lnTo>
                    <a:pt x="626001" y="705680"/>
                  </a:lnTo>
                  <a:lnTo>
                    <a:pt x="645134" y="773790"/>
                  </a:lnTo>
                  <a:lnTo>
                    <a:pt x="658812" y="793280"/>
                  </a:lnTo>
                  <a:lnTo>
                    <a:pt x="663032" y="816859"/>
                  </a:lnTo>
                  <a:lnTo>
                    <a:pt x="675198" y="833250"/>
                  </a:lnTo>
                  <a:lnTo>
                    <a:pt x="732700" y="856174"/>
                  </a:lnTo>
                  <a:lnTo>
                    <a:pt x="754515" y="888592"/>
                  </a:lnTo>
                  <a:lnTo>
                    <a:pt x="767221" y="899694"/>
                  </a:lnTo>
                  <a:lnTo>
                    <a:pt x="774852" y="934319"/>
                  </a:lnTo>
                  <a:lnTo>
                    <a:pt x="801181" y="966099"/>
                  </a:lnTo>
                  <a:lnTo>
                    <a:pt x="784546" y="970325"/>
                  </a:lnTo>
                  <a:lnTo>
                    <a:pt x="806552" y="991330"/>
                  </a:lnTo>
                  <a:lnTo>
                    <a:pt x="822377" y="1021537"/>
                  </a:lnTo>
                  <a:lnTo>
                    <a:pt x="822919" y="1039526"/>
                  </a:lnTo>
                  <a:lnTo>
                    <a:pt x="795363" y="1065998"/>
                  </a:lnTo>
                  <a:lnTo>
                    <a:pt x="811172" y="1076834"/>
                  </a:lnTo>
                  <a:lnTo>
                    <a:pt x="832785" y="1073364"/>
                  </a:lnTo>
                  <a:lnTo>
                    <a:pt x="841758" y="1056418"/>
                  </a:lnTo>
                  <a:lnTo>
                    <a:pt x="873753" y="1055764"/>
                  </a:lnTo>
                  <a:lnTo>
                    <a:pt x="910816" y="1060704"/>
                  </a:lnTo>
                  <a:lnTo>
                    <a:pt x="928423" y="1068596"/>
                  </a:lnTo>
                  <a:lnTo>
                    <a:pt x="954182" y="1089809"/>
                  </a:lnTo>
                  <a:lnTo>
                    <a:pt x="960080" y="1119694"/>
                  </a:lnTo>
                  <a:lnTo>
                    <a:pt x="941213" y="1170339"/>
                  </a:lnTo>
                  <a:lnTo>
                    <a:pt x="911571" y="1194107"/>
                  </a:lnTo>
                  <a:lnTo>
                    <a:pt x="909617" y="1206397"/>
                  </a:lnTo>
                  <a:lnTo>
                    <a:pt x="881729" y="1219157"/>
                  </a:lnTo>
                  <a:lnTo>
                    <a:pt x="879461" y="1236026"/>
                  </a:lnTo>
                  <a:lnTo>
                    <a:pt x="846428" y="1249787"/>
                  </a:lnTo>
                  <a:lnTo>
                    <a:pt x="876516" y="1268155"/>
                  </a:lnTo>
                  <a:lnTo>
                    <a:pt x="921904" y="1270283"/>
                  </a:lnTo>
                  <a:lnTo>
                    <a:pt x="923237" y="1293703"/>
                  </a:lnTo>
                  <a:lnTo>
                    <a:pt x="885951" y="1309003"/>
                  </a:lnTo>
                  <a:lnTo>
                    <a:pt x="882133" y="1323252"/>
                  </a:lnTo>
                  <a:lnTo>
                    <a:pt x="823609" y="1336173"/>
                  </a:lnTo>
                  <a:lnTo>
                    <a:pt x="814706" y="1345384"/>
                  </a:lnTo>
                  <a:lnTo>
                    <a:pt x="768841" y="1333908"/>
                  </a:lnTo>
                  <a:lnTo>
                    <a:pt x="720416" y="1340678"/>
                  </a:lnTo>
                  <a:lnTo>
                    <a:pt x="713541" y="1347308"/>
                  </a:lnTo>
                  <a:lnTo>
                    <a:pt x="688719" y="1333363"/>
                  </a:lnTo>
                  <a:lnTo>
                    <a:pt x="637134" y="1348123"/>
                  </a:lnTo>
                  <a:lnTo>
                    <a:pt x="608202" y="1348211"/>
                  </a:lnTo>
                  <a:lnTo>
                    <a:pt x="600117" y="1364033"/>
                  </a:lnTo>
                  <a:lnTo>
                    <a:pt x="555256" y="1358329"/>
                  </a:lnTo>
                  <a:lnTo>
                    <a:pt x="550730" y="1364887"/>
                  </a:lnTo>
                  <a:lnTo>
                    <a:pt x="521957" y="1348743"/>
                  </a:lnTo>
                  <a:lnTo>
                    <a:pt x="507602" y="1346052"/>
                  </a:lnTo>
                  <a:lnTo>
                    <a:pt x="459220" y="1359134"/>
                  </a:lnTo>
                  <a:lnTo>
                    <a:pt x="440300" y="1398644"/>
                  </a:lnTo>
                  <a:lnTo>
                    <a:pt x="429434" y="1413468"/>
                  </a:lnTo>
                  <a:lnTo>
                    <a:pt x="411404" y="1401705"/>
                  </a:lnTo>
                  <a:lnTo>
                    <a:pt x="365265" y="1392766"/>
                  </a:lnTo>
                  <a:lnTo>
                    <a:pt x="329897" y="1396962"/>
                  </a:lnTo>
                  <a:lnTo>
                    <a:pt x="301438" y="1417632"/>
                  </a:lnTo>
                  <a:lnTo>
                    <a:pt x="300368" y="1432288"/>
                  </a:lnTo>
                  <a:lnTo>
                    <a:pt x="281975" y="1441913"/>
                  </a:lnTo>
                  <a:lnTo>
                    <a:pt x="274144" y="1427876"/>
                  </a:lnTo>
                  <a:lnTo>
                    <a:pt x="254777" y="1423184"/>
                  </a:lnTo>
                  <a:lnTo>
                    <a:pt x="300494" y="1385075"/>
                  </a:lnTo>
                  <a:lnTo>
                    <a:pt x="303955" y="1369777"/>
                  </a:lnTo>
                  <a:lnTo>
                    <a:pt x="320396" y="1363033"/>
                  </a:lnTo>
                  <a:lnTo>
                    <a:pt x="346950" y="1340993"/>
                  </a:lnTo>
                  <a:lnTo>
                    <a:pt x="351792" y="1309092"/>
                  </a:lnTo>
                  <a:lnTo>
                    <a:pt x="373382" y="1312186"/>
                  </a:lnTo>
                  <a:lnTo>
                    <a:pt x="381964" y="1288551"/>
                  </a:lnTo>
                  <a:lnTo>
                    <a:pt x="424979" y="1281467"/>
                  </a:lnTo>
                  <a:lnTo>
                    <a:pt x="459610" y="1288354"/>
                  </a:lnTo>
                  <a:lnTo>
                    <a:pt x="492101" y="1286121"/>
                  </a:lnTo>
                  <a:lnTo>
                    <a:pt x="503093" y="1262916"/>
                  </a:lnTo>
                  <a:lnTo>
                    <a:pt x="531004" y="1242090"/>
                  </a:lnTo>
                  <a:lnTo>
                    <a:pt x="487723" y="1249005"/>
                  </a:lnTo>
                  <a:lnTo>
                    <a:pt x="480864" y="1260682"/>
                  </a:lnTo>
                  <a:lnTo>
                    <a:pt x="445375" y="1260467"/>
                  </a:lnTo>
                  <a:lnTo>
                    <a:pt x="417135" y="1233039"/>
                  </a:lnTo>
                  <a:lnTo>
                    <a:pt x="379855" y="1242402"/>
                  </a:lnTo>
                  <a:lnTo>
                    <a:pt x="366568" y="1220030"/>
                  </a:lnTo>
                  <a:lnTo>
                    <a:pt x="338729" y="1217952"/>
                  </a:lnTo>
                  <a:lnTo>
                    <a:pt x="333425" y="1227616"/>
                  </a:lnTo>
                  <a:lnTo>
                    <a:pt x="305294" y="1233813"/>
                  </a:lnTo>
                  <a:lnTo>
                    <a:pt x="292396" y="1200892"/>
                  </a:lnTo>
                  <a:lnTo>
                    <a:pt x="278091" y="1194343"/>
                  </a:lnTo>
                  <a:lnTo>
                    <a:pt x="321909" y="1180064"/>
                  </a:lnTo>
                  <a:lnTo>
                    <a:pt x="332089" y="1168036"/>
                  </a:lnTo>
                  <a:lnTo>
                    <a:pt x="353779" y="1165166"/>
                  </a:lnTo>
                  <a:lnTo>
                    <a:pt x="382621" y="1149094"/>
                  </a:lnTo>
                  <a:lnTo>
                    <a:pt x="397675" y="1120798"/>
                  </a:lnTo>
                  <a:lnTo>
                    <a:pt x="390248" y="1103693"/>
                  </a:lnTo>
                  <a:lnTo>
                    <a:pt x="397743" y="1091818"/>
                  </a:lnTo>
                  <a:lnTo>
                    <a:pt x="388006" y="1065338"/>
                  </a:lnTo>
                  <a:lnTo>
                    <a:pt x="332409" y="1072313"/>
                  </a:lnTo>
                  <a:lnTo>
                    <a:pt x="368494" y="1048687"/>
                  </a:lnTo>
                  <a:lnTo>
                    <a:pt x="383122" y="1025870"/>
                  </a:lnTo>
                  <a:lnTo>
                    <a:pt x="383999" y="1025292"/>
                  </a:lnTo>
                  <a:lnTo>
                    <a:pt x="418358" y="1014254"/>
                  </a:lnTo>
                  <a:lnTo>
                    <a:pt x="440472" y="1014945"/>
                  </a:lnTo>
                  <a:lnTo>
                    <a:pt x="495560" y="994878"/>
                  </a:lnTo>
                  <a:lnTo>
                    <a:pt x="489546" y="978720"/>
                  </a:lnTo>
                  <a:lnTo>
                    <a:pt x="506316" y="956773"/>
                  </a:lnTo>
                  <a:lnTo>
                    <a:pt x="493773" y="949823"/>
                  </a:lnTo>
                  <a:lnTo>
                    <a:pt x="494607" y="931914"/>
                  </a:lnTo>
                  <a:lnTo>
                    <a:pt x="513635" y="925746"/>
                  </a:lnTo>
                  <a:lnTo>
                    <a:pt x="516810" y="904858"/>
                  </a:lnTo>
                  <a:lnTo>
                    <a:pt x="508580" y="895367"/>
                  </a:lnTo>
                  <a:lnTo>
                    <a:pt x="483516" y="910142"/>
                  </a:lnTo>
                  <a:lnTo>
                    <a:pt x="467527" y="895100"/>
                  </a:lnTo>
                  <a:lnTo>
                    <a:pt x="458496" y="876206"/>
                  </a:lnTo>
                  <a:lnTo>
                    <a:pt x="437555" y="852667"/>
                  </a:lnTo>
                  <a:lnTo>
                    <a:pt x="456363" y="820855"/>
                  </a:lnTo>
                  <a:lnTo>
                    <a:pt x="467569" y="790417"/>
                  </a:lnTo>
                  <a:lnTo>
                    <a:pt x="443716" y="790174"/>
                  </a:lnTo>
                  <a:lnTo>
                    <a:pt x="406159" y="818251"/>
                  </a:lnTo>
                  <a:lnTo>
                    <a:pt x="387313" y="817117"/>
                  </a:lnTo>
                  <a:lnTo>
                    <a:pt x="367735" y="805905"/>
                  </a:lnTo>
                  <a:lnTo>
                    <a:pt x="363469" y="830869"/>
                  </a:lnTo>
                  <a:lnTo>
                    <a:pt x="323743" y="805766"/>
                  </a:lnTo>
                  <a:lnTo>
                    <a:pt x="305824" y="818080"/>
                  </a:lnTo>
                  <a:lnTo>
                    <a:pt x="291554" y="806297"/>
                  </a:lnTo>
                  <a:lnTo>
                    <a:pt x="306920" y="768102"/>
                  </a:lnTo>
                  <a:lnTo>
                    <a:pt x="318971" y="757711"/>
                  </a:lnTo>
                  <a:lnTo>
                    <a:pt x="328305" y="733520"/>
                  </a:lnTo>
                  <a:lnTo>
                    <a:pt x="342656" y="720127"/>
                  </a:lnTo>
                  <a:lnTo>
                    <a:pt x="335246" y="705729"/>
                  </a:lnTo>
                  <a:lnTo>
                    <a:pt x="315106" y="693081"/>
                  </a:lnTo>
                  <a:lnTo>
                    <a:pt x="316759" y="676692"/>
                  </a:lnTo>
                  <a:lnTo>
                    <a:pt x="287544" y="659321"/>
                  </a:lnTo>
                  <a:lnTo>
                    <a:pt x="262498" y="691915"/>
                  </a:lnTo>
                  <a:lnTo>
                    <a:pt x="247535" y="746117"/>
                  </a:lnTo>
                  <a:lnTo>
                    <a:pt x="235979" y="729854"/>
                  </a:lnTo>
                  <a:lnTo>
                    <a:pt x="241470" y="679306"/>
                  </a:lnTo>
                  <a:lnTo>
                    <a:pt x="237625" y="656647"/>
                  </a:lnTo>
                  <a:lnTo>
                    <a:pt x="253198" y="632442"/>
                  </a:lnTo>
                  <a:lnTo>
                    <a:pt x="242626" y="611477"/>
                  </a:lnTo>
                  <a:lnTo>
                    <a:pt x="267174" y="587645"/>
                  </a:lnTo>
                  <a:lnTo>
                    <a:pt x="218323" y="576682"/>
                  </a:lnTo>
                  <a:lnTo>
                    <a:pt x="195179" y="558580"/>
                  </a:lnTo>
                  <a:lnTo>
                    <a:pt x="195012" y="547631"/>
                  </a:lnTo>
                  <a:lnTo>
                    <a:pt x="220056" y="543418"/>
                  </a:lnTo>
                  <a:lnTo>
                    <a:pt x="228729" y="505784"/>
                  </a:lnTo>
                  <a:lnTo>
                    <a:pt x="248617" y="477311"/>
                  </a:lnTo>
                  <a:lnTo>
                    <a:pt x="226400" y="464404"/>
                  </a:lnTo>
                  <a:lnTo>
                    <a:pt x="221477" y="448825"/>
                  </a:lnTo>
                  <a:lnTo>
                    <a:pt x="227160" y="395334"/>
                  </a:lnTo>
                  <a:lnTo>
                    <a:pt x="262192" y="396107"/>
                  </a:lnTo>
                  <a:lnTo>
                    <a:pt x="275709" y="378322"/>
                  </a:lnTo>
                  <a:lnTo>
                    <a:pt x="277925" y="355826"/>
                  </a:lnTo>
                  <a:lnTo>
                    <a:pt x="293107" y="338924"/>
                  </a:lnTo>
                  <a:lnTo>
                    <a:pt x="288244" y="326119"/>
                  </a:lnTo>
                  <a:lnTo>
                    <a:pt x="306342" y="287222"/>
                  </a:lnTo>
                  <a:lnTo>
                    <a:pt x="377429" y="300777"/>
                  </a:lnTo>
                  <a:lnTo>
                    <a:pt x="426899" y="293922"/>
                  </a:lnTo>
                  <a:close/>
                  <a:moveTo>
                    <a:pt x="476424" y="212390"/>
                  </a:moveTo>
                  <a:lnTo>
                    <a:pt x="499226" y="226414"/>
                  </a:lnTo>
                  <a:lnTo>
                    <a:pt x="507319" y="239141"/>
                  </a:lnTo>
                  <a:lnTo>
                    <a:pt x="479869" y="246654"/>
                  </a:lnTo>
                  <a:lnTo>
                    <a:pt x="463837" y="234343"/>
                  </a:lnTo>
                  <a:close/>
                  <a:moveTo>
                    <a:pt x="663551" y="0"/>
                  </a:moveTo>
                  <a:lnTo>
                    <a:pt x="685436" y="38824"/>
                  </a:lnTo>
                  <a:lnTo>
                    <a:pt x="667159" y="71052"/>
                  </a:lnTo>
                  <a:lnTo>
                    <a:pt x="643844" y="67083"/>
                  </a:lnTo>
                  <a:lnTo>
                    <a:pt x="626564" y="47027"/>
                  </a:lnTo>
                  <a:lnTo>
                    <a:pt x="660092" y="38504"/>
                  </a:lnTo>
                  <a:lnTo>
                    <a:pt x="638791" y="11529"/>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40" name="ee4p_55_1_43215"/>
            <p:cNvSpPr>
              <a:spLocks noChangeAspect="1"/>
            </p:cNvSpPr>
            <p:nvPr>
              <p:custDataLst>
                <p:tags r:id="rId36"/>
              </p:custDataLst>
            </p:nvPr>
          </p:nvSpPr>
          <p:spPr bwMode="gray">
            <a:xfrm>
              <a:off x="5076597" y="3183820"/>
              <a:ext cx="598965" cy="292565"/>
            </a:xfrm>
            <a:custGeom>
              <a:avLst/>
              <a:gdLst/>
              <a:ahLst/>
              <a:cxnLst/>
              <a:rect l="l" t="t" r="r" b="b"/>
              <a:pathLst>
                <a:path w="598965" h="292565">
                  <a:moveTo>
                    <a:pt x="113441" y="128706"/>
                  </a:moveTo>
                  <a:lnTo>
                    <a:pt x="134147" y="147587"/>
                  </a:lnTo>
                  <a:lnTo>
                    <a:pt x="101111" y="166001"/>
                  </a:lnTo>
                  <a:lnTo>
                    <a:pt x="86988" y="182664"/>
                  </a:lnTo>
                  <a:lnTo>
                    <a:pt x="23632" y="199251"/>
                  </a:lnTo>
                  <a:lnTo>
                    <a:pt x="231" y="191597"/>
                  </a:lnTo>
                  <a:lnTo>
                    <a:pt x="0" y="154806"/>
                  </a:lnTo>
                  <a:lnTo>
                    <a:pt x="28667" y="145560"/>
                  </a:lnTo>
                  <a:lnTo>
                    <a:pt x="89494" y="138186"/>
                  </a:lnTo>
                  <a:close/>
                  <a:moveTo>
                    <a:pt x="55426" y="71301"/>
                  </a:moveTo>
                  <a:lnTo>
                    <a:pt x="88254" y="87974"/>
                  </a:lnTo>
                  <a:lnTo>
                    <a:pt x="91424" y="105326"/>
                  </a:lnTo>
                  <a:lnTo>
                    <a:pt x="46345" y="122884"/>
                  </a:lnTo>
                  <a:lnTo>
                    <a:pt x="40745" y="89927"/>
                  </a:lnTo>
                  <a:close/>
                  <a:moveTo>
                    <a:pt x="410734" y="0"/>
                  </a:moveTo>
                  <a:lnTo>
                    <a:pt x="433461" y="9655"/>
                  </a:lnTo>
                  <a:lnTo>
                    <a:pt x="451957" y="7219"/>
                  </a:lnTo>
                  <a:lnTo>
                    <a:pt x="472265" y="20072"/>
                  </a:lnTo>
                  <a:lnTo>
                    <a:pt x="518379" y="20058"/>
                  </a:lnTo>
                  <a:lnTo>
                    <a:pt x="560549" y="27419"/>
                  </a:lnTo>
                  <a:lnTo>
                    <a:pt x="587393" y="18708"/>
                  </a:lnTo>
                  <a:lnTo>
                    <a:pt x="598965" y="30813"/>
                  </a:lnTo>
                  <a:lnTo>
                    <a:pt x="574576" y="45037"/>
                  </a:lnTo>
                  <a:lnTo>
                    <a:pt x="552536" y="87729"/>
                  </a:lnTo>
                  <a:lnTo>
                    <a:pt x="516452" y="114117"/>
                  </a:lnTo>
                  <a:lnTo>
                    <a:pt x="535433" y="173717"/>
                  </a:lnTo>
                  <a:lnTo>
                    <a:pt x="529389" y="193566"/>
                  </a:lnTo>
                  <a:lnTo>
                    <a:pt x="553597" y="249348"/>
                  </a:lnTo>
                  <a:lnTo>
                    <a:pt x="535598" y="248951"/>
                  </a:lnTo>
                  <a:lnTo>
                    <a:pt x="518434" y="271204"/>
                  </a:lnTo>
                  <a:lnTo>
                    <a:pt x="515923" y="292565"/>
                  </a:lnTo>
                  <a:lnTo>
                    <a:pt x="476639" y="280779"/>
                  </a:lnTo>
                  <a:lnTo>
                    <a:pt x="444614" y="291026"/>
                  </a:lnTo>
                  <a:lnTo>
                    <a:pt x="411604" y="281440"/>
                  </a:lnTo>
                  <a:lnTo>
                    <a:pt x="405051" y="265112"/>
                  </a:lnTo>
                  <a:lnTo>
                    <a:pt x="374318" y="246642"/>
                  </a:lnTo>
                  <a:lnTo>
                    <a:pt x="298624" y="214280"/>
                  </a:lnTo>
                  <a:lnTo>
                    <a:pt x="272328" y="229025"/>
                  </a:lnTo>
                  <a:lnTo>
                    <a:pt x="248236" y="230530"/>
                  </a:lnTo>
                  <a:lnTo>
                    <a:pt x="225761" y="242511"/>
                  </a:lnTo>
                  <a:lnTo>
                    <a:pt x="237899" y="215886"/>
                  </a:lnTo>
                  <a:lnTo>
                    <a:pt x="235762" y="196733"/>
                  </a:lnTo>
                  <a:lnTo>
                    <a:pt x="248314" y="182839"/>
                  </a:lnTo>
                  <a:lnTo>
                    <a:pt x="235287" y="171040"/>
                  </a:lnTo>
                  <a:lnTo>
                    <a:pt x="202457" y="191407"/>
                  </a:lnTo>
                  <a:lnTo>
                    <a:pt x="192597" y="180222"/>
                  </a:lnTo>
                  <a:lnTo>
                    <a:pt x="166824" y="174253"/>
                  </a:lnTo>
                  <a:lnTo>
                    <a:pt x="146398" y="140772"/>
                  </a:lnTo>
                  <a:lnTo>
                    <a:pt x="135841" y="97125"/>
                  </a:lnTo>
                  <a:lnTo>
                    <a:pt x="142394" y="53914"/>
                  </a:lnTo>
                  <a:lnTo>
                    <a:pt x="211462" y="35203"/>
                  </a:lnTo>
                  <a:lnTo>
                    <a:pt x="227937" y="15972"/>
                  </a:lnTo>
                  <a:lnTo>
                    <a:pt x="254906" y="22455"/>
                  </a:lnTo>
                  <a:lnTo>
                    <a:pt x="280174" y="12367"/>
                  </a:lnTo>
                  <a:lnTo>
                    <a:pt x="331013" y="13427"/>
                  </a:lnTo>
                  <a:lnTo>
                    <a:pt x="353032" y="3228"/>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41" name="ee4p_56_1_43215"/>
            <p:cNvSpPr>
              <a:spLocks noChangeAspect="1"/>
            </p:cNvSpPr>
            <p:nvPr>
              <p:custDataLst>
                <p:tags r:id="rId37"/>
              </p:custDataLst>
            </p:nvPr>
          </p:nvSpPr>
          <p:spPr bwMode="gray">
            <a:xfrm>
              <a:off x="4244532" y="4860504"/>
              <a:ext cx="307349" cy="175664"/>
            </a:xfrm>
            <a:custGeom>
              <a:avLst/>
              <a:gdLst/>
              <a:ahLst/>
              <a:cxnLst/>
              <a:rect l="0" t="0" r="0" b="0"/>
              <a:pathLst>
                <a:path w="307349" h="175664">
                  <a:moveTo>
                    <a:pt x="307348" y="48308"/>
                  </a:moveTo>
                  <a:lnTo>
                    <a:pt x="285004" y="39713"/>
                  </a:lnTo>
                  <a:lnTo>
                    <a:pt x="272981" y="45581"/>
                  </a:lnTo>
                  <a:lnTo>
                    <a:pt x="249956" y="68752"/>
                  </a:lnTo>
                  <a:lnTo>
                    <a:pt x="218139" y="78481"/>
                  </a:lnTo>
                  <a:lnTo>
                    <a:pt x="211336" y="92388"/>
                  </a:lnTo>
                  <a:lnTo>
                    <a:pt x="223716" y="100578"/>
                  </a:lnTo>
                  <a:lnTo>
                    <a:pt x="214045" y="126407"/>
                  </a:lnTo>
                  <a:lnTo>
                    <a:pt x="181864" y="135613"/>
                  </a:lnTo>
                  <a:lnTo>
                    <a:pt x="179334" y="170309"/>
                  </a:lnTo>
                  <a:lnTo>
                    <a:pt x="170041" y="175663"/>
                  </a:lnTo>
                  <a:lnTo>
                    <a:pt x="151574" y="166623"/>
                  </a:lnTo>
                  <a:lnTo>
                    <a:pt x="135749" y="170945"/>
                  </a:lnTo>
                  <a:lnTo>
                    <a:pt x="110854" y="147919"/>
                  </a:lnTo>
                  <a:lnTo>
                    <a:pt x="103459" y="161742"/>
                  </a:lnTo>
                  <a:lnTo>
                    <a:pt x="38230" y="174115"/>
                  </a:lnTo>
                  <a:lnTo>
                    <a:pt x="15737" y="168939"/>
                  </a:lnTo>
                  <a:lnTo>
                    <a:pt x="29259" y="154830"/>
                  </a:lnTo>
                  <a:lnTo>
                    <a:pt x="48208" y="150161"/>
                  </a:lnTo>
                  <a:lnTo>
                    <a:pt x="36309" y="136949"/>
                  </a:lnTo>
                  <a:lnTo>
                    <a:pt x="15034" y="124344"/>
                  </a:lnTo>
                  <a:lnTo>
                    <a:pt x="20972" y="113446"/>
                  </a:lnTo>
                  <a:lnTo>
                    <a:pt x="5887" y="105696"/>
                  </a:lnTo>
                  <a:lnTo>
                    <a:pt x="23601" y="84484"/>
                  </a:lnTo>
                  <a:lnTo>
                    <a:pt x="0" y="78060"/>
                  </a:lnTo>
                  <a:lnTo>
                    <a:pt x="1602" y="63065"/>
                  </a:lnTo>
                  <a:lnTo>
                    <a:pt x="26443" y="52201"/>
                  </a:lnTo>
                  <a:lnTo>
                    <a:pt x="28423" y="42622"/>
                  </a:lnTo>
                  <a:lnTo>
                    <a:pt x="48644" y="43116"/>
                  </a:lnTo>
                  <a:lnTo>
                    <a:pt x="70922" y="53058"/>
                  </a:lnTo>
                  <a:lnTo>
                    <a:pt x="119908" y="52121"/>
                  </a:lnTo>
                  <a:lnTo>
                    <a:pt x="142178" y="31688"/>
                  </a:lnTo>
                  <a:lnTo>
                    <a:pt x="163530" y="25966"/>
                  </a:lnTo>
                  <a:lnTo>
                    <a:pt x="193516" y="26548"/>
                  </a:lnTo>
                  <a:lnTo>
                    <a:pt x="237714" y="18664"/>
                  </a:lnTo>
                  <a:lnTo>
                    <a:pt x="260617" y="459"/>
                  </a:lnTo>
                  <a:lnTo>
                    <a:pt x="277795" y="0"/>
                  </a:lnTo>
                  <a:lnTo>
                    <a:pt x="287370" y="28579"/>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42" name="ee4p_60_1_43215"/>
            <p:cNvSpPr>
              <a:spLocks noChangeAspect="1"/>
            </p:cNvSpPr>
            <p:nvPr>
              <p:custDataLst>
                <p:tags r:id="rId38"/>
              </p:custDataLst>
            </p:nvPr>
          </p:nvSpPr>
          <p:spPr bwMode="gray">
            <a:xfrm>
              <a:off x="4766020" y="4944919"/>
              <a:ext cx="401162" cy="468851"/>
            </a:xfrm>
            <a:custGeom>
              <a:avLst/>
              <a:gdLst/>
              <a:ahLst/>
              <a:cxnLst/>
              <a:rect l="0" t="0" r="0" b="0"/>
              <a:pathLst>
                <a:path w="401162" h="468851">
                  <a:moveTo>
                    <a:pt x="36361" y="315686"/>
                  </a:moveTo>
                  <a:lnTo>
                    <a:pt x="64848" y="308744"/>
                  </a:lnTo>
                  <a:lnTo>
                    <a:pt x="67790" y="293890"/>
                  </a:lnTo>
                  <a:lnTo>
                    <a:pt x="45378" y="270012"/>
                  </a:lnTo>
                  <a:lnTo>
                    <a:pt x="77655" y="257927"/>
                  </a:lnTo>
                  <a:lnTo>
                    <a:pt x="48708" y="227684"/>
                  </a:lnTo>
                  <a:lnTo>
                    <a:pt x="33274" y="225832"/>
                  </a:lnTo>
                  <a:lnTo>
                    <a:pt x="30215" y="198252"/>
                  </a:lnTo>
                  <a:lnTo>
                    <a:pt x="50361" y="170559"/>
                  </a:lnTo>
                  <a:lnTo>
                    <a:pt x="53805" y="154076"/>
                  </a:lnTo>
                  <a:lnTo>
                    <a:pt x="34773" y="149914"/>
                  </a:lnTo>
                  <a:lnTo>
                    <a:pt x="21604" y="157294"/>
                  </a:lnTo>
                  <a:lnTo>
                    <a:pt x="32886" y="147717"/>
                  </a:lnTo>
                  <a:lnTo>
                    <a:pt x="25181" y="125258"/>
                  </a:lnTo>
                  <a:lnTo>
                    <a:pt x="44668" y="112178"/>
                  </a:lnTo>
                  <a:lnTo>
                    <a:pt x="15168" y="94944"/>
                  </a:lnTo>
                  <a:lnTo>
                    <a:pt x="7805" y="55670"/>
                  </a:lnTo>
                  <a:lnTo>
                    <a:pt x="0" y="35157"/>
                  </a:lnTo>
                  <a:lnTo>
                    <a:pt x="17075" y="29266"/>
                  </a:lnTo>
                  <a:lnTo>
                    <a:pt x="27518" y="17478"/>
                  </a:lnTo>
                  <a:lnTo>
                    <a:pt x="44958" y="21788"/>
                  </a:lnTo>
                  <a:lnTo>
                    <a:pt x="72630" y="818"/>
                  </a:lnTo>
                  <a:lnTo>
                    <a:pt x="97392" y="5785"/>
                  </a:lnTo>
                  <a:lnTo>
                    <a:pt x="124256" y="0"/>
                  </a:lnTo>
                  <a:lnTo>
                    <a:pt x="139232" y="5489"/>
                  </a:lnTo>
                  <a:lnTo>
                    <a:pt x="149384" y="21704"/>
                  </a:lnTo>
                  <a:lnTo>
                    <a:pt x="169508" y="32939"/>
                  </a:lnTo>
                  <a:lnTo>
                    <a:pt x="208991" y="99468"/>
                  </a:lnTo>
                  <a:lnTo>
                    <a:pt x="261124" y="122936"/>
                  </a:lnTo>
                  <a:lnTo>
                    <a:pt x="251899" y="138194"/>
                  </a:lnTo>
                  <a:lnTo>
                    <a:pt x="251789" y="169589"/>
                  </a:lnTo>
                  <a:lnTo>
                    <a:pt x="265375" y="171153"/>
                  </a:lnTo>
                  <a:lnTo>
                    <a:pt x="272876" y="183779"/>
                  </a:lnTo>
                  <a:lnTo>
                    <a:pt x="307030" y="187679"/>
                  </a:lnTo>
                  <a:lnTo>
                    <a:pt x="324885" y="204540"/>
                  </a:lnTo>
                  <a:lnTo>
                    <a:pt x="337313" y="183143"/>
                  </a:lnTo>
                  <a:lnTo>
                    <a:pt x="353150" y="177716"/>
                  </a:lnTo>
                  <a:lnTo>
                    <a:pt x="366650" y="188480"/>
                  </a:lnTo>
                  <a:lnTo>
                    <a:pt x="352254" y="205568"/>
                  </a:lnTo>
                  <a:lnTo>
                    <a:pt x="358561" y="221736"/>
                  </a:lnTo>
                  <a:lnTo>
                    <a:pt x="375084" y="227059"/>
                  </a:lnTo>
                  <a:lnTo>
                    <a:pt x="368413" y="254011"/>
                  </a:lnTo>
                  <a:lnTo>
                    <a:pt x="347811" y="261445"/>
                  </a:lnTo>
                  <a:lnTo>
                    <a:pt x="341941" y="285004"/>
                  </a:lnTo>
                  <a:lnTo>
                    <a:pt x="353075" y="302174"/>
                  </a:lnTo>
                  <a:lnTo>
                    <a:pt x="358279" y="324342"/>
                  </a:lnTo>
                  <a:lnTo>
                    <a:pt x="386427" y="341047"/>
                  </a:lnTo>
                  <a:lnTo>
                    <a:pt x="401161" y="366822"/>
                  </a:lnTo>
                  <a:lnTo>
                    <a:pt x="383266" y="383011"/>
                  </a:lnTo>
                  <a:lnTo>
                    <a:pt x="349620" y="403571"/>
                  </a:lnTo>
                  <a:lnTo>
                    <a:pt x="349219" y="427536"/>
                  </a:lnTo>
                  <a:lnTo>
                    <a:pt x="359584" y="437917"/>
                  </a:lnTo>
                  <a:lnTo>
                    <a:pt x="351682" y="456418"/>
                  </a:lnTo>
                  <a:lnTo>
                    <a:pt x="310621" y="462058"/>
                  </a:lnTo>
                  <a:lnTo>
                    <a:pt x="303100" y="458046"/>
                  </a:lnTo>
                  <a:lnTo>
                    <a:pt x="278131" y="468850"/>
                  </a:lnTo>
                  <a:lnTo>
                    <a:pt x="262211" y="453470"/>
                  </a:lnTo>
                  <a:lnTo>
                    <a:pt x="283571" y="431497"/>
                  </a:lnTo>
                  <a:lnTo>
                    <a:pt x="282904" y="415963"/>
                  </a:lnTo>
                  <a:lnTo>
                    <a:pt x="253098" y="409555"/>
                  </a:lnTo>
                  <a:lnTo>
                    <a:pt x="237013" y="392894"/>
                  </a:lnTo>
                  <a:lnTo>
                    <a:pt x="218830" y="366105"/>
                  </a:lnTo>
                  <a:lnTo>
                    <a:pt x="204588" y="366461"/>
                  </a:lnTo>
                  <a:lnTo>
                    <a:pt x="181924" y="351796"/>
                  </a:lnTo>
                  <a:lnTo>
                    <a:pt x="169949" y="356812"/>
                  </a:lnTo>
                  <a:lnTo>
                    <a:pt x="176466" y="376732"/>
                  </a:lnTo>
                  <a:lnTo>
                    <a:pt x="158748" y="388819"/>
                  </a:lnTo>
                  <a:lnTo>
                    <a:pt x="145226" y="391356"/>
                  </a:lnTo>
                  <a:lnTo>
                    <a:pt x="75863" y="357219"/>
                  </a:lnTo>
                  <a:close/>
                </a:path>
              </a:pathLst>
            </a:custGeom>
            <a:solidFill>
              <a:srgbClr val="6F707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43" name="ee4p_8_1_43215"/>
            <p:cNvSpPr>
              <a:spLocks noChangeAspect="1"/>
            </p:cNvSpPr>
            <p:nvPr>
              <p:custDataLst>
                <p:tags r:id="rId39"/>
              </p:custDataLst>
            </p:nvPr>
          </p:nvSpPr>
          <p:spPr bwMode="gray">
            <a:xfrm>
              <a:off x="3868163" y="4595467"/>
              <a:ext cx="738291" cy="318096"/>
            </a:xfrm>
            <a:custGeom>
              <a:avLst/>
              <a:gdLst/>
              <a:ahLst/>
              <a:cxnLst/>
              <a:rect l="0" t="0" r="0" b="0"/>
              <a:pathLst>
                <a:path w="738291" h="318096">
                  <a:moveTo>
                    <a:pt x="716952" y="50251"/>
                  </a:moveTo>
                  <a:lnTo>
                    <a:pt x="707716" y="83425"/>
                  </a:lnTo>
                  <a:lnTo>
                    <a:pt x="720428" y="105436"/>
                  </a:lnTo>
                  <a:lnTo>
                    <a:pt x="738290" y="125901"/>
                  </a:lnTo>
                  <a:lnTo>
                    <a:pt x="729530" y="160232"/>
                  </a:lnTo>
                  <a:lnTo>
                    <a:pt x="698447" y="165989"/>
                  </a:lnTo>
                  <a:lnTo>
                    <a:pt x="694234" y="185474"/>
                  </a:lnTo>
                  <a:lnTo>
                    <a:pt x="667997" y="223838"/>
                  </a:lnTo>
                  <a:lnTo>
                    <a:pt x="673631" y="248280"/>
                  </a:lnTo>
                  <a:lnTo>
                    <a:pt x="653323" y="249002"/>
                  </a:lnTo>
                  <a:lnTo>
                    <a:pt x="636986" y="265496"/>
                  </a:lnTo>
                  <a:lnTo>
                    <a:pt x="614083" y="283701"/>
                  </a:lnTo>
                  <a:lnTo>
                    <a:pt x="569885" y="291585"/>
                  </a:lnTo>
                  <a:lnTo>
                    <a:pt x="539899" y="291003"/>
                  </a:lnTo>
                  <a:lnTo>
                    <a:pt x="518547" y="296725"/>
                  </a:lnTo>
                  <a:lnTo>
                    <a:pt x="496277" y="317158"/>
                  </a:lnTo>
                  <a:lnTo>
                    <a:pt x="447291" y="318095"/>
                  </a:lnTo>
                  <a:lnTo>
                    <a:pt x="425013" y="308153"/>
                  </a:lnTo>
                  <a:lnTo>
                    <a:pt x="404792" y="307659"/>
                  </a:lnTo>
                  <a:lnTo>
                    <a:pt x="366648" y="303986"/>
                  </a:lnTo>
                  <a:lnTo>
                    <a:pt x="344164" y="298110"/>
                  </a:lnTo>
                  <a:lnTo>
                    <a:pt x="294087" y="292004"/>
                  </a:lnTo>
                  <a:lnTo>
                    <a:pt x="275466" y="283381"/>
                  </a:lnTo>
                  <a:lnTo>
                    <a:pt x="250668" y="248661"/>
                  </a:lnTo>
                  <a:lnTo>
                    <a:pt x="212577" y="252890"/>
                  </a:lnTo>
                  <a:lnTo>
                    <a:pt x="202854" y="247892"/>
                  </a:lnTo>
                  <a:lnTo>
                    <a:pt x="182560" y="253616"/>
                  </a:lnTo>
                  <a:lnTo>
                    <a:pt x="158062" y="253702"/>
                  </a:lnTo>
                  <a:lnTo>
                    <a:pt x="144618" y="277942"/>
                  </a:lnTo>
                  <a:lnTo>
                    <a:pt x="130814" y="278443"/>
                  </a:lnTo>
                  <a:lnTo>
                    <a:pt x="109980" y="264712"/>
                  </a:lnTo>
                  <a:lnTo>
                    <a:pt x="90849" y="267223"/>
                  </a:lnTo>
                  <a:lnTo>
                    <a:pt x="79173" y="250663"/>
                  </a:lnTo>
                  <a:lnTo>
                    <a:pt x="67920" y="265833"/>
                  </a:lnTo>
                  <a:lnTo>
                    <a:pt x="55582" y="268929"/>
                  </a:lnTo>
                  <a:lnTo>
                    <a:pt x="34953" y="250868"/>
                  </a:lnTo>
                  <a:lnTo>
                    <a:pt x="7386" y="242092"/>
                  </a:lnTo>
                  <a:lnTo>
                    <a:pt x="0" y="216423"/>
                  </a:lnTo>
                  <a:lnTo>
                    <a:pt x="10989" y="196239"/>
                  </a:lnTo>
                  <a:lnTo>
                    <a:pt x="2707" y="183142"/>
                  </a:lnTo>
                  <a:lnTo>
                    <a:pt x="49259" y="189705"/>
                  </a:lnTo>
                  <a:lnTo>
                    <a:pt x="62699" y="213343"/>
                  </a:lnTo>
                  <a:lnTo>
                    <a:pt x="79156" y="210673"/>
                  </a:lnTo>
                  <a:lnTo>
                    <a:pt x="103527" y="179924"/>
                  </a:lnTo>
                  <a:lnTo>
                    <a:pt x="131587" y="183795"/>
                  </a:lnTo>
                  <a:lnTo>
                    <a:pt x="140579" y="196878"/>
                  </a:lnTo>
                  <a:lnTo>
                    <a:pt x="170324" y="197240"/>
                  </a:lnTo>
                  <a:lnTo>
                    <a:pt x="200867" y="178252"/>
                  </a:lnTo>
                  <a:lnTo>
                    <a:pt x="239737" y="172901"/>
                  </a:lnTo>
                  <a:lnTo>
                    <a:pt x="256724" y="163657"/>
                  </a:lnTo>
                  <a:lnTo>
                    <a:pt x="280495" y="164191"/>
                  </a:lnTo>
                  <a:lnTo>
                    <a:pt x="288471" y="172888"/>
                  </a:lnTo>
                  <a:lnTo>
                    <a:pt x="310992" y="166692"/>
                  </a:lnTo>
                  <a:lnTo>
                    <a:pt x="326855" y="188657"/>
                  </a:lnTo>
                  <a:lnTo>
                    <a:pt x="340284" y="189260"/>
                  </a:lnTo>
                  <a:lnTo>
                    <a:pt x="343492" y="165319"/>
                  </a:lnTo>
                  <a:lnTo>
                    <a:pt x="326500" y="160792"/>
                  </a:lnTo>
                  <a:lnTo>
                    <a:pt x="335822" y="144686"/>
                  </a:lnTo>
                  <a:lnTo>
                    <a:pt x="312624" y="117700"/>
                  </a:lnTo>
                  <a:lnTo>
                    <a:pt x="323197" y="101772"/>
                  </a:lnTo>
                  <a:lnTo>
                    <a:pt x="360234" y="90469"/>
                  </a:lnTo>
                  <a:lnTo>
                    <a:pt x="375150" y="80678"/>
                  </a:lnTo>
                  <a:lnTo>
                    <a:pt x="386851" y="54081"/>
                  </a:lnTo>
                  <a:lnTo>
                    <a:pt x="406041" y="63201"/>
                  </a:lnTo>
                  <a:lnTo>
                    <a:pt x="415589" y="50080"/>
                  </a:lnTo>
                  <a:lnTo>
                    <a:pt x="416919" y="31044"/>
                  </a:lnTo>
                  <a:lnTo>
                    <a:pt x="432879" y="38992"/>
                  </a:lnTo>
                  <a:lnTo>
                    <a:pt x="436531" y="50797"/>
                  </a:lnTo>
                  <a:lnTo>
                    <a:pt x="465484" y="58026"/>
                  </a:lnTo>
                  <a:lnTo>
                    <a:pt x="490395" y="49297"/>
                  </a:lnTo>
                  <a:lnTo>
                    <a:pt x="512252" y="29526"/>
                  </a:lnTo>
                  <a:lnTo>
                    <a:pt x="524932" y="32728"/>
                  </a:lnTo>
                  <a:lnTo>
                    <a:pt x="531206" y="0"/>
                  </a:lnTo>
                  <a:lnTo>
                    <a:pt x="574626" y="8723"/>
                  </a:lnTo>
                  <a:lnTo>
                    <a:pt x="595630" y="20400"/>
                  </a:lnTo>
                  <a:lnTo>
                    <a:pt x="609286" y="18653"/>
                  </a:lnTo>
                  <a:lnTo>
                    <a:pt x="635925" y="34308"/>
                  </a:lnTo>
                  <a:lnTo>
                    <a:pt x="662545" y="36415"/>
                  </a:lnTo>
                  <a:lnTo>
                    <a:pt x="678293" y="25727"/>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graphicFrame>
          <p:nvGraphicFramePr>
            <p:cNvPr id="44" name="ee4pMapWizardDataSheet_43215"/>
            <p:cNvGraphicFramePr>
              <a:graphicFrameLocks noChangeAspect="1"/>
            </p:cNvGraphicFramePr>
            <p:nvPr>
              <p:extLst>
                <p:ext uri="{D42A27DB-BD31-4B8C-83A1-F6EECF244321}">
                  <p14:modId xmlns:p14="http://schemas.microsoft.com/office/powerpoint/2010/main" val="2996736024"/>
                </p:ext>
              </p:extLst>
            </p:nvPr>
          </p:nvGraphicFramePr>
          <p:xfrm>
            <a:off x="4607719" y="3804998"/>
            <a:ext cx="0" cy="0"/>
          </p:xfrm>
          <a:graphic>
            <a:graphicData uri="http://schemas.openxmlformats.org/presentationml/2006/ole">
              <mc:AlternateContent xmlns:mc="http://schemas.openxmlformats.org/markup-compatibility/2006">
                <mc:Choice xmlns:v="urn:schemas-microsoft-com:vml" Requires="v">
                  <p:oleObj spid="_x0000_s2141" name="Arbeitsblatt" showAsIcon="1" r:id="rId42" imgW="914400" imgH="771480" progId="Excel.Sheet.12">
                    <p:embed/>
                  </p:oleObj>
                </mc:Choice>
                <mc:Fallback>
                  <p:oleObj name="Arbeitsblatt" showAsIcon="1" r:id="rId42" imgW="914400" imgH="771480" progId="Excel.Sheet.12">
                    <p:embed/>
                    <p:pic>
                      <p:nvPicPr>
                        <p:cNvPr id="0" name=""/>
                        <p:cNvPicPr/>
                        <p:nvPr/>
                      </p:nvPicPr>
                      <p:blipFill>
                        <a:blip r:embed="rId43"/>
                        <a:stretch>
                          <a:fillRect/>
                        </a:stretch>
                      </p:blipFill>
                      <p:spPr>
                        <a:xfrm>
                          <a:off x="4607719" y="3804998"/>
                          <a:ext cx="0" cy="0"/>
                        </a:xfrm>
                        <a:prstGeom prst="rect">
                          <a:avLst/>
                        </a:prstGeom>
                      </p:spPr>
                    </p:pic>
                  </p:oleObj>
                </mc:Fallback>
              </mc:AlternateContent>
            </a:graphicData>
          </a:graphic>
        </p:graphicFrame>
      </p:grpSp>
      <p:pic>
        <p:nvPicPr>
          <p:cNvPr id="53" name="Picture 6"/>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6371893" y="4350615"/>
            <a:ext cx="265952" cy="1323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Imagen 7" descr="http://www.ast.lv/css/images/logo.pn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363414" y="3478853"/>
            <a:ext cx="206676" cy="12428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8366352" y="3198167"/>
            <a:ext cx="236294" cy="9559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4"/>
          <p:cNvPicPr>
            <a:picLocks noChangeAspect="1"/>
          </p:cNvPicPr>
          <p:nvPr/>
        </p:nvPicPr>
        <p:blipFill>
          <a:blip r:embed="rId47"/>
          <a:stretch>
            <a:fillRect/>
          </a:stretch>
        </p:blipFill>
        <p:spPr>
          <a:xfrm>
            <a:off x="8340533" y="2604387"/>
            <a:ext cx="305662" cy="99153"/>
          </a:xfrm>
          <a:prstGeom prst="rect">
            <a:avLst/>
          </a:prstGeom>
        </p:spPr>
      </p:pic>
      <p:pic>
        <p:nvPicPr>
          <p:cNvPr id="60" name="Image 2"/>
          <p:cNvPicPr/>
          <p:nvPr/>
        </p:nvPicPr>
        <p:blipFill>
          <a:blip r:embed="rId48" cstate="print"/>
          <a:srcRect/>
          <a:stretch>
            <a:fillRect/>
          </a:stretch>
        </p:blipFill>
        <p:spPr bwMode="auto">
          <a:xfrm>
            <a:off x="5212711" y="5956476"/>
            <a:ext cx="357578" cy="105704"/>
          </a:xfrm>
          <a:prstGeom prst="rect">
            <a:avLst/>
          </a:prstGeom>
          <a:noFill/>
          <a:ln w="9525">
            <a:noFill/>
            <a:miter lim="800000"/>
            <a:headEnd/>
            <a:tailEnd/>
          </a:ln>
        </p:spPr>
      </p:pic>
      <p:pic>
        <p:nvPicPr>
          <p:cNvPr id="62" name="Afbeelding 7" descr="http://www.altaolag.no/images/Statnett_logo_RGB.jpg"/>
          <p:cNvPicPr/>
          <p:nvPr/>
        </p:nvPicPr>
        <p:blipFill>
          <a:blip r:embed="rId49" cstate="print"/>
          <a:srcRect/>
          <a:stretch>
            <a:fillRect/>
          </a:stretch>
        </p:blipFill>
        <p:spPr bwMode="auto">
          <a:xfrm>
            <a:off x="6489626" y="2845527"/>
            <a:ext cx="355134" cy="70037"/>
          </a:xfrm>
          <a:prstGeom prst="rect">
            <a:avLst/>
          </a:prstGeom>
          <a:noFill/>
        </p:spPr>
      </p:pic>
      <p:pic>
        <p:nvPicPr>
          <p:cNvPr id="63" name="Picture 2" descr="Kuvahaun tulos haulle svk"/>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7105899" y="3112412"/>
            <a:ext cx="387894" cy="127566"/>
          </a:xfrm>
          <a:prstGeom prst="rect">
            <a:avLst/>
          </a:prstGeom>
          <a:noFill/>
          <a:extLst>
            <a:ext uri="{909E8E84-426E-40DD-AFC4-6F175D3DCCD1}">
              <a14:hiddenFill xmlns:a14="http://schemas.microsoft.com/office/drawing/2010/main">
                <a:solidFill>
                  <a:srgbClr val="FFFFFF"/>
                </a:solidFill>
              </a14:hiddenFill>
            </a:ext>
          </a:extLst>
        </p:spPr>
      </p:pic>
      <p:pic>
        <p:nvPicPr>
          <p:cNvPr id="64" name="Grafik 20"/>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6637844" y="4546149"/>
            <a:ext cx="372732" cy="91356"/>
          </a:xfrm>
          <a:prstGeom prst="rect">
            <a:avLst/>
          </a:prstGeom>
        </p:spPr>
      </p:pic>
      <p:pic>
        <p:nvPicPr>
          <p:cNvPr id="66" name="Image 3"/>
          <p:cNvPicPr/>
          <p:nvPr/>
        </p:nvPicPr>
        <p:blipFill>
          <a:blip r:embed="rId52" cstate="print"/>
          <a:srcRect/>
          <a:stretch>
            <a:fillRect/>
          </a:stretch>
        </p:blipFill>
        <p:spPr bwMode="auto">
          <a:xfrm>
            <a:off x="4647965" y="5755853"/>
            <a:ext cx="252024" cy="73149"/>
          </a:xfrm>
          <a:prstGeom prst="rect">
            <a:avLst/>
          </a:prstGeom>
          <a:noFill/>
          <a:ln w="9525">
            <a:noFill/>
            <a:miter lim="800000"/>
            <a:headEnd/>
            <a:tailEnd/>
          </a:ln>
        </p:spPr>
      </p:pic>
      <p:pic>
        <p:nvPicPr>
          <p:cNvPr id="67" name="Picture 10"/>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6915022" y="4273764"/>
            <a:ext cx="343383" cy="130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Grafik 19"/>
          <p:cNvPicPr>
            <a:picLocks noChangeAspect="1"/>
          </p:cNvPicPr>
          <p:nvPr/>
        </p:nvPicPr>
        <p:blipFill rotWithShape="1">
          <a:blip r:embed="rId54" cstate="print">
            <a:extLst>
              <a:ext uri="{28A0092B-C50C-407E-A947-70E740481C1C}">
                <a14:useLocalDpi xmlns:a14="http://schemas.microsoft.com/office/drawing/2010/main" val="0"/>
              </a:ext>
            </a:extLst>
          </a:blip>
          <a:srcRect t="33353" b="27640"/>
          <a:stretch/>
        </p:blipFill>
        <p:spPr>
          <a:xfrm>
            <a:off x="6557431" y="4766092"/>
            <a:ext cx="339907" cy="132588"/>
          </a:xfrm>
          <a:prstGeom prst="rect">
            <a:avLst/>
          </a:prstGeom>
        </p:spPr>
      </p:pic>
      <p:pic>
        <p:nvPicPr>
          <p:cNvPr id="69" name="Imagen 5" descr="http://www.litgrid.eu/media/images/hdr/logo.pn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8187376" y="3730855"/>
            <a:ext cx="316927" cy="114321"/>
          </a:xfrm>
          <a:prstGeom prst="rect">
            <a:avLst/>
          </a:prstGeom>
          <a:solidFill>
            <a:schemeClr val="bg1"/>
          </a:solidFill>
          <a:extLst/>
        </p:spPr>
      </p:pic>
      <p:cxnSp>
        <p:nvCxnSpPr>
          <p:cNvPr id="70" name="Gerade Verbindung 69"/>
          <p:cNvCxnSpPr>
            <a:cxnSpLocks noChangeAspect="1"/>
          </p:cNvCxnSpPr>
          <p:nvPr/>
        </p:nvCxnSpPr>
        <p:spPr>
          <a:xfrm flipH="1">
            <a:off x="6400298" y="3357018"/>
            <a:ext cx="62199" cy="716346"/>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cxnSpLocks noChangeAspect="1"/>
          </p:cNvCxnSpPr>
          <p:nvPr/>
        </p:nvCxnSpPr>
        <p:spPr>
          <a:xfrm flipH="1">
            <a:off x="6919994" y="3810991"/>
            <a:ext cx="60211" cy="18500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a:cxnSpLocks noChangeAspect="1"/>
          </p:cNvCxnSpPr>
          <p:nvPr/>
        </p:nvCxnSpPr>
        <p:spPr>
          <a:xfrm>
            <a:off x="6462495" y="3357018"/>
            <a:ext cx="149922" cy="256506"/>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a:cxnSpLocks noChangeAspect="1"/>
          </p:cNvCxnSpPr>
          <p:nvPr/>
        </p:nvCxnSpPr>
        <p:spPr>
          <a:xfrm flipH="1">
            <a:off x="8419871" y="2959864"/>
            <a:ext cx="33575" cy="18807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a:cxnSpLocks noChangeAspect="1"/>
          </p:cNvCxnSpPr>
          <p:nvPr/>
        </p:nvCxnSpPr>
        <p:spPr>
          <a:xfrm>
            <a:off x="7573028" y="3227286"/>
            <a:ext cx="496503" cy="26757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5" name="Image 1" descr="http://www.omel.es/files/framework_logo.jpg"/>
          <p:cNvPicPr/>
          <p:nvPr/>
        </p:nvPicPr>
        <p:blipFill>
          <a:blip r:embed="rId56" cstate="print"/>
          <a:srcRect/>
          <a:stretch>
            <a:fillRect/>
          </a:stretch>
        </p:blipFill>
        <p:spPr bwMode="auto">
          <a:xfrm>
            <a:off x="5116385" y="2504697"/>
            <a:ext cx="679925" cy="233002"/>
          </a:xfrm>
          <a:prstGeom prst="rect">
            <a:avLst/>
          </a:prstGeom>
          <a:noFill/>
        </p:spPr>
      </p:pic>
      <p:pic>
        <p:nvPicPr>
          <p:cNvPr id="99" name="16 Imagen" descr="nordpool_blue_rgb"/>
          <p:cNvPicPr preferRelativeResize="0">
            <a:picLocks noChangeAspect="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5137836" y="1912983"/>
            <a:ext cx="411989" cy="204033"/>
          </a:xfrm>
          <a:prstGeom prst="rect">
            <a:avLst/>
          </a:prstGeom>
          <a:noFill/>
        </p:spPr>
      </p:pic>
      <p:pic>
        <p:nvPicPr>
          <p:cNvPr id="49" name="Obraz 15"/>
          <p:cNvPicPr preferRelativeResize="0">
            <a:picLocks noChangeAspect="1"/>
          </p:cNvPicPr>
          <p:nvPr/>
        </p:nvPicPr>
        <p:blipFill>
          <a:blip r:embed="rId58" cstate="print">
            <a:extLst>
              <a:ext uri="{28A0092B-C50C-407E-A947-70E740481C1C}">
                <a14:useLocalDpi xmlns:a14="http://schemas.microsoft.com/office/drawing/2010/main" val="0"/>
              </a:ext>
            </a:extLst>
          </a:blip>
          <a:stretch>
            <a:fillRect/>
          </a:stretch>
        </p:blipFill>
        <p:spPr>
          <a:xfrm>
            <a:off x="5118074" y="2260709"/>
            <a:ext cx="704567" cy="205898"/>
          </a:xfrm>
          <a:prstGeom prst="rect">
            <a:avLst/>
          </a:prstGeom>
        </p:spPr>
      </p:pic>
      <p:pic>
        <p:nvPicPr>
          <p:cNvPr id="65" name="Afbeelding 10" descr="tennetlogo.jpg"/>
          <p:cNvPicPr/>
          <p:nvPr/>
        </p:nvPicPr>
        <p:blipFill>
          <a:blip r:embed="rId59"/>
          <a:srcRect/>
          <a:stretch>
            <a:fillRect/>
          </a:stretch>
        </p:blipFill>
        <p:spPr bwMode="auto">
          <a:xfrm>
            <a:off x="6053205" y="4147902"/>
            <a:ext cx="347093" cy="72932"/>
          </a:xfrm>
          <a:prstGeom prst="rect">
            <a:avLst/>
          </a:prstGeom>
          <a:noFill/>
        </p:spPr>
      </p:pic>
      <p:pic>
        <p:nvPicPr>
          <p:cNvPr id="58" name="Picture 2" descr="Image result for energinet logo"/>
          <p:cNvPicPr>
            <a:picLocks noChangeAspect="1" noChangeArrowheads="1"/>
          </p:cNvPicPr>
          <p:nvPr/>
        </p:nvPicPr>
        <p:blipFill rotWithShape="1">
          <a:blip r:embed="rId60" cstate="print">
            <a:extLst>
              <a:ext uri="{28A0092B-C50C-407E-A947-70E740481C1C}">
                <a14:useLocalDpi xmlns:a14="http://schemas.microsoft.com/office/drawing/2010/main" val="0"/>
              </a:ext>
            </a:extLst>
          </a:blip>
          <a:srcRect t="19118" b="25294"/>
          <a:stretch/>
        </p:blipFill>
        <p:spPr bwMode="auto">
          <a:xfrm>
            <a:off x="6612417" y="3666801"/>
            <a:ext cx="416573" cy="8054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7180635" y="4832583"/>
            <a:ext cx="252391" cy="1385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6" descr="Image result for elia logo">
            <a:extLst>
              <a:ext uri="{FF2B5EF4-FFF2-40B4-BE49-F238E27FC236}">
                <a16:creationId xmlns="" xmlns:a16="http://schemas.microsoft.com/office/drawing/2014/main" id="{B895F5F1-6210-48DC-867C-9AD08F54F506}"/>
              </a:ext>
            </a:extLst>
          </p:cNvPr>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6018381" y="4453310"/>
            <a:ext cx="295653" cy="72835"/>
          </a:xfrm>
          <a:prstGeom prst="rect">
            <a:avLst/>
          </a:prstGeom>
          <a:noFill/>
          <a:extLst>
            <a:ext uri="{909E8E84-426E-40DD-AFC4-6F175D3DCCD1}">
              <a14:hiddenFill xmlns:a14="http://schemas.microsoft.com/office/drawing/2010/main">
                <a:solidFill>
                  <a:srgbClr val="FFFFFF"/>
                </a:solidFill>
              </a14:hiddenFill>
            </a:ext>
          </a:extLst>
        </p:spPr>
      </p:pic>
      <p:grpSp>
        <p:nvGrpSpPr>
          <p:cNvPr id="131" name="Gruppieren 1"/>
          <p:cNvGrpSpPr>
            <a:grpSpLocks/>
          </p:cNvGrpSpPr>
          <p:nvPr/>
        </p:nvGrpSpPr>
        <p:grpSpPr>
          <a:xfrm>
            <a:off x="4755710" y="1916763"/>
            <a:ext cx="218566" cy="786778"/>
            <a:chOff x="395285" y="5577340"/>
            <a:chExt cx="224409" cy="822490"/>
          </a:xfrm>
        </p:grpSpPr>
        <p:sp>
          <p:nvSpPr>
            <p:cNvPr id="133" name="Line 4"/>
            <p:cNvSpPr>
              <a:spLocks noChangeShapeType="1"/>
            </p:cNvSpPr>
            <p:nvPr/>
          </p:nvSpPr>
          <p:spPr bwMode="gray">
            <a:xfrm rot="16200000" flipV="1">
              <a:off x="-11103" y="5983728"/>
              <a:ext cx="822490" cy="9714"/>
            </a:xfrm>
            <a:prstGeom prst="line">
              <a:avLst/>
            </a:prstGeom>
            <a:noFill/>
            <a:ln w="9525" cap="flat" cmpd="sng" algn="ctr">
              <a:solidFill>
                <a:schemeClr val="accent3"/>
              </a:solidFill>
              <a:prstDash val="solid"/>
              <a:miter lim="800000"/>
              <a:headEnd type="none" w="med" len="med"/>
              <a:tailEnd type="none" w="med" len="med"/>
            </a:ln>
          </p:spPr>
          <p:txBody>
            <a:bodyPr/>
            <a:lstStyle/>
            <a:p>
              <a:endParaRPr lang="de-DE" sz="1000" dirty="0">
                <a:solidFill>
                  <a:schemeClr val="tx1"/>
                </a:solidFill>
                <a:latin typeface="Arial" panose="020B0604020202020204" pitchFamily="34" charset="0"/>
                <a:cs typeface="Arial" panose="020B0604020202020204" pitchFamily="34" charset="0"/>
              </a:endParaRPr>
            </a:p>
          </p:txBody>
        </p:sp>
        <p:sp>
          <p:nvSpPr>
            <p:cNvPr id="134" name="Rectangle 3"/>
            <p:cNvSpPr>
              <a:spLocks noChangeAspect="1" noChangeArrowheads="1"/>
            </p:cNvSpPr>
            <p:nvPr/>
          </p:nvSpPr>
          <p:spPr bwMode="gray">
            <a:xfrm>
              <a:off x="467294" y="6260826"/>
              <a:ext cx="152400" cy="109864"/>
            </a:xfrm>
            <a:prstGeom prst="rect">
              <a:avLst/>
            </a:prstGeom>
            <a:solidFill>
              <a:schemeClr val="accent1">
                <a:lumMod val="40000"/>
                <a:lumOff val="60000"/>
              </a:schemeClr>
            </a:solidFill>
            <a:ln w="9525">
              <a:noFill/>
              <a:miter lim="800000"/>
              <a:headEnd/>
              <a:tailEnd/>
            </a:ln>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Arial" panose="020B0604020202020204" pitchFamily="34" charset="0"/>
                <a:cs typeface="Arial" panose="020B0604020202020204" pitchFamily="34" charset="0"/>
              </a:endParaRPr>
            </a:p>
          </p:txBody>
        </p:sp>
        <p:sp>
          <p:nvSpPr>
            <p:cNvPr id="136" name="Rectangle 6"/>
            <p:cNvSpPr>
              <a:spLocks noChangeAspect="1" noChangeArrowheads="1"/>
            </p:cNvSpPr>
            <p:nvPr/>
          </p:nvSpPr>
          <p:spPr bwMode="gray">
            <a:xfrm>
              <a:off x="467294" y="5949334"/>
              <a:ext cx="152400" cy="109864"/>
            </a:xfrm>
            <a:prstGeom prst="rect">
              <a:avLst/>
            </a:prstGeom>
            <a:solidFill>
              <a:schemeClr val="accent2">
                <a:lumMod val="40000"/>
                <a:lumOff val="60000"/>
              </a:schemeClr>
            </a:solidFill>
            <a:ln w="9525" algn="ctr">
              <a:noFill/>
              <a:miter lim="800000"/>
              <a:headEnd/>
              <a:tailEnd/>
            </a:ln>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Arial" panose="020B0604020202020204" pitchFamily="34" charset="0"/>
                <a:cs typeface="Arial" panose="020B0604020202020204" pitchFamily="34" charset="0"/>
              </a:endParaRPr>
            </a:p>
          </p:txBody>
        </p:sp>
        <p:sp>
          <p:nvSpPr>
            <p:cNvPr id="138" name="Rectangle 8"/>
            <p:cNvSpPr>
              <a:spLocks noChangeAspect="1" noChangeArrowheads="1"/>
            </p:cNvSpPr>
            <p:nvPr/>
          </p:nvSpPr>
          <p:spPr bwMode="gray">
            <a:xfrm>
              <a:off x="467294" y="5624186"/>
              <a:ext cx="152400" cy="109864"/>
            </a:xfrm>
            <a:prstGeom prst="rect">
              <a:avLst/>
            </a:prstGeom>
            <a:solidFill>
              <a:schemeClr val="accent2"/>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accent3"/>
                  </a:solidFill>
                  <a:prstDash val="solid"/>
                  <a:miter lim="800000"/>
                  <a:headEnd type="none" w="med" len="med"/>
                  <a:tailEnd type="none" w="med" len="med"/>
                </a14:hiddenLine>
              </a:ext>
            </a:extLst>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Arial" panose="020B0604020202020204" pitchFamily="34" charset="0"/>
                <a:cs typeface="Arial" panose="020B0604020202020204" pitchFamily="34" charset="0"/>
              </a:endParaRPr>
            </a:p>
          </p:txBody>
        </p:sp>
      </p:grpSp>
      <p:pic>
        <p:nvPicPr>
          <p:cNvPr id="143" name="16 Imagen" descr="nordpool_blue_rgb"/>
          <p:cNvPicPr preferRelativeResize="0">
            <a:picLocks noChangeAspect="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5938519" y="2260709"/>
            <a:ext cx="420409" cy="208203"/>
          </a:xfrm>
          <a:prstGeom prst="rect">
            <a:avLst/>
          </a:prstGeom>
          <a:noFill/>
        </p:spPr>
      </p:pic>
      <p:graphicFrame>
        <p:nvGraphicFramePr>
          <p:cNvPr id="132" name="Tabelle 131"/>
          <p:cNvGraphicFramePr>
            <a:graphicFrameLocks noGrp="1"/>
          </p:cNvGraphicFramePr>
          <p:nvPr>
            <p:extLst>
              <p:ext uri="{D42A27DB-BD31-4B8C-83A1-F6EECF244321}">
                <p14:modId xmlns:p14="http://schemas.microsoft.com/office/powerpoint/2010/main" val="3185333255"/>
              </p:ext>
            </p:extLst>
          </p:nvPr>
        </p:nvGraphicFramePr>
        <p:xfrm>
          <a:off x="358680" y="1488258"/>
          <a:ext cx="4053386" cy="4419600"/>
        </p:xfrm>
        <a:graphic>
          <a:graphicData uri="http://schemas.openxmlformats.org/drawingml/2006/table">
            <a:tbl>
              <a:tblPr firstRow="1" bandRow="1">
                <a:tableStyleId>{16D9F66E-5EB9-4882-86FB-DCBF35E3C3E4}</a:tableStyleId>
              </a:tblPr>
              <a:tblGrid>
                <a:gridCol w="791570">
                  <a:extLst>
                    <a:ext uri="{9D8B030D-6E8A-4147-A177-3AD203B41FA5}">
                      <a16:colId xmlns="" xmlns:a16="http://schemas.microsoft.com/office/drawing/2014/main" val="20000"/>
                    </a:ext>
                  </a:extLst>
                </a:gridCol>
                <a:gridCol w="745225">
                  <a:extLst>
                    <a:ext uri="{9D8B030D-6E8A-4147-A177-3AD203B41FA5}">
                      <a16:colId xmlns="" xmlns:a16="http://schemas.microsoft.com/office/drawing/2014/main" val="20001"/>
                    </a:ext>
                  </a:extLst>
                </a:gridCol>
                <a:gridCol w="2516591">
                  <a:extLst>
                    <a:ext uri="{9D8B030D-6E8A-4147-A177-3AD203B41FA5}">
                      <a16:colId xmlns="" xmlns:a16="http://schemas.microsoft.com/office/drawing/2014/main" val="20002"/>
                    </a:ext>
                  </a:extLst>
                </a:gridCol>
              </a:tblGrid>
              <a:tr h="249174">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r>
                        <a:rPr lang="en-US" sz="1400" b="1" dirty="0">
                          <a:solidFill>
                            <a:schemeClr val="tx1"/>
                          </a:solidFill>
                          <a:latin typeface="Arial" panose="020B0604020202020204" pitchFamily="34" charset="0"/>
                          <a:cs typeface="Arial" panose="020B0604020202020204" pitchFamily="34" charset="0"/>
                        </a:rPr>
                        <a:t>Initial</a:t>
                      </a:r>
                      <a:r>
                        <a:rPr lang="en-US" sz="1400" b="1" baseline="0" dirty="0">
                          <a:solidFill>
                            <a:schemeClr val="tx1"/>
                          </a:solidFill>
                          <a:latin typeface="Arial" panose="020B0604020202020204" pitchFamily="34" charset="0"/>
                          <a:cs typeface="Arial" panose="020B0604020202020204" pitchFamily="34" charset="0"/>
                        </a:rPr>
                        <a:t> project parties</a:t>
                      </a:r>
                      <a:endParaRPr lang="en-US" sz="1400" b="1" dirty="0">
                        <a:solidFill>
                          <a:schemeClr val="tx1"/>
                        </a:solidFill>
                        <a:latin typeface="Arial" panose="020B0604020202020204" pitchFamily="34" charset="0"/>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400" b="0" dirty="0">
                          <a:solidFill>
                            <a:schemeClr val="tx1"/>
                          </a:solidFill>
                          <a:latin typeface="Arial" panose="020B0604020202020204" pitchFamily="34" charset="0"/>
                          <a:cs typeface="Arial" panose="020B0604020202020204" pitchFamily="34" charset="0"/>
                        </a:rPr>
                        <a:t>NEMOs</a:t>
                      </a: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baseline="0" dirty="0">
                          <a:solidFill>
                            <a:schemeClr val="tx1"/>
                          </a:solidFill>
                          <a:latin typeface="Arial" panose="020B0604020202020204" pitchFamily="34" charset="0"/>
                          <a:ea typeface="+mn-ea"/>
                          <a:cs typeface="Arial" panose="020B0604020202020204" pitchFamily="34" charset="0"/>
                        </a:rPr>
                        <a:t>EPEX Spot (including former APX and </a:t>
                      </a:r>
                      <a:r>
                        <a:rPr lang="en-US" sz="1400" b="0" kern="1200" baseline="0" dirty="0" err="1">
                          <a:solidFill>
                            <a:schemeClr val="tx1"/>
                          </a:solidFill>
                          <a:latin typeface="Arial" panose="020B0604020202020204" pitchFamily="34" charset="0"/>
                          <a:ea typeface="+mn-ea"/>
                          <a:cs typeface="Arial" panose="020B0604020202020204" pitchFamily="34" charset="0"/>
                        </a:rPr>
                        <a:t>Belpex</a:t>
                      </a:r>
                      <a:r>
                        <a:rPr lang="en-US" sz="1400" b="0" kern="1200" baseline="0" dirty="0">
                          <a:solidFill>
                            <a:schemeClr val="tx1"/>
                          </a:solidFill>
                          <a:latin typeface="Arial" panose="020B0604020202020204" pitchFamily="34" charset="0"/>
                          <a:ea typeface="+mn-ea"/>
                          <a:cs typeface="Arial" panose="020B0604020202020204" pitchFamily="34" charset="0"/>
                        </a:rPr>
                        <a:t>), GME, Nord Pool</a:t>
                      </a:r>
                      <a:r>
                        <a:rPr lang="en-US" sz="1400" b="0" kern="1200" dirty="0">
                          <a:solidFill>
                            <a:schemeClr val="tx1"/>
                          </a:solidFill>
                          <a:latin typeface="Arial" panose="020B0604020202020204" pitchFamily="34" charset="0"/>
                          <a:cs typeface="Arial" panose="020B0604020202020204" pitchFamily="34" charset="0"/>
                        </a:rPr>
                        <a:t>, OMIE</a:t>
                      </a:r>
                      <a:endParaRPr lang="en-US" sz="1400" b="0" dirty="0">
                        <a:solidFill>
                          <a:schemeClr val="tx1"/>
                        </a:solidFill>
                        <a:latin typeface="Arial" panose="020B0604020202020204" pitchFamily="34" charset="0"/>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1"/>
                  </a:ext>
                </a:extLst>
              </a:tr>
              <a:tr h="285112">
                <a:tc vMerge="1">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400" b="0" dirty="0">
                          <a:solidFill>
                            <a:schemeClr val="tx1"/>
                          </a:solidFill>
                          <a:latin typeface="Arial" panose="020B0604020202020204" pitchFamily="34" charset="0"/>
                          <a:cs typeface="Arial" panose="020B0604020202020204" pitchFamily="34" charset="0"/>
                        </a:rPr>
                        <a:t>TSOs</a:t>
                      </a: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a:solidFill>
                            <a:schemeClr val="tx1"/>
                          </a:solidFill>
                          <a:latin typeface="Arial" panose="020B0604020202020204" pitchFamily="34" charset="0"/>
                          <a:cs typeface="Arial" panose="020B0604020202020204" pitchFamily="34" charset="0"/>
                        </a:rPr>
                        <a:t>50 Hertz, Amprion, APG, </a:t>
                      </a:r>
                      <a:r>
                        <a:rPr lang="en-US" sz="1400" b="0" kern="1200" dirty="0" err="1">
                          <a:solidFill>
                            <a:schemeClr val="tx1"/>
                          </a:solidFill>
                          <a:latin typeface="Arial" panose="020B0604020202020204" pitchFamily="34" charset="0"/>
                          <a:cs typeface="Arial" panose="020B0604020202020204" pitchFamily="34" charset="0"/>
                        </a:rPr>
                        <a:t>BritNed</a:t>
                      </a:r>
                      <a:r>
                        <a:rPr lang="en-US" sz="1400" b="0" kern="1200" dirty="0">
                          <a:solidFill>
                            <a:schemeClr val="tx1"/>
                          </a:solidFill>
                          <a:latin typeface="Arial" panose="020B0604020202020204" pitchFamily="34" charset="0"/>
                          <a:cs typeface="Arial" panose="020B0604020202020204" pitchFamily="34" charset="0"/>
                        </a:rPr>
                        <a:t>, Creos, Elia, </a:t>
                      </a:r>
                      <a:r>
                        <a:rPr lang="en-US" sz="1400" b="0" kern="1200" dirty="0" err="1">
                          <a:solidFill>
                            <a:schemeClr val="tx1"/>
                          </a:solidFill>
                          <a:latin typeface="Arial" panose="020B0604020202020204" pitchFamily="34" charset="0"/>
                          <a:cs typeface="Arial" panose="020B0604020202020204" pitchFamily="34" charset="0"/>
                        </a:rPr>
                        <a:t>Energinet</a:t>
                      </a:r>
                      <a:r>
                        <a:rPr lang="en-US" sz="1400" b="0" kern="1200" dirty="0">
                          <a:solidFill>
                            <a:schemeClr val="tx1"/>
                          </a:solidFill>
                          <a:latin typeface="Arial" panose="020B0604020202020204" pitchFamily="34" charset="0"/>
                          <a:cs typeface="Arial" panose="020B0604020202020204" pitchFamily="34" charset="0"/>
                        </a:rPr>
                        <a:t>, </a:t>
                      </a:r>
                      <a:r>
                        <a:rPr lang="en-US" sz="1400" b="0" kern="1200" dirty="0" err="1">
                          <a:solidFill>
                            <a:schemeClr val="tx1"/>
                          </a:solidFill>
                          <a:latin typeface="Arial" panose="020B0604020202020204" pitchFamily="34" charset="0"/>
                          <a:cs typeface="Arial" panose="020B0604020202020204" pitchFamily="34" charset="0"/>
                        </a:rPr>
                        <a:t>Fingrid</a:t>
                      </a:r>
                      <a:r>
                        <a:rPr lang="en-US" sz="1400" b="0" kern="1200" dirty="0">
                          <a:solidFill>
                            <a:schemeClr val="tx1"/>
                          </a:solidFill>
                          <a:latin typeface="Arial" panose="020B0604020202020204" pitchFamily="34" charset="0"/>
                          <a:cs typeface="Arial" panose="020B0604020202020204" pitchFamily="34" charset="0"/>
                        </a:rPr>
                        <a:t>, National Grid Interconnectors, RTE, </a:t>
                      </a:r>
                      <a:r>
                        <a:rPr lang="en-US" sz="1400" b="0" kern="1200" dirty="0" err="1">
                          <a:solidFill>
                            <a:schemeClr val="tx1"/>
                          </a:solidFill>
                          <a:latin typeface="Arial" panose="020B0604020202020204" pitchFamily="34" charset="0"/>
                          <a:cs typeface="Arial" panose="020B0604020202020204" pitchFamily="34" charset="0"/>
                        </a:rPr>
                        <a:t>Statnett</a:t>
                      </a:r>
                      <a:r>
                        <a:rPr lang="en-US" sz="1400" b="0" kern="1200" dirty="0">
                          <a:solidFill>
                            <a:schemeClr val="tx1"/>
                          </a:solidFill>
                          <a:latin typeface="Arial" panose="020B0604020202020204" pitchFamily="34" charset="0"/>
                          <a:cs typeface="Arial" panose="020B0604020202020204" pitchFamily="34" charset="0"/>
                        </a:rPr>
                        <a:t>, </a:t>
                      </a:r>
                      <a:r>
                        <a:rPr lang="en-US" sz="1400" b="0" kern="1200" dirty="0" err="1">
                          <a:solidFill>
                            <a:schemeClr val="tx1"/>
                          </a:solidFill>
                          <a:latin typeface="Arial" panose="020B0604020202020204" pitchFamily="34" charset="0"/>
                          <a:cs typeface="Arial" panose="020B0604020202020204" pitchFamily="34" charset="0"/>
                        </a:rPr>
                        <a:t>Svenska</a:t>
                      </a:r>
                      <a:r>
                        <a:rPr lang="en-US" sz="1400" b="0" kern="1200" dirty="0">
                          <a:solidFill>
                            <a:schemeClr val="tx1"/>
                          </a:solidFill>
                          <a:latin typeface="Arial" panose="020B0604020202020204" pitchFamily="34" charset="0"/>
                          <a:cs typeface="Arial" panose="020B0604020202020204" pitchFamily="34" charset="0"/>
                        </a:rPr>
                        <a:t> </a:t>
                      </a:r>
                      <a:r>
                        <a:rPr lang="en-US" sz="1400" b="0" kern="1200" dirty="0" err="1">
                          <a:solidFill>
                            <a:schemeClr val="tx1"/>
                          </a:solidFill>
                          <a:latin typeface="Arial" panose="020B0604020202020204" pitchFamily="34" charset="0"/>
                          <a:cs typeface="Arial" panose="020B0604020202020204" pitchFamily="34" charset="0"/>
                        </a:rPr>
                        <a:t>Kraftnät</a:t>
                      </a:r>
                      <a:r>
                        <a:rPr lang="en-US" sz="1400" b="0" kern="1200" dirty="0">
                          <a:solidFill>
                            <a:schemeClr val="tx1"/>
                          </a:solidFill>
                          <a:latin typeface="Arial" panose="020B0604020202020204" pitchFamily="34" charset="0"/>
                          <a:cs typeface="Arial" panose="020B0604020202020204" pitchFamily="34" charset="0"/>
                        </a:rPr>
                        <a:t>, </a:t>
                      </a:r>
                      <a:r>
                        <a:rPr lang="en-US" sz="1400" b="0" kern="1200" dirty="0" err="1">
                          <a:solidFill>
                            <a:schemeClr val="tx1"/>
                          </a:solidFill>
                          <a:latin typeface="Arial" panose="020B0604020202020204" pitchFamily="34" charset="0"/>
                          <a:cs typeface="Arial" panose="020B0604020202020204" pitchFamily="34" charset="0"/>
                        </a:rPr>
                        <a:t>Swissgrid</a:t>
                      </a:r>
                      <a:r>
                        <a:rPr lang="en-US" sz="1400" b="0" kern="1200" dirty="0">
                          <a:solidFill>
                            <a:schemeClr val="tx1"/>
                          </a:solidFill>
                          <a:latin typeface="Arial" panose="020B0604020202020204" pitchFamily="34" charset="0"/>
                          <a:cs typeface="Arial" panose="020B0604020202020204" pitchFamily="34" charset="0"/>
                        </a:rPr>
                        <a:t>*, TenneT BV, TenneT GmbH,  </a:t>
                      </a:r>
                      <a:r>
                        <a:rPr lang="en-US" sz="1400" b="0" kern="1200" dirty="0" err="1">
                          <a:solidFill>
                            <a:schemeClr val="tx1"/>
                          </a:solidFill>
                          <a:latin typeface="Arial" panose="020B0604020202020204" pitchFamily="34" charset="0"/>
                          <a:cs typeface="Arial" panose="020B0604020202020204" pitchFamily="34" charset="0"/>
                        </a:rPr>
                        <a:t>TransnetBW</a:t>
                      </a:r>
                      <a:endParaRPr lang="en-US" sz="1400" b="0" kern="1200" dirty="0">
                        <a:solidFill>
                          <a:schemeClr val="tx1"/>
                        </a:solidFill>
                        <a:latin typeface="Arial" panose="020B0604020202020204" pitchFamily="34" charset="0"/>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2"/>
                  </a:ext>
                </a:extLst>
              </a:tr>
              <a:tr h="324293">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panose="020B0604020202020204" pitchFamily="34" charset="0"/>
                          <a:cs typeface="Arial" panose="020B0604020202020204" pitchFamily="34" charset="0"/>
                        </a:rPr>
                        <a:t>Parties part of 1</a:t>
                      </a:r>
                      <a:r>
                        <a:rPr lang="en-US" sz="1400" b="1" baseline="30000" dirty="0">
                          <a:solidFill>
                            <a:schemeClr val="tx1"/>
                          </a:solidFill>
                          <a:latin typeface="Arial" panose="020B0604020202020204" pitchFamily="34" charset="0"/>
                          <a:cs typeface="Arial" panose="020B0604020202020204" pitchFamily="34" charset="0"/>
                        </a:rPr>
                        <a:t>st</a:t>
                      </a:r>
                      <a:r>
                        <a:rPr lang="en-US" sz="1400" b="1" dirty="0">
                          <a:solidFill>
                            <a:schemeClr val="tx1"/>
                          </a:solidFill>
                          <a:latin typeface="Arial" panose="020B0604020202020204" pitchFamily="34" charset="0"/>
                          <a:cs typeface="Arial" panose="020B0604020202020204" pitchFamily="34" charset="0"/>
                        </a:rPr>
                        <a:t> </a:t>
                      </a:r>
                      <a:r>
                        <a:rPr lang="en-US" sz="1400" b="1" dirty="0" err="1">
                          <a:solidFill>
                            <a:schemeClr val="tx1"/>
                          </a:solidFill>
                          <a:latin typeface="Arial" panose="020B0604020202020204" pitchFamily="34" charset="0"/>
                          <a:cs typeface="Arial" panose="020B0604020202020204" pitchFamily="34" charset="0"/>
                        </a:rPr>
                        <a:t>go-live</a:t>
                      </a:r>
                      <a:endParaRPr lang="en-US" sz="1400" b="1" dirty="0">
                        <a:solidFill>
                          <a:schemeClr val="tx1"/>
                        </a:solidFill>
                        <a:latin typeface="Arial" panose="020B0604020202020204" pitchFamily="34" charset="0"/>
                        <a:cs typeface="Arial" panose="020B0604020202020204" pitchFamily="34" charset="0"/>
                      </a:endParaRPr>
                    </a:p>
                    <a:p>
                      <a:pPr eaLnBrk="1"/>
                      <a:endParaRPr lang="en-US" sz="1400" b="1" dirty="0">
                        <a:solidFill>
                          <a:schemeClr val="tx1"/>
                        </a:solidFill>
                        <a:latin typeface="Arial" panose="020B0604020202020204" pitchFamily="34" charset="0"/>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400" dirty="0">
                          <a:solidFill>
                            <a:schemeClr val="tx1"/>
                          </a:solidFill>
                          <a:latin typeface="Arial" panose="020B0604020202020204" pitchFamily="34" charset="0"/>
                          <a:cs typeface="Arial" panose="020B0604020202020204" pitchFamily="34" charset="0"/>
                        </a:rPr>
                        <a:t>NEMOs</a:t>
                      </a: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tx1"/>
                          </a:solidFill>
                          <a:latin typeface="Arial" panose="020B0604020202020204" pitchFamily="34" charset="0"/>
                          <a:ea typeface="+mn-ea"/>
                          <a:cs typeface="Arial" panose="020B0604020202020204" pitchFamily="34" charset="0"/>
                        </a:rPr>
                        <a:t>EPEX Spot (including former APX and </a:t>
                      </a:r>
                      <a:r>
                        <a:rPr lang="en-US" sz="1400" kern="1200" baseline="0" dirty="0" err="1">
                          <a:solidFill>
                            <a:schemeClr val="tx1"/>
                          </a:solidFill>
                          <a:latin typeface="Arial" panose="020B0604020202020204" pitchFamily="34" charset="0"/>
                          <a:ea typeface="+mn-ea"/>
                          <a:cs typeface="Arial" panose="020B0604020202020204" pitchFamily="34" charset="0"/>
                        </a:rPr>
                        <a:t>Belpex</a:t>
                      </a:r>
                      <a:r>
                        <a:rPr lang="en-US" sz="1400" kern="1200" baseline="0" dirty="0">
                          <a:solidFill>
                            <a:schemeClr val="tx1"/>
                          </a:solidFill>
                          <a:latin typeface="Arial" panose="020B0604020202020204" pitchFamily="34" charset="0"/>
                          <a:ea typeface="+mn-ea"/>
                          <a:cs typeface="Arial" panose="020B0604020202020204" pitchFamily="34" charset="0"/>
                        </a:rPr>
                        <a:t>), Nord Pool, OMIE</a:t>
                      </a:r>
                      <a:endParaRPr lang="en-US" sz="1400" kern="1200" dirty="0">
                        <a:solidFill>
                          <a:schemeClr val="tx1"/>
                        </a:solidFill>
                        <a:latin typeface="Arial" panose="020B0604020202020204" pitchFamily="34" charset="0"/>
                        <a:ea typeface="+mn-ea"/>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3"/>
                  </a:ext>
                </a:extLst>
              </a:tr>
              <a:tr h="266877">
                <a:tc vMerge="1">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400" dirty="0">
                          <a:solidFill>
                            <a:schemeClr val="tx1"/>
                          </a:solidFill>
                          <a:latin typeface="Arial" panose="020B0604020202020204" pitchFamily="34" charset="0"/>
                          <a:cs typeface="Arial" panose="020B0604020202020204" pitchFamily="34" charset="0"/>
                        </a:rPr>
                        <a:t>TSOs</a:t>
                      </a: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Arial" panose="020B0604020202020204" pitchFamily="34" charset="0"/>
                          <a:ea typeface="+mn-ea"/>
                          <a:cs typeface="Arial" panose="020B0604020202020204" pitchFamily="34" charset="0"/>
                        </a:rPr>
                        <a:t>50 Hertz, Amprion, APG, AST, Elia, </a:t>
                      </a:r>
                      <a:r>
                        <a:rPr lang="en-US" sz="1400" kern="1200" dirty="0" err="1">
                          <a:solidFill>
                            <a:schemeClr val="tx1"/>
                          </a:solidFill>
                          <a:latin typeface="Arial" panose="020B0604020202020204" pitchFamily="34" charset="0"/>
                          <a:ea typeface="+mn-ea"/>
                          <a:cs typeface="Arial" panose="020B0604020202020204" pitchFamily="34" charset="0"/>
                        </a:rPr>
                        <a:t>Elering</a:t>
                      </a:r>
                      <a:r>
                        <a:rPr lang="en-US" sz="1400" kern="1200" dirty="0">
                          <a:solidFill>
                            <a:schemeClr val="tx1"/>
                          </a:solidFill>
                          <a:latin typeface="Arial" panose="020B0604020202020204" pitchFamily="34" charset="0"/>
                          <a:ea typeface="+mn-ea"/>
                          <a:cs typeface="Arial" panose="020B0604020202020204" pitchFamily="34" charset="0"/>
                        </a:rPr>
                        <a:t>, </a:t>
                      </a:r>
                      <a:r>
                        <a:rPr lang="en-US" sz="1400" kern="1200" dirty="0" err="1">
                          <a:solidFill>
                            <a:schemeClr val="tx1"/>
                          </a:solidFill>
                          <a:latin typeface="Arial" panose="020B0604020202020204" pitchFamily="34" charset="0"/>
                          <a:ea typeface="+mn-ea"/>
                          <a:cs typeface="Arial" panose="020B0604020202020204" pitchFamily="34" charset="0"/>
                        </a:rPr>
                        <a:t>Energinet</a:t>
                      </a:r>
                      <a:r>
                        <a:rPr lang="en-US" sz="1400" kern="1200" dirty="0">
                          <a:solidFill>
                            <a:schemeClr val="tx1"/>
                          </a:solidFill>
                          <a:latin typeface="Arial" panose="020B0604020202020204" pitchFamily="34" charset="0"/>
                          <a:ea typeface="+mn-ea"/>
                          <a:cs typeface="Arial" panose="020B0604020202020204" pitchFamily="34" charset="0"/>
                        </a:rPr>
                        <a:t>, </a:t>
                      </a:r>
                      <a:r>
                        <a:rPr lang="en-US" sz="1400" kern="1200" dirty="0" err="1">
                          <a:solidFill>
                            <a:schemeClr val="tx1"/>
                          </a:solidFill>
                          <a:latin typeface="Arial" panose="020B0604020202020204" pitchFamily="34" charset="0"/>
                          <a:ea typeface="+mn-ea"/>
                          <a:cs typeface="Arial" panose="020B0604020202020204" pitchFamily="34" charset="0"/>
                        </a:rPr>
                        <a:t>Fingrid</a:t>
                      </a:r>
                      <a:r>
                        <a:rPr lang="en-US" sz="1400" kern="1200" dirty="0">
                          <a:solidFill>
                            <a:schemeClr val="tx1"/>
                          </a:solidFill>
                          <a:latin typeface="Arial" panose="020B0604020202020204" pitchFamily="34" charset="0"/>
                          <a:ea typeface="+mn-ea"/>
                          <a:cs typeface="Arial" panose="020B0604020202020204" pitchFamily="34" charset="0"/>
                        </a:rPr>
                        <a:t>, </a:t>
                      </a:r>
                      <a:r>
                        <a:rPr lang="en-US" sz="1400" kern="1200" dirty="0" err="1">
                          <a:solidFill>
                            <a:schemeClr val="tx1"/>
                          </a:solidFill>
                          <a:latin typeface="Arial" panose="020B0604020202020204" pitchFamily="34" charset="0"/>
                          <a:ea typeface="+mn-ea"/>
                          <a:cs typeface="Arial" panose="020B0604020202020204" pitchFamily="34" charset="0"/>
                        </a:rPr>
                        <a:t>Litgrid</a:t>
                      </a:r>
                      <a:r>
                        <a:rPr lang="en-US" sz="1400" kern="1200" dirty="0">
                          <a:solidFill>
                            <a:schemeClr val="tx1"/>
                          </a:solidFill>
                          <a:latin typeface="Arial" panose="020B0604020202020204" pitchFamily="34" charset="0"/>
                          <a:ea typeface="+mn-ea"/>
                          <a:cs typeface="Arial" panose="020B0604020202020204" pitchFamily="34" charset="0"/>
                        </a:rPr>
                        <a:t>, REE, REN, RTE, </a:t>
                      </a:r>
                      <a:r>
                        <a:rPr lang="en-US" sz="1400" kern="1200" dirty="0" err="1">
                          <a:solidFill>
                            <a:schemeClr val="tx1"/>
                          </a:solidFill>
                          <a:latin typeface="Arial" panose="020B0604020202020204" pitchFamily="34" charset="0"/>
                          <a:ea typeface="+mn-ea"/>
                          <a:cs typeface="Arial" panose="020B0604020202020204" pitchFamily="34" charset="0"/>
                        </a:rPr>
                        <a:t>Statnett</a:t>
                      </a:r>
                      <a:r>
                        <a:rPr lang="en-US" sz="1400" kern="1200" dirty="0">
                          <a:solidFill>
                            <a:schemeClr val="tx1"/>
                          </a:solidFill>
                          <a:latin typeface="Arial" panose="020B0604020202020204" pitchFamily="34" charset="0"/>
                          <a:ea typeface="+mn-ea"/>
                          <a:cs typeface="Arial" panose="020B0604020202020204" pitchFamily="34" charset="0"/>
                        </a:rPr>
                        <a:t>, </a:t>
                      </a:r>
                      <a:r>
                        <a:rPr lang="en-US" sz="1400" kern="1200" dirty="0" err="1">
                          <a:solidFill>
                            <a:schemeClr val="tx1"/>
                          </a:solidFill>
                          <a:latin typeface="Arial" panose="020B0604020202020204" pitchFamily="34" charset="0"/>
                          <a:ea typeface="+mn-ea"/>
                          <a:cs typeface="Arial" panose="020B0604020202020204" pitchFamily="34" charset="0"/>
                        </a:rPr>
                        <a:t>Svenska</a:t>
                      </a:r>
                      <a:r>
                        <a:rPr lang="en-US" sz="1400" kern="1200" dirty="0">
                          <a:solidFill>
                            <a:schemeClr val="tx1"/>
                          </a:solidFill>
                          <a:latin typeface="Arial" panose="020B0604020202020204" pitchFamily="34" charset="0"/>
                          <a:ea typeface="+mn-ea"/>
                          <a:cs typeface="Arial" panose="020B0604020202020204" pitchFamily="34" charset="0"/>
                        </a:rPr>
                        <a:t> </a:t>
                      </a:r>
                      <a:r>
                        <a:rPr lang="en-US" sz="1400" kern="1200" dirty="0" err="1">
                          <a:solidFill>
                            <a:schemeClr val="tx1"/>
                          </a:solidFill>
                          <a:latin typeface="Arial" panose="020B0604020202020204" pitchFamily="34" charset="0"/>
                          <a:ea typeface="+mn-ea"/>
                          <a:cs typeface="Arial" panose="020B0604020202020204" pitchFamily="34" charset="0"/>
                        </a:rPr>
                        <a:t>Kraftnät</a:t>
                      </a:r>
                      <a:r>
                        <a:rPr lang="en-US" sz="1400" kern="1200" dirty="0">
                          <a:solidFill>
                            <a:schemeClr val="tx1"/>
                          </a:solidFill>
                          <a:latin typeface="Arial" panose="020B0604020202020204" pitchFamily="34" charset="0"/>
                          <a:ea typeface="+mn-ea"/>
                          <a:cs typeface="Arial" panose="020B0604020202020204" pitchFamily="34" charset="0"/>
                        </a:rPr>
                        <a:t>, TenneT BV, TenneT GmbH,</a:t>
                      </a:r>
                      <a:r>
                        <a:rPr lang="en-US" sz="1400" kern="1200" baseline="0" dirty="0">
                          <a:solidFill>
                            <a:schemeClr val="tx1"/>
                          </a:solidFill>
                          <a:latin typeface="Arial" panose="020B0604020202020204" pitchFamily="34" charset="0"/>
                          <a:ea typeface="+mn-ea"/>
                          <a:cs typeface="Arial" panose="020B0604020202020204" pitchFamily="34" charset="0"/>
                        </a:rPr>
                        <a:t> </a:t>
                      </a:r>
                      <a:r>
                        <a:rPr lang="en-US" sz="1400" kern="1200" dirty="0" err="1">
                          <a:solidFill>
                            <a:schemeClr val="tx1"/>
                          </a:solidFill>
                          <a:latin typeface="Arial" panose="020B0604020202020204" pitchFamily="34" charset="0"/>
                          <a:ea typeface="+mn-ea"/>
                          <a:cs typeface="Arial" panose="020B0604020202020204" pitchFamily="34" charset="0"/>
                        </a:rPr>
                        <a:t>TransnetBW</a:t>
                      </a:r>
                      <a:endParaRPr lang="en-US" sz="1400" kern="1200" dirty="0">
                        <a:solidFill>
                          <a:schemeClr val="tx1"/>
                        </a:solidFill>
                        <a:latin typeface="Arial" panose="020B0604020202020204" pitchFamily="34" charset="0"/>
                        <a:ea typeface="+mn-ea"/>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4"/>
                  </a:ext>
                </a:extLst>
              </a:tr>
            </a:tbl>
          </a:graphicData>
        </a:graphic>
      </p:graphicFrame>
      <p:sp>
        <p:nvSpPr>
          <p:cNvPr id="46" name="Textfeld 45"/>
          <p:cNvSpPr txBox="1"/>
          <p:nvPr/>
        </p:nvSpPr>
        <p:spPr>
          <a:xfrm>
            <a:off x="548450" y="6098504"/>
            <a:ext cx="3534452" cy="553998"/>
          </a:xfrm>
          <a:prstGeom prst="rect">
            <a:avLst/>
          </a:prstGeom>
          <a:noFill/>
        </p:spPr>
        <p:txBody>
          <a:bodyPr wrap="square" lIns="0" tIns="0" rIns="0" bIns="0" rtlCol="0">
            <a:spAutoFit/>
          </a:bodyPr>
          <a:lstStyle/>
          <a:p>
            <a:r>
              <a:rPr lang="en-US" sz="900" dirty="0"/>
              <a:t>* Integration of Swiss borders is not going to be possible due to the intergovernmental agreement on electricity cooperation not having been reached by end of 2016 [CACM Article 1 (4) &amp; (5)]. In consequence, </a:t>
            </a:r>
            <a:r>
              <a:rPr lang="en-US" sz="900" dirty="0" err="1"/>
              <a:t>Swissgrid</a:t>
            </a:r>
            <a:r>
              <a:rPr lang="en-US" sz="900" dirty="0"/>
              <a:t> left the project in January 2017.</a:t>
            </a:r>
            <a:endParaRPr lang="de-DE" sz="900" dirty="0" err="1"/>
          </a:p>
        </p:txBody>
      </p:sp>
      <p:pic>
        <p:nvPicPr>
          <p:cNvPr id="139" name="Picture 3"/>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6638959" y="5195673"/>
            <a:ext cx="313357" cy="1388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6" name="Gerade Verbindung 75"/>
          <p:cNvCxnSpPr/>
          <p:nvPr/>
        </p:nvCxnSpPr>
        <p:spPr>
          <a:xfrm>
            <a:off x="5857993" y="4239121"/>
            <a:ext cx="278956" cy="5422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1" name="Gerade Verbindung 140"/>
          <p:cNvCxnSpPr/>
          <p:nvPr/>
        </p:nvCxnSpPr>
        <p:spPr>
          <a:xfrm flipH="1">
            <a:off x="5590651" y="4444330"/>
            <a:ext cx="27596" cy="24700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42" name="Picture 11"/>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771896" y="4239121"/>
            <a:ext cx="225740" cy="158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4" name="Picture 12"/>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5477087" y="4499204"/>
            <a:ext cx="254724" cy="58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5" name="Picture 8"/>
          <p:cNvPicPr>
            <a:picLocks noChangeAspect="1" noChangeArrowheads="1"/>
          </p:cNvPicPr>
          <p:nvPr/>
        </p:nvPicPr>
        <p:blipFill>
          <a:blip r:embed="rId66" cstate="print">
            <a:clrChange>
              <a:clrFrom>
                <a:srgbClr val="E9F0F2"/>
              </a:clrFrom>
              <a:clrTo>
                <a:srgbClr val="E9F0F2">
                  <a:alpha val="0"/>
                </a:srgbClr>
              </a:clrTo>
            </a:clrChange>
            <a:extLst>
              <a:ext uri="{28A0092B-C50C-407E-A947-70E740481C1C}">
                <a14:useLocalDpi xmlns:a14="http://schemas.microsoft.com/office/drawing/2010/main" val="0"/>
              </a:ext>
            </a:extLst>
          </a:blip>
          <a:srcRect/>
          <a:stretch>
            <a:fillRect/>
          </a:stretch>
        </p:blipFill>
        <p:spPr bwMode="auto">
          <a:xfrm>
            <a:off x="6308494" y="4567834"/>
            <a:ext cx="217291" cy="109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845" name="Picture 5"/>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6467172" y="4989035"/>
            <a:ext cx="200021" cy="45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4647965" y="1261233"/>
            <a:ext cx="2069272" cy="492443"/>
          </a:xfrm>
          <a:prstGeom prst="rect">
            <a:avLst/>
          </a:prstGeom>
          <a:noFill/>
        </p:spPr>
        <p:txBody>
          <a:bodyPr wrap="square" lIns="0" tIns="0" rIns="0" bIns="0" rtlCol="0">
            <a:spAutoFit/>
          </a:bodyPr>
          <a:lstStyle/>
          <a:p>
            <a:r>
              <a:rPr lang="en-GB" sz="1600" u="sng" dirty="0">
                <a:latin typeface="Arial" panose="020B0604020202020204" pitchFamily="34" charset="0"/>
                <a:cs typeface="Arial" panose="020B0604020202020204" pitchFamily="34" charset="0"/>
              </a:rPr>
              <a:t>Key: Parties active for 1st </a:t>
            </a:r>
            <a:r>
              <a:rPr lang="en-GB" sz="1600" u="sng" dirty="0" err="1">
                <a:latin typeface="Arial" panose="020B0604020202020204" pitchFamily="34" charset="0"/>
                <a:cs typeface="Arial" panose="020B0604020202020204" pitchFamily="34" charset="0"/>
              </a:rPr>
              <a:t>go-live</a:t>
            </a:r>
            <a:r>
              <a:rPr lang="en-GB" sz="1600" u="sng" dirty="0">
                <a:latin typeface="Arial" panose="020B0604020202020204" pitchFamily="34" charset="0"/>
                <a:cs typeface="Arial" panose="020B0604020202020204" pitchFamily="34" charset="0"/>
              </a:rPr>
              <a:t> </a:t>
            </a:r>
          </a:p>
        </p:txBody>
      </p:sp>
      <p:pic>
        <p:nvPicPr>
          <p:cNvPr id="84" name="Image 83"/>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5822049" y="4864974"/>
            <a:ext cx="278831" cy="278831"/>
          </a:xfrm>
          <a:prstGeom prst="rect">
            <a:avLst/>
          </a:prstGeom>
        </p:spPr>
      </p:pic>
      <p:sp>
        <p:nvSpPr>
          <p:cNvPr id="85" name="Foliennummernplatzhalter 2"/>
          <p:cNvSpPr>
            <a:spLocks noGrp="1"/>
          </p:cNvSpPr>
          <p:nvPr>
            <p:ph type="sldNum" sz="quarter" idx="11"/>
          </p:nvPr>
        </p:nvSpPr>
        <p:spPr>
          <a:xfrm>
            <a:off x="5657850" y="6524625"/>
            <a:ext cx="571500" cy="246221"/>
          </a:xfrm>
        </p:spPr>
        <p:txBody>
          <a:bodyPr/>
          <a:lstStyle/>
          <a:p>
            <a:fld id="{AD89DE65-C7D9-40CE-B96E-B8C3E7B233C5}" type="slidenum">
              <a:rPr lang="de-DE" smtClean="0"/>
              <a:pPr/>
              <a:t>16</a:t>
            </a:fld>
            <a:endParaRPr lang="de-DE" dirty="0"/>
          </a:p>
        </p:txBody>
      </p:sp>
    </p:spTree>
    <p:extLst>
      <p:ext uri="{BB962C8B-B14F-4D97-AF65-F5344CB8AC3E}">
        <p14:creationId xmlns:p14="http://schemas.microsoft.com/office/powerpoint/2010/main" val="156977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1:20-12:00</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ea typeface="Times New Roman"/>
                <a:cs typeface="Arial"/>
              </a:rPr>
              <a:t>Key note speech </a:t>
            </a:r>
            <a:endParaRPr lang="en-GB" sz="2000" kern="0" dirty="0" smtClean="0">
              <a:ea typeface="Times New Roman"/>
              <a:cs typeface="Times New Roman"/>
            </a:endParaRPr>
          </a:p>
          <a:p>
            <a:r>
              <a:rPr lang="en-GB" sz="2000" dirty="0" smtClean="0">
                <a:solidFill>
                  <a:srgbClr val="000000"/>
                </a:solidFill>
                <a:ea typeface="Times New Roman"/>
              </a:rPr>
              <a:t>Overview of XBID Project</a:t>
            </a:r>
          </a:p>
          <a:p>
            <a:r>
              <a:rPr lang="en-GB" sz="2000" dirty="0" smtClean="0">
                <a:solidFill>
                  <a:schemeClr val="accent2"/>
                </a:solidFill>
                <a:ea typeface="Times New Roman"/>
              </a:rPr>
              <a:t>The XBID matching solution</a:t>
            </a:r>
          </a:p>
          <a:p>
            <a:r>
              <a:rPr lang="en-GB" sz="2000" dirty="0" smtClean="0">
                <a:solidFill>
                  <a:srgbClr val="000000"/>
                </a:solidFill>
                <a:ea typeface="Times New Roman"/>
              </a:rPr>
              <a:t>Overview of borders, market areas &amp; products</a:t>
            </a:r>
          </a:p>
          <a:p>
            <a:r>
              <a:rPr lang="en-GB" sz="2000" kern="0" dirty="0" smtClean="0">
                <a:solidFill>
                  <a:srgbClr val="000000"/>
                </a:solidFill>
                <a:ea typeface="Times New Roman"/>
                <a:cs typeface="Times New Roman"/>
              </a:rPr>
              <a:t>Relevant information for market parties from LIPs</a:t>
            </a:r>
            <a:r>
              <a:rPr lang="en-GB" sz="2000" kern="0" dirty="0" smtClean="0">
                <a:solidFill>
                  <a:srgbClr val="000000"/>
                </a:solidFill>
                <a:ea typeface="Times New Roman"/>
                <a:cs typeface="Arial"/>
              </a:rPr>
              <a:t> </a:t>
            </a:r>
            <a:r>
              <a:rPr lang="en-GB" sz="2000" dirty="0" smtClean="0">
                <a:solidFill>
                  <a:srgbClr val="000000"/>
                </a:solidFill>
                <a:ea typeface="Times New Roman"/>
              </a:rPr>
              <a:t> </a:t>
            </a:r>
          </a:p>
          <a:p>
            <a:r>
              <a:rPr lang="en-US" sz="2000" kern="0" dirty="0">
                <a:solidFill>
                  <a:srgbClr val="000000"/>
                </a:solidFill>
                <a:ea typeface="Times New Roman"/>
                <a:cs typeface="Times New Roman"/>
              </a:rPr>
              <a:t>Explicit access on French-German border </a:t>
            </a:r>
            <a:endParaRPr lang="en-US" sz="2000" kern="0" dirty="0" smtClean="0">
              <a:solidFill>
                <a:srgbClr val="000000"/>
              </a:solidFill>
              <a:ea typeface="Times New Roman"/>
              <a:cs typeface="Times New Roman"/>
            </a:endParaRPr>
          </a:p>
          <a:p>
            <a:r>
              <a:rPr lang="en-GB" sz="2000" kern="0" dirty="0" smtClean="0">
                <a:solidFill>
                  <a:srgbClr val="000000"/>
                </a:solidFill>
                <a:ea typeface="Times New Roman"/>
                <a:cs typeface="Times New Roman"/>
              </a:rPr>
              <a:t>NRA overview</a:t>
            </a:r>
          </a:p>
          <a:p>
            <a:r>
              <a:rPr lang="en-GB" sz="2000" kern="0" dirty="0" smtClean="0">
                <a:solidFill>
                  <a:srgbClr val="000000"/>
                </a:solidFill>
                <a:ea typeface="Times New Roman"/>
                <a:cs typeface="Times New Roman"/>
              </a:rPr>
              <a:t>Deutsche </a:t>
            </a:r>
            <a:r>
              <a:rPr lang="en-GB" sz="2000" kern="0" dirty="0" err="1" smtClean="0">
                <a:solidFill>
                  <a:srgbClr val="000000"/>
                </a:solidFill>
                <a:ea typeface="Times New Roman"/>
                <a:cs typeface="Times New Roman"/>
              </a:rPr>
              <a:t>Börse</a:t>
            </a:r>
            <a:r>
              <a:rPr lang="en-GB" sz="2000" kern="0" dirty="0" smtClean="0">
                <a:solidFill>
                  <a:srgbClr val="000000"/>
                </a:solidFill>
                <a:ea typeface="Times New Roman"/>
                <a:cs typeface="Times New Roman"/>
              </a:rPr>
              <a:t>’ trading solution provider </a:t>
            </a:r>
            <a:r>
              <a:rPr lang="en-GB" sz="2000" kern="0" dirty="0" smtClean="0">
                <a:solidFill>
                  <a:srgbClr val="000000"/>
                </a:solidFill>
                <a:ea typeface="Times New Roman"/>
                <a:cs typeface="Arial"/>
              </a:rPr>
              <a:t> </a:t>
            </a:r>
            <a:endParaRPr lang="en-GB" sz="2000" kern="0" dirty="0" smtClean="0">
              <a:solidFill>
                <a:srgbClr val="000000"/>
              </a:solidFill>
              <a:ea typeface="Times New Roman"/>
              <a:cs typeface="Times New Roman"/>
            </a:endParaRPr>
          </a:p>
          <a:p>
            <a:r>
              <a:rPr lang="en-GB" sz="2000" dirty="0" smtClean="0">
                <a:solidFill>
                  <a:srgbClr val="000000"/>
                </a:solidFill>
                <a:ea typeface="Times New Roman"/>
              </a:rPr>
              <a:t>Members trial period, </a:t>
            </a:r>
            <a:r>
              <a:rPr lang="en-GB" sz="2000" dirty="0" err="1" smtClean="0">
                <a:solidFill>
                  <a:srgbClr val="000000"/>
                </a:solidFill>
                <a:ea typeface="Times New Roman"/>
              </a:rPr>
              <a:t>go-live</a:t>
            </a:r>
            <a:r>
              <a:rPr lang="en-GB" sz="2000" dirty="0" smtClean="0">
                <a:solidFill>
                  <a:srgbClr val="000000"/>
                </a:solidFill>
                <a:ea typeface="Times New Roman"/>
              </a:rPr>
              <a:t> plan and next steps for readiness</a:t>
            </a:r>
          </a:p>
          <a:p>
            <a:r>
              <a:rPr lang="en-GB" sz="2000" kern="0" dirty="0" smtClean="0">
                <a:solidFill>
                  <a:srgbClr val="000000"/>
                </a:solidFill>
                <a:ea typeface="Times New Roman"/>
                <a:cs typeface="Arial"/>
              </a:rPr>
              <a:t>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17</a:t>
            </a:fld>
            <a:endParaRPr lang="en-US" altLang="en-US" dirty="0"/>
          </a:p>
        </p:txBody>
      </p:sp>
    </p:spTree>
    <p:extLst>
      <p:ext uri="{BB962C8B-B14F-4D97-AF65-F5344CB8AC3E}">
        <p14:creationId xmlns:p14="http://schemas.microsoft.com/office/powerpoint/2010/main" val="6369562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solidFill>
                  <a:schemeClr val="accent1"/>
                </a:solidFill>
              </a:rPr>
              <a:t>The </a:t>
            </a:r>
            <a:r>
              <a:rPr lang="en-US" dirty="0">
                <a:solidFill>
                  <a:schemeClr val="accent1"/>
                </a:solidFill>
              </a:rPr>
              <a:t>XBID matching solution</a:t>
            </a:r>
            <a:endParaRPr lang="en-GB" dirty="0">
              <a:solidFill>
                <a:schemeClr val="accent1"/>
              </a:solidFill>
            </a:endParaRPr>
          </a:p>
        </p:txBody>
      </p:sp>
      <p:sp>
        <p:nvSpPr>
          <p:cNvPr id="5" name="Textplatzhalter 4"/>
          <p:cNvSpPr>
            <a:spLocks noGrp="1"/>
          </p:cNvSpPr>
          <p:nvPr>
            <p:ph type="body" sz="quarter" idx="15"/>
          </p:nvPr>
        </p:nvSpPr>
        <p:spPr>
          <a:xfrm>
            <a:off x="2255839" y="2928611"/>
            <a:ext cx="6329361" cy="315570"/>
          </a:xfrm>
        </p:spPr>
        <p:txBody>
          <a:bodyPr/>
          <a:lstStyle/>
          <a:p>
            <a:r>
              <a:rPr lang="en-GB" dirty="0"/>
              <a:t>Carlos </a:t>
            </a:r>
            <a:r>
              <a:rPr lang="en-GB" dirty="0" err="1"/>
              <a:t>Albendin</a:t>
            </a:r>
            <a:endParaRPr lang="en-GB" dirty="0"/>
          </a:p>
        </p:txBody>
      </p:sp>
      <p:sp>
        <p:nvSpPr>
          <p:cNvPr id="6" name="Textplatzhalter 5"/>
          <p:cNvSpPr>
            <a:spLocks noGrp="1"/>
          </p:cNvSpPr>
          <p:nvPr>
            <p:ph type="body" sz="quarter" idx="16"/>
          </p:nvPr>
        </p:nvSpPr>
        <p:spPr>
          <a:xfrm>
            <a:off x="2255839" y="3315447"/>
            <a:ext cx="6329361" cy="315570"/>
          </a:xfrm>
        </p:spPr>
        <p:txBody>
          <a:bodyPr/>
          <a:lstStyle/>
          <a:p>
            <a:r>
              <a:rPr lang="en-GB" dirty="0" smtClean="0"/>
              <a:t>OMIE</a:t>
            </a:r>
            <a:endParaRPr lang="en-GB" dirty="0"/>
          </a:p>
        </p:txBody>
      </p:sp>
    </p:spTree>
    <p:extLst>
      <p:ext uri="{BB962C8B-B14F-4D97-AF65-F5344CB8AC3E}">
        <p14:creationId xmlns:p14="http://schemas.microsoft.com/office/powerpoint/2010/main" val="41718914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XBID - Trading Solution</a:t>
            </a:r>
            <a:endParaRPr lang="en-GB" dirty="0"/>
          </a:p>
        </p:txBody>
      </p:sp>
      <p:sp>
        <p:nvSpPr>
          <p:cNvPr id="3" name="Foliennummernplatzhalter 2"/>
          <p:cNvSpPr>
            <a:spLocks noGrp="1"/>
          </p:cNvSpPr>
          <p:nvPr>
            <p:ph type="sldNum" sz="quarter" idx="11"/>
          </p:nvPr>
        </p:nvSpPr>
        <p:spPr/>
        <p:txBody>
          <a:bodyPr/>
          <a:lstStyle/>
          <a:p>
            <a:fld id="{AD89DE65-C7D9-40CE-B96E-B8C3E7B233C5}" type="slidenum">
              <a:rPr lang="de-DE" smtClean="0"/>
              <a:pPr/>
              <a:t>19</a:t>
            </a:fld>
            <a:endParaRPr lang="de-DE" dirty="0"/>
          </a:p>
        </p:txBody>
      </p:sp>
      <p:sp>
        <p:nvSpPr>
          <p:cNvPr id="4" name="Textplatzhalter 3"/>
          <p:cNvSpPr>
            <a:spLocks noGrp="1"/>
          </p:cNvSpPr>
          <p:nvPr>
            <p:ph type="body" sz="quarter" idx="13"/>
          </p:nvPr>
        </p:nvSpPr>
        <p:spPr>
          <a:xfrm>
            <a:off x="618259" y="1426866"/>
            <a:ext cx="8187989" cy="4990409"/>
          </a:xfrm>
          <a:ln>
            <a:solidFill>
              <a:schemeClr val="tx2"/>
            </a:solidFill>
          </a:ln>
        </p:spPr>
        <p:txBody>
          <a:bodyPr lIns="72000" tIns="72000" rIns="72000" bIns="72000">
            <a:normAutofit fontScale="85000" lnSpcReduction="20000"/>
          </a:bodyPr>
          <a:lstStyle/>
          <a:p>
            <a:pPr marL="0" indent="0" algn="just">
              <a:buNone/>
            </a:pPr>
            <a:r>
              <a:rPr lang="en-US" b="1" dirty="0">
                <a:solidFill>
                  <a:schemeClr val="accent1"/>
                </a:solidFill>
              </a:rPr>
              <a:t>The XBID system </a:t>
            </a:r>
            <a:r>
              <a:rPr lang="en-US" dirty="0"/>
              <a:t>is a trading solution designed to enable power exchanges to trade energy contracts seamlessly across different geographies in a transparent, efficient. It aims at creating an integrated matching platform based on the shared order book concept of trading module (SOB), the Capacity Management Module (CMM) and the Shipping Module (SM). The combined entity allows multiple exchanges in different geographies to trade cross border energy contracts continuously on a 24 by 7 basis on </a:t>
            </a:r>
            <a:r>
              <a:rPr lang="en-GB" dirty="0"/>
              <a:t>a centralised </a:t>
            </a:r>
            <a:r>
              <a:rPr lang="en-US" dirty="0"/>
              <a:t>platform.</a:t>
            </a:r>
          </a:p>
          <a:p>
            <a:pPr marL="0" indent="0" algn="just">
              <a:buNone/>
            </a:pPr>
            <a:endParaRPr lang="en-US" dirty="0">
              <a:solidFill>
                <a:schemeClr val="accent1"/>
              </a:solidFill>
            </a:endParaRPr>
          </a:p>
          <a:p>
            <a:pPr marL="0" indent="0">
              <a:buNone/>
            </a:pPr>
            <a:r>
              <a:rPr lang="en-US" b="1" u="sng" dirty="0" smtClean="0">
                <a:solidFill>
                  <a:schemeClr val="accent1"/>
                </a:solidFill>
              </a:rPr>
              <a:t>The trading Module (SOB) </a:t>
            </a:r>
            <a:r>
              <a:rPr lang="en-US" dirty="0" smtClean="0"/>
              <a:t>is </a:t>
            </a:r>
            <a:r>
              <a:rPr lang="en-US" dirty="0"/>
              <a:t>a commodity trading system catering to the requirements of the energy markets. The trading system is designed to offer trading services to the members continuously. It supports a wide range of energy products and contract types. </a:t>
            </a:r>
          </a:p>
          <a:p>
            <a:pPr marL="0" indent="0" algn="just">
              <a:buNone/>
            </a:pPr>
            <a:endParaRPr lang="en-US" dirty="0"/>
          </a:p>
          <a:p>
            <a:pPr marL="0" indent="0">
              <a:buNone/>
            </a:pPr>
            <a:r>
              <a:rPr lang="en-US" b="1" u="sng" dirty="0" smtClean="0">
                <a:solidFill>
                  <a:schemeClr val="accent1"/>
                </a:solidFill>
              </a:rPr>
              <a:t>The Capacity </a:t>
            </a:r>
            <a:r>
              <a:rPr lang="en-US" b="1" u="sng" dirty="0">
                <a:solidFill>
                  <a:schemeClr val="accent1"/>
                </a:solidFill>
              </a:rPr>
              <a:t>Management </a:t>
            </a:r>
            <a:r>
              <a:rPr lang="en-US" b="1" u="sng" dirty="0" smtClean="0">
                <a:solidFill>
                  <a:schemeClr val="accent1"/>
                </a:solidFill>
              </a:rPr>
              <a:t>Module (CMM)</a:t>
            </a:r>
            <a:r>
              <a:rPr lang="en-US" dirty="0" smtClean="0"/>
              <a:t> </a:t>
            </a:r>
            <a:r>
              <a:rPr lang="en-US" dirty="0"/>
              <a:t>refers to a capacity allocation module which offers the ability to allocate cross border capacity to users continuously. CMM offers both explicit (standalone capacity requests by user entities) as well as implicit (triggered by trades generated in SOB) allocation. </a:t>
            </a:r>
          </a:p>
          <a:p>
            <a:pPr marL="0" indent="0" algn="just">
              <a:buNone/>
            </a:pPr>
            <a:endParaRPr lang="en-US" dirty="0"/>
          </a:p>
          <a:p>
            <a:pPr marL="0" indent="0">
              <a:buNone/>
            </a:pPr>
            <a:r>
              <a:rPr lang="en-US" b="1" u="sng" dirty="0" smtClean="0">
                <a:solidFill>
                  <a:schemeClr val="accent1"/>
                </a:solidFill>
              </a:rPr>
              <a:t>The Shipping Module (SM) </a:t>
            </a:r>
            <a:r>
              <a:rPr lang="en-US" dirty="0" smtClean="0"/>
              <a:t>of </a:t>
            </a:r>
            <a:r>
              <a:rPr lang="en-US" dirty="0"/>
              <a:t>the XBID Solution provides information from trades concluded within XBID to all relevant parties of the post-coupling process. The SM receives data from the SOB about all trades concluded:</a:t>
            </a:r>
          </a:p>
          <a:p>
            <a:pPr algn="just"/>
            <a:r>
              <a:rPr lang="en-US" dirty="0"/>
              <a:t>Between two different Delivery Areas (DA)</a:t>
            </a:r>
          </a:p>
          <a:p>
            <a:pPr algn="just"/>
            <a:r>
              <a:rPr lang="en-US" dirty="0"/>
              <a:t>In the same DA between two different Exchange Members</a:t>
            </a:r>
          </a:p>
          <a:p>
            <a:pPr marL="0" indent="0" algn="just">
              <a:buNone/>
            </a:pPr>
            <a:r>
              <a:rPr lang="en-US" dirty="0"/>
              <a:t>The data from the SOB and the CMM are enhanced with relevant TSO, CCP and Shipping Agent data from the SM and transferred to the parties at the configured moments.</a:t>
            </a:r>
          </a:p>
          <a:p>
            <a:pPr marL="0" indent="0" algn="just">
              <a:buNone/>
            </a:pPr>
            <a:endParaRPr lang="en-US" dirty="0"/>
          </a:p>
          <a:p>
            <a:pPr marL="0" indent="0" algn="just">
              <a:buNone/>
            </a:pPr>
            <a:endParaRPr lang="en-US" dirty="0"/>
          </a:p>
          <a:p>
            <a:pPr marL="0" indent="0" algn="just">
              <a:buNone/>
            </a:pPr>
            <a:endParaRPr lang="en-US" dirty="0"/>
          </a:p>
          <a:p>
            <a:pPr marL="0" indent="0" algn="just">
              <a:buNone/>
            </a:pPr>
            <a:endParaRPr lang="en-US" dirty="0"/>
          </a:p>
          <a:p>
            <a:pPr marL="0" indent="0" algn="just">
              <a:buNone/>
            </a:pPr>
            <a:endParaRPr lang="en-US" dirty="0"/>
          </a:p>
          <a:p>
            <a:pPr marL="0" indent="0">
              <a:buNone/>
            </a:pPr>
            <a:endParaRPr lang="en-GB" dirty="0"/>
          </a:p>
          <a:p>
            <a:endParaRPr lang="en-GB" dirty="0"/>
          </a:p>
        </p:txBody>
      </p:sp>
    </p:spTree>
    <p:extLst>
      <p:ext uri="{BB962C8B-B14F-4D97-AF65-F5344CB8AC3E}">
        <p14:creationId xmlns:p14="http://schemas.microsoft.com/office/powerpoint/2010/main" val="31373819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09550" y="188259"/>
            <a:ext cx="1043829" cy="1147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a:xfrm>
            <a:off x="2238586" y="2322663"/>
            <a:ext cx="6329361" cy="809625"/>
          </a:xfrm>
        </p:spPr>
        <p:txBody>
          <a:bodyPr/>
          <a:lstStyle/>
          <a:p>
            <a:r>
              <a:rPr lang="en-US" dirty="0" smtClean="0"/>
              <a:t>Welcome to the</a:t>
            </a:r>
            <a:br>
              <a:rPr lang="en-US" dirty="0" smtClean="0"/>
            </a:br>
            <a:r>
              <a:rPr lang="en-US" dirty="0"/>
              <a:t/>
            </a:r>
            <a:br>
              <a:rPr lang="en-US" dirty="0"/>
            </a:br>
            <a:r>
              <a:rPr lang="en-US" dirty="0" smtClean="0"/>
              <a:t>Cross </a:t>
            </a:r>
            <a:r>
              <a:rPr lang="en-US" dirty="0"/>
              <a:t>Border Intraday (XBID) Trading Solution Pre-launch Event </a:t>
            </a:r>
            <a:endParaRPr lang="en-GB" dirty="0"/>
          </a:p>
        </p:txBody>
      </p:sp>
      <p:sp>
        <p:nvSpPr>
          <p:cNvPr id="6" name="Text Placeholder 5"/>
          <p:cNvSpPr>
            <a:spLocks noGrp="1"/>
          </p:cNvSpPr>
          <p:nvPr>
            <p:ph type="body" sz="quarter" idx="14"/>
          </p:nvPr>
        </p:nvSpPr>
        <p:spPr/>
        <p:txBody>
          <a:bodyPr/>
          <a:lstStyle/>
          <a:p>
            <a:r>
              <a:rPr lang="en-GB" dirty="0" smtClean="0"/>
              <a:t>Jean Verseille and Stefano Alaimo</a:t>
            </a:r>
          </a:p>
          <a:p>
            <a:r>
              <a:rPr lang="en-GB" dirty="0" smtClean="0"/>
              <a:t>Co-chairs of the Intraday Steering Committee</a:t>
            </a:r>
            <a:endParaRPr lang="en-GB" dirty="0"/>
          </a:p>
        </p:txBody>
      </p:sp>
    </p:spTree>
    <p:extLst>
      <p:ext uri="{BB962C8B-B14F-4D97-AF65-F5344CB8AC3E}">
        <p14:creationId xmlns:p14="http://schemas.microsoft.com/office/powerpoint/2010/main" val="1487837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nl-NL" dirty="0" smtClean="0"/>
              <a:t>XBID – High Level </a:t>
            </a:r>
            <a:r>
              <a:rPr lang="nl-NL" dirty="0"/>
              <a:t>Architecture</a:t>
            </a:r>
            <a:endParaRPr lang="es-ES"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20</a:t>
            </a:fld>
            <a:endParaRPr lang="de-DE" dirty="0"/>
          </a:p>
        </p:txBody>
      </p:sp>
      <p:sp>
        <p:nvSpPr>
          <p:cNvPr id="5" name="Rechthoek 13"/>
          <p:cNvSpPr/>
          <p:nvPr/>
        </p:nvSpPr>
        <p:spPr>
          <a:xfrm>
            <a:off x="5447125" y="1628800"/>
            <a:ext cx="1224136" cy="936104"/>
          </a:xfrm>
          <a:prstGeom prst="rect">
            <a:avLst/>
          </a:prstGeom>
          <a:solidFill>
            <a:schemeClr val="accent1">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a:t>
            </a:r>
          </a:p>
        </p:txBody>
      </p:sp>
      <p:sp>
        <p:nvSpPr>
          <p:cNvPr id="6" name="Rechthoek 12"/>
          <p:cNvSpPr/>
          <p:nvPr/>
        </p:nvSpPr>
        <p:spPr>
          <a:xfrm>
            <a:off x="5447125" y="4797152"/>
            <a:ext cx="1224136" cy="936104"/>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CCP System</a:t>
            </a:r>
          </a:p>
        </p:txBody>
      </p:sp>
      <p:sp>
        <p:nvSpPr>
          <p:cNvPr id="7" name="Rechthoek 11"/>
          <p:cNvSpPr/>
          <p:nvPr/>
        </p:nvSpPr>
        <p:spPr>
          <a:xfrm>
            <a:off x="5447125" y="3212976"/>
            <a:ext cx="1224136" cy="936104"/>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err="1"/>
              <a:t>Shipping</a:t>
            </a:r>
            <a:r>
              <a:rPr lang="nl-NL" dirty="0"/>
              <a:t> System</a:t>
            </a:r>
          </a:p>
        </p:txBody>
      </p:sp>
      <p:sp>
        <p:nvSpPr>
          <p:cNvPr id="8" name="Rechthoek 9"/>
          <p:cNvSpPr/>
          <p:nvPr/>
        </p:nvSpPr>
        <p:spPr>
          <a:xfrm>
            <a:off x="1558693" y="3212976"/>
            <a:ext cx="1224136" cy="936104"/>
          </a:xfrm>
          <a:prstGeom prst="rect">
            <a:avLst/>
          </a:prstGeom>
          <a:solidFill>
            <a:srgbClr val="68ADE6"/>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TS</a:t>
            </a:r>
          </a:p>
        </p:txBody>
      </p:sp>
      <p:sp>
        <p:nvSpPr>
          <p:cNvPr id="9" name="Rechthoek 3"/>
          <p:cNvSpPr/>
          <p:nvPr/>
        </p:nvSpPr>
        <p:spPr>
          <a:xfrm>
            <a:off x="1414677" y="1772816"/>
            <a:ext cx="1224136" cy="936104"/>
          </a:xfrm>
          <a:prstGeom prst="rect">
            <a:avLst/>
          </a:prstGeom>
          <a:solidFill>
            <a:schemeClr val="accent2">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XBID</a:t>
            </a:r>
          </a:p>
          <a:p>
            <a:pPr algn="ctr"/>
            <a:r>
              <a:rPr lang="nl-NL" sz="900" b="1" dirty="0"/>
              <a:t>SOB-CMM-SM</a:t>
            </a:r>
          </a:p>
        </p:txBody>
      </p:sp>
      <p:sp>
        <p:nvSpPr>
          <p:cNvPr id="10" name="Rechthoek 4"/>
          <p:cNvSpPr/>
          <p:nvPr/>
        </p:nvSpPr>
        <p:spPr>
          <a:xfrm>
            <a:off x="1414677" y="3356992"/>
            <a:ext cx="1224136" cy="936104"/>
          </a:xfrm>
          <a:prstGeom prst="rect">
            <a:avLst/>
          </a:prstGeom>
          <a:solidFill>
            <a:srgbClr val="73D1DB"/>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solidFill>
                  <a:schemeClr val="tx1"/>
                </a:solidFill>
              </a:rPr>
              <a:t>Trading Solution</a:t>
            </a:r>
          </a:p>
        </p:txBody>
      </p:sp>
      <p:sp>
        <p:nvSpPr>
          <p:cNvPr id="11" name="Rechthoek 5"/>
          <p:cNvSpPr/>
          <p:nvPr/>
        </p:nvSpPr>
        <p:spPr>
          <a:xfrm>
            <a:off x="5303109" y="3356992"/>
            <a:ext cx="1224136" cy="936104"/>
          </a:xfrm>
          <a:prstGeom prst="rect">
            <a:avLst/>
          </a:prstGeom>
          <a:solidFill>
            <a:schemeClr val="accent3">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err="1"/>
              <a:t>Shipping</a:t>
            </a:r>
            <a:r>
              <a:rPr lang="nl-NL" dirty="0"/>
              <a:t> System</a:t>
            </a:r>
          </a:p>
        </p:txBody>
      </p:sp>
      <p:sp>
        <p:nvSpPr>
          <p:cNvPr id="12" name="Rechthoek 6"/>
          <p:cNvSpPr/>
          <p:nvPr/>
        </p:nvSpPr>
        <p:spPr>
          <a:xfrm>
            <a:off x="5303109" y="4941168"/>
            <a:ext cx="1224136" cy="936104"/>
          </a:xfrm>
          <a:prstGeom prst="rect">
            <a:avLst/>
          </a:prstGeom>
          <a:solidFill>
            <a:srgbClr val="FF3399"/>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CCP System</a:t>
            </a:r>
          </a:p>
        </p:txBody>
      </p:sp>
      <p:sp>
        <p:nvSpPr>
          <p:cNvPr id="13" name="Rechthoek 7"/>
          <p:cNvSpPr/>
          <p:nvPr/>
        </p:nvSpPr>
        <p:spPr>
          <a:xfrm>
            <a:off x="5303109" y="1772816"/>
            <a:ext cx="1224136" cy="93610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TSO</a:t>
            </a:r>
          </a:p>
          <a:p>
            <a:pPr algn="ctr"/>
            <a:r>
              <a:rPr lang="nl-NL" dirty="0"/>
              <a:t>Schedl./Nomin.</a:t>
            </a:r>
          </a:p>
        </p:txBody>
      </p:sp>
      <p:sp>
        <p:nvSpPr>
          <p:cNvPr id="14" name="Rechthoek 10"/>
          <p:cNvSpPr/>
          <p:nvPr/>
        </p:nvSpPr>
        <p:spPr>
          <a:xfrm>
            <a:off x="1558693" y="4797152"/>
            <a:ext cx="1224136" cy="936104"/>
          </a:xfrm>
          <a:prstGeom prst="rect">
            <a:avLst/>
          </a:prstGeom>
          <a:solidFill>
            <a:srgbClr val="92D05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t>Market Party</a:t>
            </a:r>
          </a:p>
        </p:txBody>
      </p:sp>
      <p:sp>
        <p:nvSpPr>
          <p:cNvPr id="15" name="Rechthoek 8"/>
          <p:cNvSpPr/>
          <p:nvPr/>
        </p:nvSpPr>
        <p:spPr>
          <a:xfrm>
            <a:off x="1414677" y="4941168"/>
            <a:ext cx="1224136" cy="936104"/>
          </a:xfrm>
          <a:prstGeom prst="rect">
            <a:avLst/>
          </a:prstGeom>
          <a:solidFill>
            <a:srgbClr val="C7EE4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l-NL" dirty="0">
                <a:solidFill>
                  <a:schemeClr val="tx1"/>
                </a:solidFill>
              </a:rPr>
              <a:t>Market Party</a:t>
            </a:r>
          </a:p>
        </p:txBody>
      </p:sp>
      <p:cxnSp>
        <p:nvCxnSpPr>
          <p:cNvPr id="16" name="Rechte verbindingslijn met pijl 15"/>
          <p:cNvCxnSpPr>
            <a:stCxn id="9" idx="2"/>
            <a:endCxn id="10" idx="0"/>
          </p:cNvCxnSpPr>
          <p:nvPr/>
        </p:nvCxnSpPr>
        <p:spPr>
          <a:xfrm>
            <a:off x="2026745" y="2708920"/>
            <a:ext cx="0" cy="6480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Rechte verbindingslijn met pijl 16"/>
          <p:cNvCxnSpPr>
            <a:stCxn id="10" idx="2"/>
            <a:endCxn id="15" idx="0"/>
          </p:cNvCxnSpPr>
          <p:nvPr/>
        </p:nvCxnSpPr>
        <p:spPr>
          <a:xfrm>
            <a:off x="2026745" y="4293096"/>
            <a:ext cx="0" cy="6480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Rechte verbindingslijn met pijl 20"/>
          <p:cNvCxnSpPr>
            <a:stCxn id="9" idx="3"/>
            <a:endCxn id="13" idx="1"/>
          </p:cNvCxnSpPr>
          <p:nvPr/>
        </p:nvCxnSpPr>
        <p:spPr>
          <a:xfrm>
            <a:off x="2638813" y="2240868"/>
            <a:ext cx="26642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9" name="Rechte verbindingslijn met pijl 22"/>
          <p:cNvCxnSpPr>
            <a:endCxn id="12" idx="1"/>
          </p:cNvCxnSpPr>
          <p:nvPr/>
        </p:nvCxnSpPr>
        <p:spPr>
          <a:xfrm>
            <a:off x="2638813" y="3861048"/>
            <a:ext cx="2664296" cy="15481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0" name="Rechte verbindingslijn met pijl 24"/>
          <p:cNvCxnSpPr>
            <a:stCxn id="12" idx="1"/>
            <a:endCxn id="15" idx="3"/>
          </p:cNvCxnSpPr>
          <p:nvPr/>
        </p:nvCxnSpPr>
        <p:spPr>
          <a:xfrm flipH="1">
            <a:off x="2638813" y="5409220"/>
            <a:ext cx="266429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1" name="Rechte verbindingslijn met pijl 26"/>
          <p:cNvCxnSpPr>
            <a:stCxn id="12" idx="0"/>
            <a:endCxn id="11" idx="2"/>
          </p:cNvCxnSpPr>
          <p:nvPr/>
        </p:nvCxnSpPr>
        <p:spPr>
          <a:xfrm flipV="1">
            <a:off x="5915177" y="4293096"/>
            <a:ext cx="0" cy="6480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2" name="Rechte verbindingslijn met pijl 28"/>
          <p:cNvCxnSpPr>
            <a:stCxn id="9" idx="3"/>
            <a:endCxn id="11" idx="1"/>
          </p:cNvCxnSpPr>
          <p:nvPr/>
        </p:nvCxnSpPr>
        <p:spPr>
          <a:xfrm>
            <a:off x="2638813" y="2240868"/>
            <a:ext cx="2664296" cy="158417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3" name="Rechte verbindingslijn met pijl 30"/>
          <p:cNvCxnSpPr>
            <a:stCxn id="11" idx="0"/>
            <a:endCxn id="13" idx="2"/>
          </p:cNvCxnSpPr>
          <p:nvPr/>
        </p:nvCxnSpPr>
        <p:spPr>
          <a:xfrm flipV="1">
            <a:off x="5915177" y="2708920"/>
            <a:ext cx="0" cy="64807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4" name="Gebogen verbindingslijn 32"/>
          <p:cNvCxnSpPr>
            <a:stCxn id="12" idx="3"/>
            <a:endCxn id="13" idx="3"/>
          </p:cNvCxnSpPr>
          <p:nvPr/>
        </p:nvCxnSpPr>
        <p:spPr>
          <a:xfrm flipV="1">
            <a:off x="6527245" y="2240868"/>
            <a:ext cx="12700" cy="3168352"/>
          </a:xfrm>
          <a:prstGeom prst="bentConnector3">
            <a:avLst>
              <a:gd name="adj1" fmla="val 3529732"/>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5" name="Gebogen verbindingslijn 35"/>
          <p:cNvCxnSpPr>
            <a:stCxn id="15" idx="2"/>
            <a:endCxn id="13" idx="0"/>
          </p:cNvCxnSpPr>
          <p:nvPr/>
        </p:nvCxnSpPr>
        <p:spPr>
          <a:xfrm rot="5400000" flipH="1" flipV="1">
            <a:off x="1918733" y="1880828"/>
            <a:ext cx="4104456" cy="3888432"/>
          </a:xfrm>
          <a:prstGeom prst="bentConnector5">
            <a:avLst>
              <a:gd name="adj1" fmla="val -5570"/>
              <a:gd name="adj2" fmla="val 139509"/>
              <a:gd name="adj3" fmla="val 105570"/>
            </a:avLst>
          </a:prstGeom>
          <a:ln>
            <a:tailEnd type="arrow"/>
          </a:ln>
        </p:spPr>
        <p:style>
          <a:lnRef idx="2">
            <a:schemeClr val="accent1"/>
          </a:lnRef>
          <a:fillRef idx="0">
            <a:schemeClr val="accent1"/>
          </a:fillRef>
          <a:effectRef idx="1">
            <a:schemeClr val="accent1"/>
          </a:effectRef>
          <a:fontRef idx="minor">
            <a:schemeClr val="tx1"/>
          </a:fontRef>
        </p:style>
      </p:cxnSp>
      <p:sp>
        <p:nvSpPr>
          <p:cNvPr id="26" name="Tekstvak 2"/>
          <p:cNvSpPr txBox="1"/>
          <p:nvPr/>
        </p:nvSpPr>
        <p:spPr>
          <a:xfrm>
            <a:off x="2998853" y="1743199"/>
            <a:ext cx="1788095" cy="461665"/>
          </a:xfrm>
          <a:prstGeom prst="rect">
            <a:avLst/>
          </a:prstGeom>
          <a:noFill/>
        </p:spPr>
        <p:txBody>
          <a:bodyPr wrap="none" rtlCol="0">
            <a:spAutoFit/>
          </a:bodyPr>
          <a:lstStyle/>
          <a:p>
            <a:r>
              <a:rPr lang="en-GB" sz="1200" dirty="0"/>
              <a:t>Scheduled exchanges,</a:t>
            </a:r>
          </a:p>
          <a:p>
            <a:r>
              <a:rPr lang="en-GB" sz="1200" dirty="0"/>
              <a:t>Implicit allocation results</a:t>
            </a:r>
          </a:p>
        </p:txBody>
      </p:sp>
      <p:sp>
        <p:nvSpPr>
          <p:cNvPr id="27" name="Tekstvak 29"/>
          <p:cNvSpPr txBox="1"/>
          <p:nvPr/>
        </p:nvSpPr>
        <p:spPr>
          <a:xfrm rot="1789613">
            <a:off x="3085809" y="2885413"/>
            <a:ext cx="2119491" cy="461665"/>
          </a:xfrm>
          <a:prstGeom prst="rect">
            <a:avLst/>
          </a:prstGeom>
          <a:noFill/>
        </p:spPr>
        <p:txBody>
          <a:bodyPr wrap="none" rtlCol="0">
            <a:spAutoFit/>
          </a:bodyPr>
          <a:lstStyle/>
          <a:p>
            <a:r>
              <a:rPr lang="en-GB" sz="1200" dirty="0"/>
              <a:t>Matching results, </a:t>
            </a:r>
          </a:p>
          <a:p>
            <a:r>
              <a:rPr lang="en-GB" sz="1200" dirty="0"/>
              <a:t>allocation path, net positions</a:t>
            </a:r>
          </a:p>
        </p:txBody>
      </p:sp>
      <p:sp>
        <p:nvSpPr>
          <p:cNvPr id="28" name="Tekstvak 31"/>
          <p:cNvSpPr txBox="1"/>
          <p:nvPr/>
        </p:nvSpPr>
        <p:spPr>
          <a:xfrm>
            <a:off x="1414677" y="2780928"/>
            <a:ext cx="1236236" cy="276999"/>
          </a:xfrm>
          <a:prstGeom prst="rect">
            <a:avLst/>
          </a:prstGeom>
          <a:noFill/>
        </p:spPr>
        <p:txBody>
          <a:bodyPr wrap="none" rtlCol="0">
            <a:spAutoFit/>
          </a:bodyPr>
          <a:lstStyle/>
          <a:p>
            <a:r>
              <a:rPr lang="en-GB" sz="1200" dirty="0"/>
              <a:t>Matching results</a:t>
            </a:r>
          </a:p>
        </p:txBody>
      </p:sp>
      <p:sp>
        <p:nvSpPr>
          <p:cNvPr id="29" name="Tekstvak 33"/>
          <p:cNvSpPr txBox="1"/>
          <p:nvPr/>
        </p:nvSpPr>
        <p:spPr>
          <a:xfrm>
            <a:off x="1979449" y="4453662"/>
            <a:ext cx="1385791" cy="276999"/>
          </a:xfrm>
          <a:prstGeom prst="rect">
            <a:avLst/>
          </a:prstGeom>
          <a:noFill/>
        </p:spPr>
        <p:txBody>
          <a:bodyPr wrap="none" rtlCol="0">
            <a:spAutoFit/>
          </a:bodyPr>
          <a:lstStyle/>
          <a:p>
            <a:r>
              <a:rPr lang="en-GB" sz="1200" dirty="0"/>
              <a:t>Trade confirmation</a:t>
            </a:r>
          </a:p>
        </p:txBody>
      </p:sp>
      <p:sp>
        <p:nvSpPr>
          <p:cNvPr id="30" name="Tekstvak 34"/>
          <p:cNvSpPr txBox="1"/>
          <p:nvPr/>
        </p:nvSpPr>
        <p:spPr>
          <a:xfrm rot="1776957">
            <a:off x="3214877" y="4221088"/>
            <a:ext cx="1236236" cy="276999"/>
          </a:xfrm>
          <a:prstGeom prst="rect">
            <a:avLst/>
          </a:prstGeom>
          <a:noFill/>
        </p:spPr>
        <p:txBody>
          <a:bodyPr wrap="none" rtlCol="0">
            <a:spAutoFit/>
          </a:bodyPr>
          <a:lstStyle/>
          <a:p>
            <a:r>
              <a:rPr lang="en-GB" sz="1200" dirty="0"/>
              <a:t>Matching results</a:t>
            </a:r>
          </a:p>
        </p:txBody>
      </p:sp>
      <p:sp>
        <p:nvSpPr>
          <p:cNvPr id="31" name="Tekstvak 36"/>
          <p:cNvSpPr txBox="1"/>
          <p:nvPr/>
        </p:nvSpPr>
        <p:spPr>
          <a:xfrm>
            <a:off x="3070861" y="5085184"/>
            <a:ext cx="979755" cy="276999"/>
          </a:xfrm>
          <a:prstGeom prst="rect">
            <a:avLst/>
          </a:prstGeom>
          <a:noFill/>
        </p:spPr>
        <p:txBody>
          <a:bodyPr wrap="none" rtlCol="0">
            <a:spAutoFit/>
          </a:bodyPr>
          <a:lstStyle/>
          <a:p>
            <a:r>
              <a:rPr lang="en-GB" sz="1200" dirty="0"/>
              <a:t>Transactions</a:t>
            </a:r>
          </a:p>
        </p:txBody>
      </p:sp>
      <p:sp>
        <p:nvSpPr>
          <p:cNvPr id="32" name="Tekstvak 42"/>
          <p:cNvSpPr txBox="1"/>
          <p:nvPr/>
        </p:nvSpPr>
        <p:spPr>
          <a:xfrm rot="5400000">
            <a:off x="6486604" y="3602265"/>
            <a:ext cx="1244443" cy="276999"/>
          </a:xfrm>
          <a:prstGeom prst="rect">
            <a:avLst/>
          </a:prstGeom>
          <a:noFill/>
        </p:spPr>
        <p:txBody>
          <a:bodyPr wrap="none" rtlCol="0">
            <a:spAutoFit/>
          </a:bodyPr>
          <a:lstStyle/>
          <a:p>
            <a:r>
              <a:rPr lang="en-GB" sz="1200" dirty="0"/>
              <a:t>Hub nomination</a:t>
            </a:r>
          </a:p>
        </p:txBody>
      </p:sp>
      <p:sp>
        <p:nvSpPr>
          <p:cNvPr id="33" name="Tekstvak 43"/>
          <p:cNvSpPr txBox="1"/>
          <p:nvPr/>
        </p:nvSpPr>
        <p:spPr>
          <a:xfrm rot="5400000">
            <a:off x="6841068" y="3613657"/>
            <a:ext cx="1521570" cy="276999"/>
          </a:xfrm>
          <a:prstGeom prst="rect">
            <a:avLst/>
          </a:prstGeom>
          <a:noFill/>
        </p:spPr>
        <p:txBody>
          <a:bodyPr wrap="none" rtlCol="0">
            <a:spAutoFit/>
          </a:bodyPr>
          <a:lstStyle/>
          <a:p>
            <a:r>
              <a:rPr lang="en-GB" sz="1200" dirty="0"/>
              <a:t>Hub nomination (**)</a:t>
            </a:r>
          </a:p>
        </p:txBody>
      </p:sp>
      <p:sp>
        <p:nvSpPr>
          <p:cNvPr id="34" name="Tekstvak 44"/>
          <p:cNvSpPr txBox="1"/>
          <p:nvPr/>
        </p:nvSpPr>
        <p:spPr>
          <a:xfrm>
            <a:off x="5049087" y="2839246"/>
            <a:ext cx="2007281" cy="276999"/>
          </a:xfrm>
          <a:prstGeom prst="rect">
            <a:avLst/>
          </a:prstGeom>
          <a:noFill/>
        </p:spPr>
        <p:txBody>
          <a:bodyPr wrap="none" rtlCol="0">
            <a:spAutoFit/>
          </a:bodyPr>
          <a:lstStyle/>
          <a:p>
            <a:r>
              <a:rPr lang="en-GB" sz="1200" dirty="0"/>
              <a:t>Hub nomination shipper (*)</a:t>
            </a:r>
          </a:p>
        </p:txBody>
      </p:sp>
      <p:sp>
        <p:nvSpPr>
          <p:cNvPr id="35" name="Tekstvak 45"/>
          <p:cNvSpPr txBox="1"/>
          <p:nvPr/>
        </p:nvSpPr>
        <p:spPr>
          <a:xfrm>
            <a:off x="4907256" y="4437112"/>
            <a:ext cx="1980029" cy="276999"/>
          </a:xfrm>
          <a:prstGeom prst="rect">
            <a:avLst/>
          </a:prstGeom>
          <a:noFill/>
        </p:spPr>
        <p:txBody>
          <a:bodyPr wrap="none" rtlCol="0">
            <a:spAutoFit/>
          </a:bodyPr>
          <a:lstStyle/>
          <a:p>
            <a:r>
              <a:rPr lang="en-GB" sz="1200" dirty="0"/>
              <a:t>Aggregated matching results</a:t>
            </a:r>
          </a:p>
        </p:txBody>
      </p:sp>
      <p:cxnSp>
        <p:nvCxnSpPr>
          <p:cNvPr id="36" name="Rechte verbindingslijn met pijl 28"/>
          <p:cNvCxnSpPr>
            <a:stCxn id="9" idx="3"/>
            <a:endCxn id="12" idx="1"/>
          </p:cNvCxnSpPr>
          <p:nvPr/>
        </p:nvCxnSpPr>
        <p:spPr>
          <a:xfrm>
            <a:off x="2638813" y="2240868"/>
            <a:ext cx="2664296" cy="316835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7" name="Tekstvak 29"/>
          <p:cNvSpPr txBox="1"/>
          <p:nvPr/>
        </p:nvSpPr>
        <p:spPr>
          <a:xfrm rot="3016294">
            <a:off x="3569909" y="3674485"/>
            <a:ext cx="994952" cy="276999"/>
          </a:xfrm>
          <a:prstGeom prst="rect">
            <a:avLst/>
          </a:prstGeom>
          <a:noFill/>
        </p:spPr>
        <p:txBody>
          <a:bodyPr wrap="none" rtlCol="0">
            <a:spAutoFit/>
          </a:bodyPr>
          <a:lstStyle/>
          <a:p>
            <a:r>
              <a:rPr lang="en-GB" sz="1200" dirty="0"/>
              <a:t>net positions</a:t>
            </a:r>
          </a:p>
        </p:txBody>
      </p:sp>
      <p:cxnSp>
        <p:nvCxnSpPr>
          <p:cNvPr id="38" name="Rechte verbindingslijn met pijl 16"/>
          <p:cNvCxnSpPr/>
          <p:nvPr/>
        </p:nvCxnSpPr>
        <p:spPr>
          <a:xfrm flipH="1" flipV="1">
            <a:off x="1818865" y="4284108"/>
            <a:ext cx="8704" cy="65706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0" name="Tekstvak 33"/>
          <p:cNvSpPr txBox="1"/>
          <p:nvPr/>
        </p:nvSpPr>
        <p:spPr>
          <a:xfrm>
            <a:off x="739522" y="4437111"/>
            <a:ext cx="979755" cy="276999"/>
          </a:xfrm>
          <a:prstGeom prst="rect">
            <a:avLst/>
          </a:prstGeom>
          <a:noFill/>
        </p:spPr>
        <p:txBody>
          <a:bodyPr wrap="none" rtlCol="0">
            <a:spAutoFit/>
          </a:bodyPr>
          <a:lstStyle/>
          <a:p>
            <a:r>
              <a:rPr lang="en-GB" sz="1200" dirty="0"/>
              <a:t>Order Entry</a:t>
            </a:r>
          </a:p>
        </p:txBody>
      </p:sp>
      <p:sp>
        <p:nvSpPr>
          <p:cNvPr id="4" name="CuadroTexto 3"/>
          <p:cNvSpPr txBox="1"/>
          <p:nvPr/>
        </p:nvSpPr>
        <p:spPr>
          <a:xfrm>
            <a:off x="686902" y="6389086"/>
            <a:ext cx="4191853" cy="246221"/>
          </a:xfrm>
          <a:prstGeom prst="rect">
            <a:avLst/>
          </a:prstGeom>
          <a:noFill/>
        </p:spPr>
        <p:txBody>
          <a:bodyPr wrap="none" lIns="0" tIns="0" rIns="0" bIns="0" rtlCol="0">
            <a:spAutoFit/>
          </a:bodyPr>
          <a:lstStyle/>
          <a:p>
            <a:r>
              <a:rPr lang="en-GB" sz="800" dirty="0" smtClean="0"/>
              <a:t>(*) XB nominations could be also needed in areas where nomination behalf is not applicable</a:t>
            </a:r>
          </a:p>
          <a:p>
            <a:r>
              <a:rPr lang="en-GB" sz="800" dirty="0" smtClean="0"/>
              <a:t>(**) According to local procedures (direct or indirect nominations)</a:t>
            </a:r>
            <a:endParaRPr lang="en-GB" sz="800" dirty="0"/>
          </a:p>
        </p:txBody>
      </p:sp>
    </p:spTree>
    <p:extLst>
      <p:ext uri="{BB962C8B-B14F-4D97-AF65-F5344CB8AC3E}">
        <p14:creationId xmlns:p14="http://schemas.microsoft.com/office/powerpoint/2010/main" val="36746936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XBID </a:t>
            </a:r>
            <a:r>
              <a:rPr lang="en-GB" dirty="0"/>
              <a:t>– Architecture</a:t>
            </a:r>
          </a:p>
        </p:txBody>
      </p:sp>
      <p:sp>
        <p:nvSpPr>
          <p:cNvPr id="4" name="Rectangle 4"/>
          <p:cNvSpPr/>
          <p:nvPr/>
        </p:nvSpPr>
        <p:spPr bwMode="auto">
          <a:xfrm>
            <a:off x="537607" y="1359678"/>
            <a:ext cx="5211624" cy="2568270"/>
          </a:xfrm>
          <a:prstGeom prst="rect">
            <a:avLst/>
          </a:prstGeom>
          <a:solidFill>
            <a:schemeClr val="accent2">
              <a:lumMod val="20000"/>
              <a:lumOff val="80000"/>
            </a:schemeClr>
          </a:solidFill>
          <a:ln w="6350" cap="flat" cmpd="sng" algn="ctr">
            <a:solidFill>
              <a:schemeClr val="accent2">
                <a:lumMod val="50000"/>
              </a:schemeClr>
            </a:solidFill>
            <a:prstDash val="solid"/>
            <a:round/>
            <a:headEnd type="none" w="med" len="med"/>
            <a:tailEnd type="none" w="med" len="med"/>
          </a:ln>
          <a:effectLst/>
          <a:extLst/>
        </p:spPr>
        <p:txBody>
          <a:bodyPr vert="horz" wrap="square" lIns="90487" tIns="72000" rIns="90487" bIns="44450" numCol="1" rtlCol="0" anchor="t" anchorCtr="0" compatLnSpc="1">
            <a:prstTxWarp prst="textNoShape">
              <a:avLst/>
            </a:prstTxWarp>
          </a:bodyPr>
          <a:lstStyle/>
          <a:p>
            <a:pPr algn="ctr"/>
            <a:r>
              <a:rPr lang="de-DE" sz="1600" b="1" dirty="0">
                <a:latin typeface="Arial" charset="0"/>
              </a:rPr>
              <a:t>SOB</a:t>
            </a:r>
          </a:p>
        </p:txBody>
      </p:sp>
      <p:sp>
        <p:nvSpPr>
          <p:cNvPr id="5" name="Rectangle 5"/>
          <p:cNvSpPr/>
          <p:nvPr/>
        </p:nvSpPr>
        <p:spPr bwMode="auto">
          <a:xfrm>
            <a:off x="537607" y="4149103"/>
            <a:ext cx="5211624" cy="2196042"/>
          </a:xfrm>
          <a:prstGeom prst="rect">
            <a:avLst/>
          </a:prstGeom>
          <a:solidFill>
            <a:schemeClr val="accent2">
              <a:lumMod val="20000"/>
              <a:lumOff val="80000"/>
            </a:schemeClr>
          </a:solidFill>
          <a:ln w="6350" cap="flat" cmpd="sng" algn="ctr">
            <a:solidFill>
              <a:schemeClr val="accent2">
                <a:lumMod val="50000"/>
              </a:schemeClr>
            </a:solidFill>
            <a:prstDash val="solid"/>
            <a:round/>
            <a:headEnd type="none" w="med" len="med"/>
            <a:tailEnd type="none" w="med" len="med"/>
          </a:ln>
          <a:effectLst/>
          <a:extLst/>
        </p:spPr>
        <p:txBody>
          <a:bodyPr vert="horz" wrap="square" lIns="90487" tIns="72000" rIns="90487" bIns="44450" numCol="1" rtlCol="0" anchor="t" anchorCtr="0" compatLnSpc="1">
            <a:prstTxWarp prst="textNoShape">
              <a:avLst/>
            </a:prstTxWarp>
          </a:bodyPr>
          <a:lstStyle/>
          <a:p>
            <a:pPr algn="ctr"/>
            <a:r>
              <a:rPr lang="de-DE" sz="1600" b="1" dirty="0" err="1">
                <a:latin typeface="Arial" charset="0"/>
              </a:rPr>
              <a:t>Capacity</a:t>
            </a:r>
            <a:r>
              <a:rPr lang="de-DE" sz="1600" b="1" dirty="0">
                <a:latin typeface="Arial" charset="0"/>
              </a:rPr>
              <a:t> Management Module</a:t>
            </a:r>
          </a:p>
        </p:txBody>
      </p:sp>
      <p:sp>
        <p:nvSpPr>
          <p:cNvPr id="8" name="Rounded Rectangle 8"/>
          <p:cNvSpPr/>
          <p:nvPr/>
        </p:nvSpPr>
        <p:spPr bwMode="auto">
          <a:xfrm>
            <a:off x="745421" y="1741339"/>
            <a:ext cx="2238579" cy="1002069"/>
          </a:xfrm>
          <a:prstGeom prst="roundRect">
            <a:avLst>
              <a:gd name="adj" fmla="val 6358"/>
            </a:avLst>
          </a:prstGeom>
          <a:solidFill>
            <a:schemeClr val="accent2">
              <a:lumMod val="40000"/>
              <a:lumOff val="60000"/>
            </a:schemeClr>
          </a:solidFill>
          <a:ln w="6350" cap="flat" cmpd="sng" algn="ctr">
            <a:solidFill>
              <a:schemeClr val="tx1"/>
            </a:solidFill>
            <a:prstDash val="solid"/>
            <a:round/>
            <a:headEnd type="none" w="med" len="med"/>
            <a:tailEnd type="none" w="med" len="med"/>
          </a:ln>
          <a:effectLst/>
          <a:extLst/>
        </p:spPr>
        <p:txBody>
          <a:bodyPr vert="horz" wrap="square" lIns="36000" tIns="36000" rIns="3600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rPr>
              <a:t>Matching</a:t>
            </a: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r>
              <a:rPr lang="en-US" sz="1400" dirty="0">
                <a:latin typeface="Arial" charset="0"/>
              </a:rPr>
              <a:t>Order Execution</a:t>
            </a:r>
          </a:p>
          <a:p>
            <a:pPr marL="171450" marR="0" indent="-171450"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400" b="1" i="0" u="none" strike="noStrike" cap="none" normalizeH="0" baseline="0" dirty="0">
              <a:ln>
                <a:noFill/>
              </a:ln>
              <a:solidFill>
                <a:schemeClr val="tx1"/>
              </a:solidFill>
              <a:effectLst/>
              <a:latin typeface="Arial" charset="0"/>
            </a:endParaRPr>
          </a:p>
        </p:txBody>
      </p:sp>
      <p:sp>
        <p:nvSpPr>
          <p:cNvPr id="9" name="Rectangle 9"/>
          <p:cNvSpPr/>
          <p:nvPr/>
        </p:nvSpPr>
        <p:spPr bwMode="auto">
          <a:xfrm>
            <a:off x="5817948" y="4161717"/>
            <a:ext cx="2634296" cy="2183427"/>
          </a:xfrm>
          <a:prstGeom prst="rect">
            <a:avLst/>
          </a:prstGeom>
          <a:solidFill>
            <a:schemeClr val="accent2">
              <a:lumMod val="60000"/>
              <a:lumOff val="40000"/>
            </a:schemeClr>
          </a:solidFill>
          <a:ln w="6350" cap="flat" cmpd="sng" algn="ctr">
            <a:noFill/>
            <a:prstDash val="solid"/>
            <a:round/>
            <a:headEnd type="none" w="med" len="med"/>
            <a:tailEnd type="none" w="med" len="med"/>
          </a:ln>
          <a:effectLst/>
          <a:extLst/>
        </p:spPr>
        <p:txBody>
          <a:bodyPr vert="horz" wrap="square" lIns="90487" tIns="108000" rIns="90487" bIns="44450" numCol="1" rtlCol="0" anchor="t" anchorCtr="0" compatLnSpc="1">
            <a:prstTxWarp prst="textNoShape">
              <a:avLst/>
            </a:prstTxWarp>
          </a:bodyPr>
          <a:lstStyle/>
          <a:p>
            <a:pPr algn="ctr"/>
            <a:r>
              <a:rPr lang="de-DE" sz="1600" b="1" dirty="0">
                <a:latin typeface="Arial" charset="0"/>
              </a:rPr>
              <a:t>Reporting Engine</a:t>
            </a:r>
          </a:p>
          <a:p>
            <a:pPr algn="ctr"/>
            <a:endParaRPr lang="de-DE" sz="1600" b="1" dirty="0">
              <a:latin typeface="Arial" charset="0"/>
            </a:endParaRPr>
          </a:p>
          <a:p>
            <a:pPr marL="171450" indent="-171450">
              <a:buFont typeface="Arial" pitchFamily="34" charset="0"/>
              <a:buChar char="•"/>
            </a:pPr>
            <a:r>
              <a:rPr lang="de-DE" sz="1600" dirty="0">
                <a:latin typeface="Arial" charset="0"/>
              </a:rPr>
              <a:t>Generate and distribute reports.</a:t>
            </a:r>
          </a:p>
          <a:p>
            <a:pPr marL="171450" indent="-171450">
              <a:buFont typeface="Arial" pitchFamily="34" charset="0"/>
              <a:buChar char="•"/>
            </a:pPr>
            <a:r>
              <a:rPr lang="de-DE" sz="1600" dirty="0">
                <a:latin typeface="Arial" charset="0"/>
              </a:rPr>
              <a:t>Runs independently from SOB and CMM modules.</a:t>
            </a:r>
          </a:p>
          <a:p>
            <a:pPr marL="171450" indent="-171450">
              <a:buFont typeface="Arial" pitchFamily="34" charset="0"/>
              <a:buChar char="•"/>
            </a:pPr>
            <a:r>
              <a:rPr lang="de-DE" sz="1600" dirty="0">
                <a:latin typeface="Arial" charset="0"/>
              </a:rPr>
              <a:t>Flexible report generation schedules.</a:t>
            </a:r>
          </a:p>
          <a:p>
            <a:endParaRPr lang="de-DE" sz="1600" b="1" dirty="0">
              <a:latin typeface="Arial" charset="0"/>
            </a:endParaRPr>
          </a:p>
        </p:txBody>
      </p:sp>
      <p:sp>
        <p:nvSpPr>
          <p:cNvPr id="10" name="Rectangle 10"/>
          <p:cNvSpPr/>
          <p:nvPr/>
        </p:nvSpPr>
        <p:spPr bwMode="auto">
          <a:xfrm>
            <a:off x="5817947" y="1359678"/>
            <a:ext cx="2634297" cy="2568269"/>
          </a:xfrm>
          <a:prstGeom prst="rect">
            <a:avLst/>
          </a:prstGeom>
          <a:solidFill>
            <a:schemeClr val="accent2">
              <a:lumMod val="60000"/>
              <a:lumOff val="40000"/>
            </a:schemeClr>
          </a:solidFill>
          <a:ln w="6350" cap="flat" cmpd="sng" algn="ctr">
            <a:noFill/>
            <a:prstDash val="solid"/>
            <a:round/>
            <a:headEnd type="none" w="med" len="med"/>
            <a:tailEnd type="none" w="med" len="med"/>
          </a:ln>
          <a:effectLst/>
          <a:extLst/>
        </p:spPr>
        <p:txBody>
          <a:bodyPr vert="horz" wrap="square" lIns="90487" tIns="108000" rIns="90487" bIns="44450" numCol="1" rtlCol="0" anchor="t" anchorCtr="0" compatLnSpc="1">
            <a:prstTxWarp prst="textNoShape">
              <a:avLst/>
            </a:prstTxWarp>
          </a:bodyPr>
          <a:lstStyle/>
          <a:p>
            <a:pPr algn="ctr"/>
            <a:r>
              <a:rPr lang="de-DE" sz="1600" b="1" dirty="0">
                <a:latin typeface="Arial" charset="0"/>
              </a:rPr>
              <a:t>Common Reference Data Module</a:t>
            </a:r>
          </a:p>
          <a:p>
            <a:pPr algn="ctr"/>
            <a:endParaRPr lang="de-DE" sz="1600" b="1" dirty="0">
              <a:latin typeface="Arial" charset="0"/>
            </a:endParaRPr>
          </a:p>
          <a:p>
            <a:pPr marL="171450" indent="-171450">
              <a:buFont typeface="Arial" pitchFamily="34" charset="0"/>
              <a:buChar char="•"/>
            </a:pPr>
            <a:r>
              <a:rPr lang="de-DE" sz="1600" dirty="0">
                <a:latin typeface="Arial" charset="0"/>
              </a:rPr>
              <a:t>Maintain reference data required for the XBID system.</a:t>
            </a:r>
          </a:p>
          <a:p>
            <a:pPr marL="171450" indent="-171450">
              <a:buFont typeface="Arial" pitchFamily="34" charset="0"/>
              <a:buChar char="•"/>
            </a:pPr>
            <a:r>
              <a:rPr lang="de-DE" sz="1600" dirty="0">
                <a:latin typeface="Arial" charset="0"/>
              </a:rPr>
              <a:t>Central access point for reference data required to operate XBID system.</a:t>
            </a:r>
          </a:p>
          <a:p>
            <a:pPr algn="ctr"/>
            <a:endParaRPr lang="de-DE" sz="1600" b="1" dirty="0">
              <a:latin typeface="Arial" charset="0"/>
            </a:endParaRPr>
          </a:p>
        </p:txBody>
      </p:sp>
      <p:sp>
        <p:nvSpPr>
          <p:cNvPr id="11" name="Rounded Rectangle 11"/>
          <p:cNvSpPr/>
          <p:nvPr/>
        </p:nvSpPr>
        <p:spPr bwMode="auto">
          <a:xfrm>
            <a:off x="3157819" y="2815415"/>
            <a:ext cx="2270617" cy="968045"/>
          </a:xfrm>
          <a:prstGeom prst="roundRect">
            <a:avLst>
              <a:gd name="adj" fmla="val 6358"/>
            </a:avLst>
          </a:prstGeom>
          <a:solidFill>
            <a:schemeClr val="accent2">
              <a:lumMod val="40000"/>
              <a:lumOff val="60000"/>
            </a:schemeClr>
          </a:solidFill>
          <a:ln w="6350" cap="flat" cmpd="sng" algn="ctr">
            <a:solidFill>
              <a:schemeClr val="tx1"/>
            </a:solidFill>
            <a:prstDash val="solid"/>
            <a:round/>
            <a:headEnd type="none" w="med" len="med"/>
            <a:tailEnd type="none" w="med" len="med"/>
          </a:ln>
          <a:effectLst/>
          <a:extLst/>
        </p:spPr>
        <p:txBody>
          <a:bodyPr vert="horz" wrap="square" lIns="36000" tIns="36000" rIns="3600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rPr>
              <a:t>Order Book</a:t>
            </a: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r>
              <a:rPr lang="en-US" sz="1400" dirty="0">
                <a:latin typeface="Arial" charset="0"/>
              </a:rPr>
              <a:t>Calculation of the Local Views of Order Books</a:t>
            </a: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400" b="1" i="0" u="none" strike="noStrike" cap="none" normalizeH="0" baseline="0" dirty="0">
              <a:ln>
                <a:noFill/>
              </a:ln>
              <a:solidFill>
                <a:schemeClr val="tx1"/>
              </a:solidFill>
              <a:effectLst/>
              <a:latin typeface="Arial" charset="0"/>
            </a:endParaRPr>
          </a:p>
        </p:txBody>
      </p:sp>
      <p:sp>
        <p:nvSpPr>
          <p:cNvPr id="12" name="Rounded Rectangle 12"/>
          <p:cNvSpPr/>
          <p:nvPr/>
        </p:nvSpPr>
        <p:spPr bwMode="auto">
          <a:xfrm>
            <a:off x="745421" y="2815415"/>
            <a:ext cx="2238579" cy="968047"/>
          </a:xfrm>
          <a:prstGeom prst="roundRect">
            <a:avLst>
              <a:gd name="adj" fmla="val 6358"/>
            </a:avLst>
          </a:prstGeom>
          <a:solidFill>
            <a:schemeClr val="accent2">
              <a:lumMod val="40000"/>
              <a:lumOff val="60000"/>
            </a:schemeClr>
          </a:solidFill>
          <a:ln w="6350" cap="flat" cmpd="sng" algn="ctr">
            <a:solidFill>
              <a:schemeClr val="tx1"/>
            </a:solidFill>
            <a:prstDash val="solid"/>
            <a:round/>
            <a:headEnd type="none" w="med" len="med"/>
            <a:tailEnd type="none" w="med" len="med"/>
          </a:ln>
          <a:effectLst/>
          <a:extLst/>
        </p:spPr>
        <p:txBody>
          <a:bodyPr vert="horz" wrap="square" lIns="36000" tIns="36000" rIns="3600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rPr>
              <a:t>Capacity Routing</a:t>
            </a: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r>
              <a:rPr lang="en-US" sz="1400" dirty="0">
                <a:latin typeface="Arial" charset="0"/>
              </a:rPr>
              <a:t>Calculation order execution flow</a:t>
            </a: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r>
              <a:rPr kumimoji="0" lang="en-US" sz="1400" i="0" u="none" strike="noStrike" cap="none" normalizeH="0" baseline="0" dirty="0">
                <a:ln>
                  <a:noFill/>
                </a:ln>
                <a:solidFill>
                  <a:schemeClr val="tx1"/>
                </a:solidFill>
                <a:effectLst/>
                <a:latin typeface="Arial" charset="0"/>
              </a:rPr>
              <a:t>H2H matrix calculation.</a:t>
            </a:r>
          </a:p>
        </p:txBody>
      </p:sp>
      <p:sp>
        <p:nvSpPr>
          <p:cNvPr id="13" name="Rounded Rectangle 13"/>
          <p:cNvSpPr/>
          <p:nvPr/>
        </p:nvSpPr>
        <p:spPr bwMode="auto">
          <a:xfrm>
            <a:off x="3168344" y="1741339"/>
            <a:ext cx="2259093" cy="1002069"/>
          </a:xfrm>
          <a:prstGeom prst="roundRect">
            <a:avLst>
              <a:gd name="adj" fmla="val 6358"/>
            </a:avLst>
          </a:prstGeom>
          <a:solidFill>
            <a:schemeClr val="accent2">
              <a:lumMod val="40000"/>
              <a:lumOff val="60000"/>
            </a:schemeClr>
          </a:solidFill>
          <a:ln w="6350" cap="flat" cmpd="sng" algn="ctr">
            <a:solidFill>
              <a:schemeClr val="tx1"/>
            </a:solidFill>
            <a:prstDash val="solid"/>
            <a:round/>
            <a:headEnd type="none" w="med" len="med"/>
            <a:tailEnd type="none" w="med" len="med"/>
          </a:ln>
          <a:effectLst/>
          <a:extLst/>
        </p:spPr>
        <p:txBody>
          <a:bodyPr vert="horz" wrap="square" lIns="36000" tIns="36000" rIns="3600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rPr>
              <a:t>Interface to Local Trading Systems</a:t>
            </a: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r>
              <a:rPr lang="en-US" sz="1400" dirty="0">
                <a:latin typeface="Arial" charset="0"/>
              </a:rPr>
              <a:t>Offers access to XBID to LTS</a:t>
            </a:r>
          </a:p>
          <a:p>
            <a:pPr marL="171450" marR="0" indent="-171450"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400" b="1" i="0" u="none" strike="noStrike" cap="none" normalizeH="0" baseline="0" dirty="0">
              <a:ln>
                <a:noFill/>
              </a:ln>
              <a:solidFill>
                <a:schemeClr val="tx1"/>
              </a:solidFill>
              <a:effectLst/>
              <a:latin typeface="Arial" charset="0"/>
            </a:endParaRPr>
          </a:p>
        </p:txBody>
      </p:sp>
      <p:sp>
        <p:nvSpPr>
          <p:cNvPr id="14" name="Rounded Rectangle 14"/>
          <p:cNvSpPr/>
          <p:nvPr/>
        </p:nvSpPr>
        <p:spPr bwMode="auto">
          <a:xfrm>
            <a:off x="788074" y="4566354"/>
            <a:ext cx="1537530" cy="1619765"/>
          </a:xfrm>
          <a:prstGeom prst="roundRect">
            <a:avLst>
              <a:gd name="adj" fmla="val 6358"/>
            </a:avLst>
          </a:prstGeom>
          <a:solidFill>
            <a:schemeClr val="accent2">
              <a:lumMod val="40000"/>
              <a:lumOff val="60000"/>
            </a:schemeClr>
          </a:solidFill>
          <a:ln w="6350" cap="flat" cmpd="sng" algn="ctr">
            <a:solidFill>
              <a:schemeClr val="tx1"/>
            </a:solidFill>
            <a:prstDash val="solid"/>
            <a:round/>
            <a:headEnd type="none" w="med" len="med"/>
            <a:tailEnd type="none" w="med" len="med"/>
          </a:ln>
          <a:effectLst/>
          <a:extLst/>
        </p:spPr>
        <p:txBody>
          <a:bodyPr vert="horz" wrap="square" lIns="36000" tIns="36000" rIns="3600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rPr>
              <a:t>Capacity </a:t>
            </a:r>
            <a:r>
              <a:rPr lang="en-US" sz="1400" b="1" dirty="0">
                <a:latin typeface="Arial" charset="0"/>
              </a:rPr>
              <a:t>Allocation</a:t>
            </a: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r>
              <a:rPr lang="en-US" sz="1400" dirty="0">
                <a:latin typeface="Arial" charset="0"/>
              </a:rPr>
              <a:t>Explicit and Implicit capacity allocation on border level.</a:t>
            </a:r>
          </a:p>
          <a:p>
            <a:pPr marL="171450" marR="0" indent="-171450"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400" b="1" i="0" u="none" strike="noStrike" cap="none" normalizeH="0" baseline="0" dirty="0">
              <a:ln>
                <a:noFill/>
              </a:ln>
              <a:solidFill>
                <a:schemeClr val="tx1"/>
              </a:solidFill>
              <a:effectLst/>
              <a:latin typeface="Arial" charset="0"/>
            </a:endParaRPr>
          </a:p>
        </p:txBody>
      </p:sp>
      <p:sp>
        <p:nvSpPr>
          <p:cNvPr id="15" name="Rounded Rectangle 15"/>
          <p:cNvSpPr/>
          <p:nvPr/>
        </p:nvSpPr>
        <p:spPr bwMode="auto">
          <a:xfrm>
            <a:off x="2440701" y="4568715"/>
            <a:ext cx="1480768" cy="1617282"/>
          </a:xfrm>
          <a:prstGeom prst="roundRect">
            <a:avLst>
              <a:gd name="adj" fmla="val 6358"/>
            </a:avLst>
          </a:prstGeom>
          <a:solidFill>
            <a:schemeClr val="accent2">
              <a:lumMod val="40000"/>
              <a:lumOff val="60000"/>
            </a:schemeClr>
          </a:solidFill>
          <a:ln w="6350" cap="flat" cmpd="sng" algn="ctr">
            <a:solidFill>
              <a:schemeClr val="tx1"/>
            </a:solidFill>
            <a:prstDash val="solid"/>
            <a:round/>
            <a:headEnd type="none" w="med" len="med"/>
            <a:tailEnd type="none" w="med" len="med"/>
          </a:ln>
          <a:effectLst/>
          <a:extLst/>
        </p:spPr>
        <p:txBody>
          <a:bodyPr vert="horz" wrap="square" lIns="36000" tIns="36000" rIns="3600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rPr>
              <a:t>Interface </a:t>
            </a:r>
            <a:r>
              <a:rPr kumimoji="0" lang="en-US" sz="1400" b="1" i="0" u="none" strike="noStrike" cap="none" normalizeH="0" baseline="0" dirty="0" smtClean="0">
                <a:ln>
                  <a:noFill/>
                </a:ln>
                <a:solidFill>
                  <a:schemeClr val="tx1"/>
                </a:solidFill>
                <a:effectLst/>
                <a:latin typeface="Arial" charset="0"/>
              </a:rPr>
              <a:t>to TSOs</a:t>
            </a:r>
            <a:endParaRPr kumimoji="0" lang="en-US" sz="1400" b="1" i="0" u="none" strike="noStrike" cap="none" normalizeH="0" baseline="0" dirty="0">
              <a:ln>
                <a:noFill/>
              </a:ln>
              <a:solidFill>
                <a:schemeClr val="tx1"/>
              </a:solidFill>
              <a:effectLst/>
              <a:latin typeface="Arial" charset="0"/>
            </a:endParaRP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r>
              <a:rPr lang="en-US" sz="1400" dirty="0">
                <a:latin typeface="Arial" charset="0"/>
              </a:rPr>
              <a:t>Capacity Management Integration </a:t>
            </a:r>
            <a:r>
              <a:rPr lang="en-US" sz="1400" dirty="0" smtClean="0">
                <a:latin typeface="Arial" charset="0"/>
              </a:rPr>
              <a:t>Application (</a:t>
            </a:r>
            <a:r>
              <a:rPr lang="en-US" sz="1400" dirty="0">
                <a:latin typeface="Arial" charset="0"/>
              </a:rPr>
              <a:t>CMI)</a:t>
            </a: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400" b="1" i="0" u="none" strike="noStrike" cap="none" normalizeH="0" baseline="0" dirty="0">
              <a:ln>
                <a:noFill/>
              </a:ln>
              <a:solidFill>
                <a:schemeClr val="tx1"/>
              </a:solidFill>
              <a:effectLst/>
              <a:latin typeface="Arial" charset="0"/>
            </a:endParaRPr>
          </a:p>
        </p:txBody>
      </p:sp>
      <p:sp>
        <p:nvSpPr>
          <p:cNvPr id="17" name="Rounded Rectangle 13"/>
          <p:cNvSpPr/>
          <p:nvPr/>
        </p:nvSpPr>
        <p:spPr bwMode="auto">
          <a:xfrm>
            <a:off x="4036566" y="4566356"/>
            <a:ext cx="1482004" cy="1619762"/>
          </a:xfrm>
          <a:prstGeom prst="roundRect">
            <a:avLst>
              <a:gd name="adj" fmla="val 6358"/>
            </a:avLst>
          </a:prstGeom>
          <a:solidFill>
            <a:schemeClr val="accent2">
              <a:lumMod val="40000"/>
              <a:lumOff val="60000"/>
            </a:schemeClr>
          </a:solidFill>
          <a:ln w="6350" cap="flat" cmpd="sng" algn="ctr">
            <a:solidFill>
              <a:schemeClr val="tx1"/>
            </a:solidFill>
            <a:prstDash val="solid"/>
            <a:round/>
            <a:headEnd type="none" w="med" len="med"/>
            <a:tailEnd type="none" w="med" len="med"/>
          </a:ln>
          <a:effectLst/>
          <a:extLst/>
        </p:spPr>
        <p:txBody>
          <a:bodyPr vert="horz" wrap="square" lIns="36000" tIns="36000" rIns="36000" bIns="36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tx1"/>
                </a:solidFill>
                <a:effectLst/>
                <a:latin typeface="Arial" charset="0"/>
              </a:rPr>
              <a:t>Interface to </a:t>
            </a:r>
            <a:r>
              <a:rPr kumimoji="0" lang="en-US" sz="1400" b="1" i="0" u="none" strike="noStrike" cap="none" normalizeH="0" baseline="0" dirty="0" err="1">
                <a:ln>
                  <a:noFill/>
                </a:ln>
                <a:solidFill>
                  <a:schemeClr val="tx1"/>
                </a:solidFill>
                <a:effectLst/>
                <a:latin typeface="Arial" charset="0"/>
              </a:rPr>
              <a:t>Explict</a:t>
            </a:r>
            <a:r>
              <a:rPr kumimoji="0" lang="en-US" sz="1400" b="1" i="0" u="none" strike="noStrike" cap="none" normalizeH="0" baseline="0" dirty="0">
                <a:ln>
                  <a:noFill/>
                </a:ln>
                <a:solidFill>
                  <a:schemeClr val="tx1"/>
                </a:solidFill>
                <a:effectLst/>
                <a:latin typeface="Arial" charset="0"/>
              </a:rPr>
              <a:t> Participants</a:t>
            </a:r>
          </a:p>
          <a:p>
            <a:pPr marL="85725" marR="0" indent="-85725" defTabSz="914400" rtl="0" eaLnBrk="1" fontAlgn="base" latinLnBrk="0" hangingPunct="1">
              <a:lnSpc>
                <a:spcPct val="100000"/>
              </a:lnSpc>
              <a:spcBef>
                <a:spcPct val="0"/>
              </a:spcBef>
              <a:spcAft>
                <a:spcPct val="0"/>
              </a:spcAft>
              <a:buClrTx/>
              <a:buSzTx/>
              <a:buFont typeface="Arial" pitchFamily="34" charset="0"/>
              <a:buChar char="•"/>
              <a:tabLst/>
            </a:pPr>
            <a:r>
              <a:rPr lang="en-US" sz="1400" dirty="0">
                <a:latin typeface="Arial" charset="0"/>
              </a:rPr>
              <a:t>Offers access to CMM </a:t>
            </a:r>
          </a:p>
          <a:p>
            <a:pPr marL="171450" marR="0" indent="-171450"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400" b="1" i="0" u="none" strike="noStrike" cap="none" normalizeH="0" baseline="0" dirty="0">
              <a:ln>
                <a:noFill/>
              </a:ln>
              <a:solidFill>
                <a:schemeClr val="tx1"/>
              </a:solidFill>
              <a:effectLst/>
              <a:latin typeface="Arial" charset="0"/>
            </a:endParaRPr>
          </a:p>
        </p:txBody>
      </p:sp>
      <p:sp>
        <p:nvSpPr>
          <p:cNvPr id="16" name="Marcador de número de diapositiva 2"/>
          <p:cNvSpPr>
            <a:spLocks noGrp="1"/>
          </p:cNvSpPr>
          <p:nvPr>
            <p:ph type="sldNum" sz="quarter" idx="11"/>
          </p:nvPr>
        </p:nvSpPr>
        <p:spPr>
          <a:xfrm>
            <a:off x="5657850" y="6524625"/>
            <a:ext cx="571500" cy="246221"/>
          </a:xfrm>
        </p:spPr>
        <p:txBody>
          <a:bodyPr/>
          <a:lstStyle/>
          <a:p>
            <a:fld id="{AD89DE65-C7D9-40CE-B96E-B8C3E7B233C5}" type="slidenum">
              <a:rPr lang="de-DE" smtClean="0"/>
              <a:pPr/>
              <a:t>21</a:t>
            </a:fld>
            <a:endParaRPr lang="de-DE" dirty="0"/>
          </a:p>
        </p:txBody>
      </p:sp>
    </p:spTree>
    <p:extLst>
      <p:ext uri="{BB962C8B-B14F-4D97-AF65-F5344CB8AC3E}">
        <p14:creationId xmlns:p14="http://schemas.microsoft.com/office/powerpoint/2010/main" val="1356138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XBID – CMM. </a:t>
            </a:r>
            <a:r>
              <a:rPr lang="en-GB" dirty="0"/>
              <a:t>Capacity Management Module </a:t>
            </a:r>
          </a:p>
        </p:txBody>
      </p:sp>
      <p:sp>
        <p:nvSpPr>
          <p:cNvPr id="3" name="Foliennummernplatzhalter 2"/>
          <p:cNvSpPr>
            <a:spLocks noGrp="1"/>
          </p:cNvSpPr>
          <p:nvPr>
            <p:ph type="sldNum" sz="quarter" idx="11"/>
          </p:nvPr>
        </p:nvSpPr>
        <p:spPr/>
        <p:txBody>
          <a:bodyPr/>
          <a:lstStyle/>
          <a:p>
            <a:fld id="{AD89DE65-C7D9-40CE-B96E-B8C3E7B233C5}" type="slidenum">
              <a:rPr lang="de-DE" smtClean="0"/>
              <a:pPr/>
              <a:t>22</a:t>
            </a:fld>
            <a:endParaRPr lang="de-DE" dirty="0"/>
          </a:p>
        </p:txBody>
      </p:sp>
      <p:sp>
        <p:nvSpPr>
          <p:cNvPr id="6" name="Rectangle 3"/>
          <p:cNvSpPr/>
          <p:nvPr/>
        </p:nvSpPr>
        <p:spPr>
          <a:xfrm>
            <a:off x="574158" y="1565851"/>
            <a:ext cx="8209842" cy="4648965"/>
          </a:xfrm>
          <a:prstGeom prst="rect">
            <a:avLst/>
          </a:prstGeom>
        </p:spPr>
        <p:txBody>
          <a:bodyPr wrap="square">
            <a:spAutoFit/>
          </a:bodyPr>
          <a:lstStyle/>
          <a:p>
            <a:pPr>
              <a:spcAft>
                <a:spcPct val="5000"/>
              </a:spcAft>
            </a:pPr>
            <a:r>
              <a:rPr lang="en-US" altLang="en-US" dirty="0">
                <a:latin typeface="+mj-lt"/>
                <a:cs typeface="Arial" panose="020B0604020202020204" pitchFamily="34" charset="0"/>
              </a:rPr>
              <a:t>The</a:t>
            </a:r>
            <a:r>
              <a:rPr lang="en-US" altLang="en-US" dirty="0">
                <a:solidFill>
                  <a:srgbClr val="000000"/>
                </a:solidFill>
                <a:latin typeface="+mj-lt"/>
                <a:cs typeface="Arial" panose="020B0604020202020204" pitchFamily="34" charset="0"/>
              </a:rPr>
              <a:t> </a:t>
            </a:r>
            <a:r>
              <a:rPr lang="en-US" altLang="en-US" b="1" dirty="0">
                <a:solidFill>
                  <a:schemeClr val="accent1"/>
                </a:solidFill>
                <a:latin typeface="+mj-lt"/>
                <a:cs typeface="Arial" panose="020B0604020202020204" pitchFamily="34" charset="0"/>
              </a:rPr>
              <a:t>Capacity Management Module </a:t>
            </a:r>
            <a:r>
              <a:rPr lang="en-US" altLang="en-US" dirty="0">
                <a:latin typeface="+mj-lt"/>
                <a:cs typeface="Arial" panose="020B0604020202020204" pitchFamily="34" charset="0"/>
              </a:rPr>
              <a:t>is </a:t>
            </a:r>
            <a:r>
              <a:rPr lang="en-US" altLang="en-US" dirty="0">
                <a:cs typeface="Arial" panose="020B0604020202020204" pitchFamily="34" charset="0"/>
              </a:rPr>
              <a:t>a module in which cross border capacity between connected Delivery Areas is managed. CMM </a:t>
            </a:r>
            <a:r>
              <a:rPr lang="en-US" altLang="en-US" dirty="0">
                <a:latin typeface="+mj-lt"/>
                <a:cs typeface="Arial" panose="020B0604020202020204" pitchFamily="34" charset="0"/>
              </a:rPr>
              <a:t>offering the following features:</a:t>
            </a:r>
          </a:p>
          <a:p>
            <a:pPr marL="742950" lvl="1" indent="-285750">
              <a:spcAft>
                <a:spcPct val="5000"/>
              </a:spcAft>
              <a:buClr>
                <a:schemeClr val="bg1">
                  <a:lumMod val="50000"/>
                </a:schemeClr>
              </a:buClr>
              <a:buSzPct val="120000"/>
              <a:buFont typeface="Arial" panose="020B0604020202020204" pitchFamily="34" charset="0"/>
              <a:buChar char="•"/>
            </a:pPr>
            <a:endParaRPr lang="en-US" altLang="en-US" dirty="0">
              <a:latin typeface="+mj-lt"/>
              <a:cs typeface="Arial" panose="020B0604020202020204" pitchFamily="34" charset="0"/>
            </a:endParaRPr>
          </a:p>
          <a:p>
            <a:pPr marL="742950" lvl="1" indent="-285750">
              <a:spcAft>
                <a:spcPct val="5000"/>
              </a:spcAft>
              <a:buSzPct val="100000"/>
              <a:buFont typeface="Arial" panose="020B0604020202020204" pitchFamily="34" charset="0"/>
              <a:buChar char="•"/>
            </a:pPr>
            <a:r>
              <a:rPr lang="en-GB" dirty="0"/>
              <a:t>A GUI to display all relevant information to monitor market activities, updated in real time.</a:t>
            </a:r>
            <a:endParaRPr lang="es-ES" dirty="0"/>
          </a:p>
          <a:p>
            <a:pPr marL="742950" lvl="1" indent="-285750">
              <a:spcAft>
                <a:spcPct val="5000"/>
              </a:spcAft>
              <a:buSzPct val="100000"/>
              <a:buFont typeface="Arial" panose="020B0604020202020204" pitchFamily="34" charset="0"/>
              <a:buChar char="•"/>
            </a:pPr>
            <a:r>
              <a:rPr lang="en-GB" dirty="0"/>
              <a:t>Upload of Capacity Information via email, SCP, SFTP, ECP, as well as the option to manually amend figures via the web-based GUI.</a:t>
            </a:r>
            <a:endParaRPr lang="es-ES" dirty="0"/>
          </a:p>
          <a:p>
            <a:pPr marL="742950" lvl="1" indent="-285750">
              <a:spcAft>
                <a:spcPct val="5000"/>
              </a:spcAft>
              <a:buSzPct val="100000"/>
              <a:buFont typeface="Arial" panose="020B0604020202020204" pitchFamily="34" charset="0"/>
              <a:buChar char="•"/>
            </a:pPr>
            <a:r>
              <a:rPr lang="en-US" altLang="en-US" dirty="0">
                <a:latin typeface="+mj-lt"/>
                <a:cs typeface="Arial" panose="020B0604020202020204" pitchFamily="34" charset="0"/>
              </a:rPr>
              <a:t>24/7 access to the service.</a:t>
            </a:r>
          </a:p>
          <a:p>
            <a:pPr marL="742950" lvl="1" indent="-285750">
              <a:spcAft>
                <a:spcPct val="5000"/>
              </a:spcAft>
              <a:buSzPct val="100000"/>
              <a:buFont typeface="Arial" panose="020B0604020202020204" pitchFamily="34" charset="0"/>
              <a:buChar char="•"/>
            </a:pPr>
            <a:r>
              <a:rPr lang="en-US" altLang="en-US" dirty="0">
                <a:latin typeface="+mj-lt"/>
                <a:cs typeface="Arial" panose="020B0604020202020204" pitchFamily="34" charset="0"/>
              </a:rPr>
              <a:t>Continuous, anonymous explicit and implicit allocation of network capacity.</a:t>
            </a:r>
          </a:p>
          <a:p>
            <a:pPr marL="742950" lvl="1" indent="-285750">
              <a:spcAft>
                <a:spcPct val="5000"/>
              </a:spcAft>
              <a:buSzPct val="100000"/>
              <a:buFont typeface="Arial" panose="020B0604020202020204" pitchFamily="34" charset="0"/>
              <a:buChar char="•"/>
            </a:pPr>
            <a:r>
              <a:rPr lang="en-US" altLang="en-US" dirty="0">
                <a:latin typeface="+mj-lt"/>
                <a:cs typeface="Arial" panose="020B0604020202020204" pitchFamily="34" charset="0"/>
              </a:rPr>
              <a:t>Direct connection to the XBID Trading Module for implicit allocation of network capacity.</a:t>
            </a:r>
          </a:p>
          <a:p>
            <a:pPr marL="742950" lvl="1" indent="-285750">
              <a:spcAft>
                <a:spcPct val="5000"/>
              </a:spcAft>
              <a:buSzPct val="100000"/>
              <a:buFont typeface="Arial" panose="020B0604020202020204" pitchFamily="34" charset="0"/>
              <a:buChar char="•"/>
            </a:pPr>
            <a:r>
              <a:rPr lang="en-US" altLang="en-US" dirty="0">
                <a:latin typeface="+mj-lt"/>
                <a:cs typeface="Arial" panose="020B0604020202020204" pitchFamily="34" charset="0"/>
              </a:rPr>
              <a:t>Public Message Interface and GUI for explicit trading.</a:t>
            </a:r>
          </a:p>
          <a:p>
            <a:pPr marL="742950" lvl="1" indent="-285750">
              <a:spcAft>
                <a:spcPct val="5000"/>
              </a:spcAft>
              <a:buClr>
                <a:schemeClr val="bg1">
                  <a:lumMod val="50000"/>
                </a:schemeClr>
              </a:buClr>
              <a:buSzPct val="120000"/>
              <a:buFont typeface="Arial" panose="020B0604020202020204" pitchFamily="34" charset="0"/>
              <a:buChar char="•"/>
            </a:pPr>
            <a:endParaRPr lang="en-US" altLang="en-US" dirty="0">
              <a:latin typeface="+mj-lt"/>
              <a:cs typeface="Arial" panose="020B0604020202020204" pitchFamily="34" charset="0"/>
            </a:endParaRPr>
          </a:p>
          <a:p>
            <a:pPr marL="171450" indent="-171450">
              <a:spcAft>
                <a:spcPct val="5000"/>
              </a:spcAft>
              <a:buFont typeface="Arial" panose="020B0604020202020204" pitchFamily="34" charset="0"/>
              <a:buChar char="•"/>
            </a:pPr>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28916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pPr lvl="1"/>
            <a:r>
              <a:rPr lang="en-US" sz="1800" b="1" dirty="0" smtClean="0"/>
              <a:t>XBID – CMM. Capacity </a:t>
            </a:r>
            <a:r>
              <a:rPr lang="en-US" sz="1800" b="1" dirty="0"/>
              <a:t>Management Module </a:t>
            </a:r>
            <a:endParaRPr lang="es-ES" sz="1800" b="1"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23</a:t>
            </a:fld>
            <a:endParaRPr lang="de-DE" dirty="0"/>
          </a:p>
        </p:txBody>
      </p:sp>
      <p:sp>
        <p:nvSpPr>
          <p:cNvPr id="5" name="Rectangle 4"/>
          <p:cNvSpPr/>
          <p:nvPr/>
        </p:nvSpPr>
        <p:spPr>
          <a:xfrm>
            <a:off x="546128" y="1369323"/>
            <a:ext cx="8166312" cy="646331"/>
          </a:xfrm>
          <a:prstGeom prst="rect">
            <a:avLst/>
          </a:prstGeom>
        </p:spPr>
        <p:txBody>
          <a:bodyPr wrap="square">
            <a:spAutoFit/>
          </a:bodyPr>
          <a:lstStyle/>
          <a:p>
            <a:pPr>
              <a:spcAft>
                <a:spcPct val="5000"/>
              </a:spcAft>
            </a:pPr>
            <a:r>
              <a:rPr lang="en-US" altLang="en-US" dirty="0">
                <a:latin typeface="+mj-lt"/>
                <a:cs typeface="Arial" panose="020B0604020202020204" pitchFamily="34" charset="0"/>
              </a:rPr>
              <a:t>CMM supports separate (independent) configuration and administration of each functional entity:</a:t>
            </a:r>
          </a:p>
        </p:txBody>
      </p:sp>
      <p:sp>
        <p:nvSpPr>
          <p:cNvPr id="7" name="Rectangle 6"/>
          <p:cNvSpPr/>
          <p:nvPr/>
        </p:nvSpPr>
        <p:spPr bwMode="auto">
          <a:xfrm>
            <a:off x="546128" y="2397836"/>
            <a:ext cx="7992424" cy="1084846"/>
          </a:xfrm>
          <a:prstGeom prst="rect">
            <a:avLst/>
          </a:prstGeom>
          <a:solidFill>
            <a:schemeClr val="accent2">
              <a:lumMod val="20000"/>
              <a:lumOff val="80000"/>
            </a:schemeClr>
          </a:solidFill>
          <a:ln w="6350" cap="flat" cmpd="sng" algn="ctr">
            <a:noFill/>
            <a:prstDash val="solid"/>
            <a:round/>
            <a:headEnd type="none" w="med" len="med"/>
            <a:tailEnd type="none" w="med" len="med"/>
          </a:ln>
          <a:effectLst/>
          <a:extLst/>
        </p:spPr>
        <p:txBody>
          <a:bodyPr vert="horz" wrap="square" lIns="90487" tIns="108000" rIns="90487" bIns="44450" numCol="1" rtlCol="0" anchor="t" anchorCtr="0" compatLnSpc="1">
            <a:prstTxWarp prst="textNoShape">
              <a:avLst/>
            </a:prstTxWarp>
          </a:bodyPr>
          <a:lstStyle/>
          <a:p>
            <a:pPr marL="628650" lvl="1" indent="-171450">
              <a:spcAft>
                <a:spcPct val="5000"/>
              </a:spcAft>
              <a:buFont typeface="Arial" panose="020B0604020202020204" pitchFamily="34" charset="0"/>
              <a:buChar char="•"/>
            </a:pPr>
            <a:endParaRPr lang="en-US" altLang="en-US" dirty="0"/>
          </a:p>
          <a:p>
            <a:pPr marL="628650" lvl="1" indent="-171450">
              <a:spcAft>
                <a:spcPct val="5000"/>
              </a:spcAft>
              <a:buFont typeface="Arial" panose="020B0604020202020204" pitchFamily="34" charset="0"/>
              <a:buChar char="•"/>
            </a:pPr>
            <a:endParaRPr lang="en-US" altLang="en-US" dirty="0"/>
          </a:p>
        </p:txBody>
      </p:sp>
      <p:graphicFrame>
        <p:nvGraphicFramePr>
          <p:cNvPr id="8" name="Diagram 7"/>
          <p:cNvGraphicFramePr/>
          <p:nvPr>
            <p:extLst>
              <p:ext uri="{D42A27DB-BD31-4B8C-83A1-F6EECF244321}">
                <p14:modId xmlns:p14="http://schemas.microsoft.com/office/powerpoint/2010/main" val="4280504543"/>
              </p:ext>
            </p:extLst>
          </p:nvPr>
        </p:nvGraphicFramePr>
        <p:xfrm>
          <a:off x="3169236" y="2222562"/>
          <a:ext cx="2746208" cy="3448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ounded Rectangle 8"/>
          <p:cNvSpPr/>
          <p:nvPr/>
        </p:nvSpPr>
        <p:spPr bwMode="auto">
          <a:xfrm>
            <a:off x="2743771" y="2721892"/>
            <a:ext cx="1678238" cy="592353"/>
          </a:xfrm>
          <a:prstGeom prst="roundRect">
            <a:avLst>
              <a:gd name="adj" fmla="val 6358"/>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dirty="0">
                <a:latin typeface="Arial" charset="0"/>
              </a:rPr>
              <a:t>Delivery Area</a:t>
            </a:r>
          </a:p>
        </p:txBody>
      </p:sp>
      <p:sp>
        <p:nvSpPr>
          <p:cNvPr id="10" name="Rounded Rectangle 9"/>
          <p:cNvSpPr/>
          <p:nvPr/>
        </p:nvSpPr>
        <p:spPr bwMode="auto">
          <a:xfrm>
            <a:off x="760399" y="2722068"/>
            <a:ext cx="1678238" cy="592353"/>
          </a:xfrm>
          <a:prstGeom prst="roundRect">
            <a:avLst>
              <a:gd name="adj" fmla="val 6358"/>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dirty="0">
                <a:latin typeface="Arial" charset="0"/>
              </a:rPr>
              <a:t>Market Area</a:t>
            </a:r>
          </a:p>
        </p:txBody>
      </p:sp>
      <p:sp>
        <p:nvSpPr>
          <p:cNvPr id="11" name="Rounded Rectangle 10"/>
          <p:cNvSpPr/>
          <p:nvPr/>
        </p:nvSpPr>
        <p:spPr bwMode="auto">
          <a:xfrm>
            <a:off x="4727144" y="2721716"/>
            <a:ext cx="1678238" cy="592655"/>
          </a:xfrm>
          <a:prstGeom prst="roundRect">
            <a:avLst>
              <a:gd name="adj" fmla="val 6358"/>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dirty="0">
                <a:latin typeface="Arial" charset="0"/>
              </a:rPr>
              <a:t>TSO</a:t>
            </a:r>
          </a:p>
        </p:txBody>
      </p:sp>
      <p:sp>
        <p:nvSpPr>
          <p:cNvPr id="12" name="Rectangle 11"/>
          <p:cNvSpPr/>
          <p:nvPr/>
        </p:nvSpPr>
        <p:spPr bwMode="auto">
          <a:xfrm>
            <a:off x="546128" y="3813115"/>
            <a:ext cx="7992424" cy="1132597"/>
          </a:xfrm>
          <a:prstGeom prst="rect">
            <a:avLst/>
          </a:prstGeom>
          <a:solidFill>
            <a:schemeClr val="accent2">
              <a:lumMod val="20000"/>
              <a:lumOff val="80000"/>
            </a:schemeClr>
          </a:solidFill>
          <a:ln w="6350" cap="flat" cmpd="sng" algn="ctr">
            <a:noFill/>
            <a:prstDash val="solid"/>
            <a:round/>
            <a:headEnd type="none" w="med" len="med"/>
            <a:tailEnd type="none" w="med" len="med"/>
          </a:ln>
          <a:effectLst/>
          <a:extLst/>
        </p:spPr>
        <p:txBody>
          <a:bodyPr vert="horz" wrap="square" lIns="90487" tIns="108000" rIns="90487" bIns="44450" numCol="1" rtlCol="0" anchor="t" anchorCtr="0" compatLnSpc="1">
            <a:prstTxWarp prst="textNoShape">
              <a:avLst/>
            </a:prstTxWarp>
          </a:bodyPr>
          <a:lstStyle/>
          <a:p>
            <a:pPr marL="628650" lvl="1" indent="-171450">
              <a:spcAft>
                <a:spcPct val="5000"/>
              </a:spcAft>
              <a:buFont typeface="Arial" panose="020B0604020202020204" pitchFamily="34" charset="0"/>
              <a:buChar char="•"/>
            </a:pPr>
            <a:endParaRPr lang="en-US" altLang="en-US" dirty="0"/>
          </a:p>
          <a:p>
            <a:pPr marL="628650" lvl="1" indent="-171450">
              <a:spcAft>
                <a:spcPct val="5000"/>
              </a:spcAft>
              <a:buFont typeface="Arial" panose="020B0604020202020204" pitchFamily="34" charset="0"/>
              <a:buChar char="•"/>
            </a:pPr>
            <a:endParaRPr lang="en-US" altLang="en-US" dirty="0"/>
          </a:p>
        </p:txBody>
      </p:sp>
      <p:graphicFrame>
        <p:nvGraphicFramePr>
          <p:cNvPr id="13" name="Diagram 12"/>
          <p:cNvGraphicFramePr/>
          <p:nvPr>
            <p:extLst>
              <p:ext uri="{D42A27DB-BD31-4B8C-83A1-F6EECF244321}">
                <p14:modId xmlns:p14="http://schemas.microsoft.com/office/powerpoint/2010/main" val="2488249832"/>
              </p:ext>
            </p:extLst>
          </p:nvPr>
        </p:nvGraphicFramePr>
        <p:xfrm>
          <a:off x="3169236" y="3640684"/>
          <a:ext cx="2746208" cy="34486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4" name="Rounded Rectangle 13"/>
          <p:cNvSpPr/>
          <p:nvPr/>
        </p:nvSpPr>
        <p:spPr bwMode="auto">
          <a:xfrm>
            <a:off x="5224971" y="4138231"/>
            <a:ext cx="1678238" cy="592353"/>
          </a:xfrm>
          <a:prstGeom prst="roundRect">
            <a:avLst>
              <a:gd name="adj" fmla="val 6358"/>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ctr" anchorCtr="0" compatLnSpc="1">
            <a:prstTxWarp prst="textNoShape">
              <a:avLst/>
            </a:prstTxWarp>
          </a:bodyPr>
          <a:lstStyle/>
          <a:p>
            <a:pPr algn="ctr" fontAlgn="base">
              <a:lnSpc>
                <a:spcPct val="90000"/>
              </a:lnSpc>
              <a:spcBef>
                <a:spcPct val="0"/>
              </a:spcBef>
              <a:spcAft>
                <a:spcPct val="0"/>
              </a:spcAft>
            </a:pPr>
            <a:r>
              <a:rPr lang="en-US" dirty="0">
                <a:latin typeface="Arial" charset="0"/>
              </a:rPr>
              <a:t>Interconnector</a:t>
            </a:r>
          </a:p>
        </p:txBody>
      </p:sp>
      <p:sp>
        <p:nvSpPr>
          <p:cNvPr id="15" name="Rounded Rectangle 14"/>
          <p:cNvSpPr/>
          <p:nvPr/>
        </p:nvSpPr>
        <p:spPr bwMode="auto">
          <a:xfrm>
            <a:off x="2332886" y="4138231"/>
            <a:ext cx="1678238" cy="592353"/>
          </a:xfrm>
          <a:prstGeom prst="roundRect">
            <a:avLst>
              <a:gd name="adj" fmla="val 6358"/>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ctr" anchorCtr="0" compatLnSpc="1">
            <a:prstTxWarp prst="textNoShape">
              <a:avLst/>
            </a:prstTxWarp>
          </a:bodyPr>
          <a:lstStyle/>
          <a:p>
            <a:pPr algn="ctr" fontAlgn="base">
              <a:lnSpc>
                <a:spcPct val="90000"/>
              </a:lnSpc>
              <a:spcBef>
                <a:spcPct val="0"/>
              </a:spcBef>
              <a:spcAft>
                <a:spcPct val="0"/>
              </a:spcAft>
            </a:pPr>
            <a:r>
              <a:rPr lang="en-US" dirty="0">
                <a:latin typeface="Arial" charset="0"/>
              </a:rPr>
              <a:t>Border</a:t>
            </a:r>
          </a:p>
        </p:txBody>
      </p:sp>
      <p:sp>
        <p:nvSpPr>
          <p:cNvPr id="16" name="Rectangle 15"/>
          <p:cNvSpPr/>
          <p:nvPr/>
        </p:nvSpPr>
        <p:spPr bwMode="auto">
          <a:xfrm>
            <a:off x="546128" y="5243733"/>
            <a:ext cx="7992424" cy="1133219"/>
          </a:xfrm>
          <a:prstGeom prst="rect">
            <a:avLst/>
          </a:prstGeom>
          <a:solidFill>
            <a:schemeClr val="accent2">
              <a:lumMod val="20000"/>
              <a:lumOff val="80000"/>
            </a:schemeClr>
          </a:solidFill>
          <a:ln w="6350" cap="flat" cmpd="sng" algn="ctr">
            <a:noFill/>
            <a:prstDash val="solid"/>
            <a:round/>
            <a:headEnd type="none" w="med" len="med"/>
            <a:tailEnd type="none" w="med" len="med"/>
          </a:ln>
          <a:effectLst/>
          <a:extLst/>
        </p:spPr>
        <p:txBody>
          <a:bodyPr vert="horz" wrap="square" lIns="90487" tIns="108000" rIns="90487" bIns="44450" numCol="1" rtlCol="0" anchor="t" anchorCtr="0" compatLnSpc="1">
            <a:prstTxWarp prst="textNoShape">
              <a:avLst/>
            </a:prstTxWarp>
          </a:bodyPr>
          <a:lstStyle/>
          <a:p>
            <a:pPr marL="628650" lvl="1" indent="-171450">
              <a:spcAft>
                <a:spcPct val="5000"/>
              </a:spcAft>
              <a:buFont typeface="Arial" panose="020B0604020202020204" pitchFamily="34" charset="0"/>
              <a:buChar char="•"/>
            </a:pPr>
            <a:endParaRPr lang="en-US" altLang="en-US" dirty="0"/>
          </a:p>
          <a:p>
            <a:pPr marL="628650" lvl="1" indent="-171450">
              <a:spcAft>
                <a:spcPct val="5000"/>
              </a:spcAft>
              <a:buFont typeface="Arial" panose="020B0604020202020204" pitchFamily="34" charset="0"/>
              <a:buChar char="•"/>
            </a:pPr>
            <a:endParaRPr lang="en-US" altLang="en-US" dirty="0"/>
          </a:p>
        </p:txBody>
      </p:sp>
      <p:graphicFrame>
        <p:nvGraphicFramePr>
          <p:cNvPr id="17" name="Diagram 16"/>
          <p:cNvGraphicFramePr/>
          <p:nvPr>
            <p:extLst>
              <p:ext uri="{D42A27DB-BD31-4B8C-83A1-F6EECF244321}">
                <p14:modId xmlns:p14="http://schemas.microsoft.com/office/powerpoint/2010/main" val="2653159025"/>
              </p:ext>
            </p:extLst>
          </p:nvPr>
        </p:nvGraphicFramePr>
        <p:xfrm>
          <a:off x="3169236" y="5071301"/>
          <a:ext cx="2746208" cy="34486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18" name="Rounded Rectangle 17"/>
          <p:cNvSpPr/>
          <p:nvPr/>
        </p:nvSpPr>
        <p:spPr bwMode="auto">
          <a:xfrm>
            <a:off x="6100951" y="5568848"/>
            <a:ext cx="1678238" cy="592353"/>
          </a:xfrm>
          <a:prstGeom prst="roundRect">
            <a:avLst>
              <a:gd name="adj" fmla="val 6358"/>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ctr" anchorCtr="0" compatLnSpc="1">
            <a:prstTxWarp prst="textNoShape">
              <a:avLst/>
            </a:prstTxWarp>
          </a:bodyPr>
          <a:lstStyle/>
          <a:p>
            <a:pPr algn="ctr" fontAlgn="base">
              <a:lnSpc>
                <a:spcPct val="90000"/>
              </a:lnSpc>
              <a:spcBef>
                <a:spcPct val="0"/>
              </a:spcBef>
              <a:spcAft>
                <a:spcPct val="0"/>
              </a:spcAft>
            </a:pPr>
            <a:r>
              <a:rPr lang="en-US" dirty="0">
                <a:latin typeface="Arial" charset="0"/>
              </a:rPr>
              <a:t>Explicit Participant</a:t>
            </a:r>
          </a:p>
        </p:txBody>
      </p:sp>
      <p:sp>
        <p:nvSpPr>
          <p:cNvPr id="19" name="Rounded Rectangle 18"/>
          <p:cNvSpPr/>
          <p:nvPr/>
        </p:nvSpPr>
        <p:spPr bwMode="auto">
          <a:xfrm>
            <a:off x="1323512" y="5568848"/>
            <a:ext cx="1678238" cy="592353"/>
          </a:xfrm>
          <a:prstGeom prst="roundRect">
            <a:avLst>
              <a:gd name="adj" fmla="val 6358"/>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ctr" anchorCtr="0" compatLnSpc="1">
            <a:prstTxWarp prst="textNoShape">
              <a:avLst/>
            </a:prstTxWarp>
          </a:bodyPr>
          <a:lstStyle/>
          <a:p>
            <a:pPr algn="ctr" fontAlgn="base">
              <a:lnSpc>
                <a:spcPct val="90000"/>
              </a:lnSpc>
              <a:spcBef>
                <a:spcPct val="0"/>
              </a:spcBef>
              <a:spcAft>
                <a:spcPct val="0"/>
              </a:spcAft>
            </a:pPr>
            <a:r>
              <a:rPr lang="en-US" dirty="0">
                <a:latin typeface="Arial" charset="0"/>
              </a:rPr>
              <a:t>TSOs</a:t>
            </a:r>
          </a:p>
        </p:txBody>
      </p:sp>
      <p:sp>
        <p:nvSpPr>
          <p:cNvPr id="20" name="Rounded Rectangle 19"/>
          <p:cNvSpPr/>
          <p:nvPr/>
        </p:nvSpPr>
        <p:spPr bwMode="auto">
          <a:xfrm>
            <a:off x="6708500" y="2723048"/>
            <a:ext cx="1678238" cy="592655"/>
          </a:xfrm>
          <a:prstGeom prst="roundRect">
            <a:avLst>
              <a:gd name="adj" fmla="val 6358"/>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lang="en-US" dirty="0">
                <a:latin typeface="Arial" charset="0"/>
              </a:rPr>
              <a:t>Virtual Delivery Area</a:t>
            </a:r>
          </a:p>
        </p:txBody>
      </p:sp>
    </p:spTree>
    <p:extLst>
      <p:ext uri="{BB962C8B-B14F-4D97-AF65-F5344CB8AC3E}">
        <p14:creationId xmlns:p14="http://schemas.microsoft.com/office/powerpoint/2010/main" val="2213274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XBID – CMM. </a:t>
            </a:r>
            <a:r>
              <a:rPr lang="en-GB" dirty="0"/>
              <a:t>Market Area / Delivery Area</a:t>
            </a:r>
          </a:p>
        </p:txBody>
      </p:sp>
      <p:sp>
        <p:nvSpPr>
          <p:cNvPr id="3" name="Foliennummernplatzhalter 2"/>
          <p:cNvSpPr>
            <a:spLocks noGrp="1"/>
          </p:cNvSpPr>
          <p:nvPr>
            <p:ph type="sldNum" sz="quarter" idx="11"/>
          </p:nvPr>
        </p:nvSpPr>
        <p:spPr/>
        <p:txBody>
          <a:bodyPr/>
          <a:lstStyle/>
          <a:p>
            <a:fld id="{AD89DE65-C7D9-40CE-B96E-B8C3E7B233C5}" type="slidenum">
              <a:rPr lang="de-DE" smtClean="0"/>
              <a:pPr/>
              <a:t>24</a:t>
            </a:fld>
            <a:endParaRPr lang="de-DE" dirty="0"/>
          </a:p>
        </p:txBody>
      </p:sp>
      <p:sp>
        <p:nvSpPr>
          <p:cNvPr id="4" name="Textplatzhalter 3"/>
          <p:cNvSpPr>
            <a:spLocks noGrp="1"/>
          </p:cNvSpPr>
          <p:nvPr>
            <p:ph type="body" sz="quarter" idx="13"/>
          </p:nvPr>
        </p:nvSpPr>
        <p:spPr>
          <a:xfrm>
            <a:off x="618260" y="3808557"/>
            <a:ext cx="7849880" cy="2623928"/>
          </a:xfrm>
          <a:ln>
            <a:solidFill>
              <a:schemeClr val="tx2"/>
            </a:solidFill>
          </a:ln>
        </p:spPr>
        <p:txBody>
          <a:bodyPr lIns="72000" tIns="72000" rIns="72000" bIns="72000">
            <a:normAutofit lnSpcReduction="10000"/>
          </a:bodyPr>
          <a:lstStyle/>
          <a:p>
            <a:pPr marL="0" indent="0" algn="just">
              <a:buNone/>
            </a:pPr>
            <a:r>
              <a:rPr lang="en-GB" b="1" dirty="0">
                <a:solidFill>
                  <a:schemeClr val="accent1"/>
                </a:solidFill>
              </a:rPr>
              <a:t>Market</a:t>
            </a:r>
            <a:r>
              <a:rPr lang="en-GB" b="1" dirty="0">
                <a:solidFill>
                  <a:schemeClr val="accent1"/>
                </a:solidFill>
                <a:cs typeface="Arial" panose="020B0604020202020204" pitchFamily="34" charset="0"/>
              </a:rPr>
              <a:t> </a:t>
            </a:r>
            <a:r>
              <a:rPr lang="en-GB" b="1" dirty="0">
                <a:solidFill>
                  <a:schemeClr val="accent1"/>
                </a:solidFill>
              </a:rPr>
              <a:t>Area</a:t>
            </a:r>
            <a:r>
              <a:rPr lang="en-GB" b="1" dirty="0">
                <a:solidFill>
                  <a:schemeClr val="accent1"/>
                </a:solidFill>
                <a:cs typeface="Arial" panose="020B0604020202020204" pitchFamily="34" charset="0"/>
              </a:rPr>
              <a:t> </a:t>
            </a:r>
          </a:p>
          <a:p>
            <a:pPr marL="285750" indent="-285750" algn="just">
              <a:buFont typeface="Arial"/>
              <a:buChar char="•"/>
            </a:pPr>
            <a:r>
              <a:rPr lang="en-GB" sz="1600" dirty="0">
                <a:cs typeface="Arial" panose="020B0604020202020204" pitchFamily="34" charset="0"/>
              </a:rPr>
              <a:t>Represents a ‘price area’ in the delivery grid </a:t>
            </a:r>
          </a:p>
          <a:p>
            <a:pPr marL="285750" indent="-285750" algn="just">
              <a:buFont typeface="Arial"/>
              <a:buChar char="•"/>
            </a:pPr>
            <a:r>
              <a:rPr lang="en-GB" sz="1600" dirty="0">
                <a:cs typeface="Arial" panose="020B0604020202020204" pitchFamily="34" charset="0"/>
              </a:rPr>
              <a:t>Can contain one or more Delivery Areas </a:t>
            </a:r>
          </a:p>
          <a:p>
            <a:pPr marL="285750" indent="-285750" algn="just">
              <a:buFont typeface="Arial"/>
              <a:buChar char="•"/>
            </a:pPr>
            <a:r>
              <a:rPr lang="en-GB" sz="1600" dirty="0">
                <a:cs typeface="Arial" panose="020B0604020202020204" pitchFamily="34" charset="0"/>
              </a:rPr>
              <a:t>Transport capacity between Market Areas is subject to congestion</a:t>
            </a:r>
          </a:p>
          <a:p>
            <a:pPr marL="285750" indent="-285750" algn="just">
              <a:buFont typeface="Arial"/>
              <a:buChar char="•"/>
            </a:pPr>
            <a:endParaRPr lang="en-GB" sz="1600" dirty="0">
              <a:solidFill>
                <a:schemeClr val="bg1">
                  <a:lumMod val="50000"/>
                </a:schemeClr>
              </a:solidFill>
              <a:cs typeface="Arial" panose="020B0604020202020204" pitchFamily="34" charset="0"/>
            </a:endParaRPr>
          </a:p>
          <a:p>
            <a:pPr marL="0" lvl="0" indent="0" algn="just">
              <a:buNone/>
            </a:pPr>
            <a:r>
              <a:rPr lang="en-GB" b="1" dirty="0">
                <a:solidFill>
                  <a:schemeClr val="accent1"/>
                </a:solidFill>
              </a:rPr>
              <a:t>Delivery Area </a:t>
            </a:r>
          </a:p>
          <a:p>
            <a:pPr marL="285750" lvl="0" indent="-285750" algn="just">
              <a:buFont typeface="Arial"/>
              <a:buChar char="•"/>
            </a:pPr>
            <a:r>
              <a:rPr lang="en-GB" sz="1600" dirty="0">
                <a:cs typeface="Arial" panose="020B0604020202020204" pitchFamily="34" charset="0"/>
              </a:rPr>
              <a:t>Represents an area in the delivery grid which is managed by one TSO</a:t>
            </a:r>
          </a:p>
          <a:p>
            <a:pPr marL="285750" lvl="0" indent="-285750" algn="just">
              <a:buFont typeface="Arial"/>
              <a:buChar char="•"/>
            </a:pPr>
            <a:r>
              <a:rPr lang="en-GB" sz="1600" dirty="0">
                <a:cs typeface="Arial" panose="020B0604020202020204" pitchFamily="34" charset="0"/>
              </a:rPr>
              <a:t>Order entry is into a Delivery Area (from which a bought commodity is received, or to which a sold commodity is delivered</a:t>
            </a:r>
            <a:r>
              <a:rPr lang="en-GB" sz="1600" dirty="0" smtClean="0">
                <a:cs typeface="Arial" panose="020B0604020202020204" pitchFamily="34" charset="0"/>
              </a:rPr>
              <a:t>)</a:t>
            </a:r>
            <a:endParaRPr lang="en-US" sz="1600" dirty="0"/>
          </a:p>
          <a:p>
            <a:pPr marL="0" indent="0">
              <a:buNone/>
            </a:pPr>
            <a:endParaRPr lang="en-GB" sz="1600" dirty="0"/>
          </a:p>
          <a:p>
            <a:endParaRPr lang="en-GB" sz="1600" dirty="0"/>
          </a:p>
        </p:txBody>
      </p:sp>
      <p:pic>
        <p:nvPicPr>
          <p:cNvPr id="7" name="Imagen 6"/>
          <p:cNvPicPr>
            <a:picLocks noChangeAspect="1"/>
          </p:cNvPicPr>
          <p:nvPr/>
        </p:nvPicPr>
        <p:blipFill>
          <a:blip r:embed="rId3"/>
          <a:stretch>
            <a:fillRect/>
          </a:stretch>
        </p:blipFill>
        <p:spPr>
          <a:xfrm>
            <a:off x="622686" y="1356921"/>
            <a:ext cx="5413942" cy="2372106"/>
          </a:xfrm>
          <a:prstGeom prst="rect">
            <a:avLst/>
          </a:prstGeom>
        </p:spPr>
      </p:pic>
    </p:spTree>
    <p:extLst>
      <p:ext uri="{BB962C8B-B14F-4D97-AF65-F5344CB8AC3E}">
        <p14:creationId xmlns:p14="http://schemas.microsoft.com/office/powerpoint/2010/main" val="6931113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smtClean="0"/>
              <a:t>XBID – CMM. </a:t>
            </a:r>
            <a:r>
              <a:rPr lang="en-GB" dirty="0"/>
              <a:t>Interconnectors and borders</a:t>
            </a:r>
            <a:endParaRPr lang="es-ES"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25</a:t>
            </a:fld>
            <a:endParaRPr lang="de-DE" dirty="0"/>
          </a:p>
        </p:txBody>
      </p:sp>
      <p:graphicFrame>
        <p:nvGraphicFramePr>
          <p:cNvPr id="6" name="Diagram 55"/>
          <p:cNvGraphicFramePr/>
          <p:nvPr>
            <p:extLst>
              <p:ext uri="{D42A27DB-BD31-4B8C-83A1-F6EECF244321}">
                <p14:modId xmlns:p14="http://schemas.microsoft.com/office/powerpoint/2010/main" val="2516028986"/>
              </p:ext>
            </p:extLst>
          </p:nvPr>
        </p:nvGraphicFramePr>
        <p:xfrm>
          <a:off x="1461537" y="3905530"/>
          <a:ext cx="5733535" cy="26145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Oval 56"/>
          <p:cNvSpPr/>
          <p:nvPr/>
        </p:nvSpPr>
        <p:spPr bwMode="auto">
          <a:xfrm rot="20295549">
            <a:off x="6662301" y="4049213"/>
            <a:ext cx="1821308" cy="1026262"/>
          </a:xfrm>
          <a:prstGeom prst="ellipse">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de-DE" sz="1200" b="1" dirty="0" err="1">
                <a:solidFill>
                  <a:schemeClr val="bg1"/>
                </a:solidFill>
                <a:latin typeface="Arial" charset="0"/>
              </a:rPr>
              <a:t>Interconnector</a:t>
            </a:r>
            <a:endParaRPr lang="de-DE" sz="1200" dirty="0">
              <a:solidFill>
                <a:schemeClr val="bg1"/>
              </a:solidFill>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dirty="0">
                <a:ln>
                  <a:noFill/>
                </a:ln>
                <a:solidFill>
                  <a:schemeClr val="bg1"/>
                </a:solidFill>
                <a:effectLst/>
                <a:latin typeface="Arial" charset="0"/>
              </a:rPr>
              <a:t>A</a:t>
            </a:r>
            <a:r>
              <a:rPr kumimoji="0" lang="de-DE" sz="1200" b="0" i="0" u="none" strike="noStrike" cap="none" normalizeH="0" dirty="0">
                <a:ln>
                  <a:noFill/>
                </a:ln>
                <a:solidFill>
                  <a:schemeClr val="bg1"/>
                </a:solidFill>
                <a:effectLst/>
                <a:latin typeface="Arial" charset="0"/>
              </a:rPr>
              <a:t> connection between two </a:t>
            </a:r>
            <a:r>
              <a:rPr kumimoji="0" lang="de-DE" sz="1200" b="0" i="1" u="none" strike="noStrike" cap="none" normalizeH="0" dirty="0">
                <a:ln>
                  <a:noFill/>
                </a:ln>
                <a:solidFill>
                  <a:schemeClr val="bg1"/>
                </a:solidFill>
                <a:effectLst/>
                <a:latin typeface="Arial" charset="0"/>
              </a:rPr>
              <a:t>Delivery Areas.</a:t>
            </a:r>
            <a:endParaRPr kumimoji="0" lang="en-GB" sz="1200" b="0" i="1" u="none" strike="noStrike" cap="none" normalizeH="0" baseline="0" dirty="0">
              <a:ln>
                <a:noFill/>
              </a:ln>
              <a:solidFill>
                <a:schemeClr val="bg1"/>
              </a:solidFill>
              <a:effectLst/>
              <a:latin typeface="Arial" charset="0"/>
            </a:endParaRPr>
          </a:p>
        </p:txBody>
      </p:sp>
      <p:sp>
        <p:nvSpPr>
          <p:cNvPr id="8" name="Oval 57"/>
          <p:cNvSpPr/>
          <p:nvPr/>
        </p:nvSpPr>
        <p:spPr bwMode="auto">
          <a:xfrm rot="20674725">
            <a:off x="6818168" y="5377812"/>
            <a:ext cx="1860805" cy="1036956"/>
          </a:xfrm>
          <a:prstGeom prst="ellipse">
            <a:avLst/>
          </a:prstGeom>
          <a:solidFill>
            <a:schemeClr val="accent2">
              <a:lumMod val="60000"/>
              <a:lumOff val="40000"/>
            </a:schemeClr>
          </a:solidFill>
          <a:ln w="6350" cap="flat" cmpd="sng" algn="ctr">
            <a:solidFill>
              <a:schemeClr val="tx1"/>
            </a:solidFill>
            <a:prstDash val="solid"/>
            <a:round/>
            <a:headEnd type="none" w="med" len="med"/>
            <a:tailEnd type="none" w="med" len="med"/>
          </a:ln>
          <a:effectLst/>
          <a:extLst/>
        </p:spPr>
        <p:txBody>
          <a:bodyPr vert="horz" wrap="square" lIns="90487" tIns="44450" rIns="90487" bIns="44450" numCol="1" rtlCol="0" anchor="t" anchorCtr="0" compatLnSpc="1">
            <a:prstTxWarp prst="textNoShape">
              <a:avLst/>
            </a:prstTxWarp>
          </a:bodyPr>
          <a:lstStyle/>
          <a:p>
            <a:pPr fontAlgn="base">
              <a:spcBef>
                <a:spcPct val="0"/>
              </a:spcBef>
              <a:spcAft>
                <a:spcPct val="0"/>
              </a:spcAft>
            </a:pPr>
            <a:r>
              <a:rPr lang="de-DE" sz="1200" b="1" dirty="0" err="1">
                <a:solidFill>
                  <a:schemeClr val="bg1"/>
                </a:solidFill>
                <a:latin typeface="Arial" charset="0"/>
              </a:rPr>
              <a:t>Border</a:t>
            </a:r>
            <a:endParaRPr lang="de-DE" sz="1200" b="1" dirty="0">
              <a:solidFill>
                <a:schemeClr val="bg1"/>
              </a:solidFill>
              <a:latin typeface="Arial" charset="0"/>
            </a:endParaRPr>
          </a:p>
          <a:p>
            <a:pPr fontAlgn="base">
              <a:spcBef>
                <a:spcPct val="0"/>
              </a:spcBef>
              <a:spcAft>
                <a:spcPct val="0"/>
              </a:spcAft>
            </a:pPr>
            <a:r>
              <a:rPr lang="de-DE" sz="1200" dirty="0">
                <a:solidFill>
                  <a:schemeClr val="bg1"/>
                </a:solidFill>
                <a:latin typeface="Arial" charset="0"/>
              </a:rPr>
              <a:t>A connection between two Market Areas</a:t>
            </a:r>
            <a:r>
              <a:rPr lang="de-DE" sz="1200" b="1" dirty="0">
                <a:solidFill>
                  <a:schemeClr val="bg1"/>
                </a:solidFill>
                <a:latin typeface="Arial" charset="0"/>
              </a:rPr>
              <a:t>.</a:t>
            </a:r>
            <a:endParaRPr lang="en-GB" sz="1200" b="1" dirty="0">
              <a:solidFill>
                <a:schemeClr val="bg1"/>
              </a:solidFill>
              <a:latin typeface="Arial" charset="0"/>
            </a:endParaRPr>
          </a:p>
        </p:txBody>
      </p:sp>
      <p:pic>
        <p:nvPicPr>
          <p:cNvPr id="11" name="Picture 68"/>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99482" y="1313174"/>
            <a:ext cx="5229225" cy="2435225"/>
          </a:xfrm>
          <a:prstGeom prst="rect">
            <a:avLst/>
          </a:prstGeom>
          <a:noFill/>
          <a:ln>
            <a:solidFill>
              <a:schemeClr val="accent1">
                <a:alpha val="33000"/>
              </a:schemeClr>
            </a:solidFill>
          </a:ln>
        </p:spPr>
      </p:pic>
    </p:spTree>
    <p:extLst>
      <p:ext uri="{BB962C8B-B14F-4D97-AF65-F5344CB8AC3E}">
        <p14:creationId xmlns:p14="http://schemas.microsoft.com/office/powerpoint/2010/main" val="25995925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1"/>
          </p:nvPr>
        </p:nvSpPr>
        <p:spPr/>
        <p:txBody>
          <a:bodyPr/>
          <a:lstStyle/>
          <a:p>
            <a:fld id="{AD89DE65-C7D9-40CE-B96E-B8C3E7B233C5}" type="slidenum">
              <a:rPr lang="de-DE" smtClean="0"/>
              <a:pPr/>
              <a:t>26</a:t>
            </a:fld>
            <a:endParaRPr lang="de-DE" dirty="0"/>
          </a:p>
        </p:txBody>
      </p:sp>
      <p:pic>
        <p:nvPicPr>
          <p:cNvPr id="5" name="Imagen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3468" y="677685"/>
            <a:ext cx="5176800" cy="6180315"/>
          </a:xfrm>
          <a:prstGeom prst="rect">
            <a:avLst/>
          </a:prstGeom>
        </p:spPr>
      </p:pic>
      <p:graphicFrame>
        <p:nvGraphicFramePr>
          <p:cNvPr id="7" name="Tabla 6"/>
          <p:cNvGraphicFramePr>
            <a:graphicFrameLocks noGrp="1"/>
          </p:cNvGraphicFramePr>
          <p:nvPr>
            <p:extLst>
              <p:ext uri="{D42A27DB-BD31-4B8C-83A1-F6EECF244321}">
                <p14:modId xmlns:p14="http://schemas.microsoft.com/office/powerpoint/2010/main" val="4098609526"/>
              </p:ext>
            </p:extLst>
          </p:nvPr>
        </p:nvGraphicFramePr>
        <p:xfrm>
          <a:off x="540386" y="4180826"/>
          <a:ext cx="2736214" cy="1538937"/>
        </p:xfrm>
        <a:graphic>
          <a:graphicData uri="http://schemas.openxmlformats.org/drawingml/2006/table">
            <a:tbl>
              <a:tblPr firstRow="1" bandRow="1">
                <a:tableStyleId>{7DF18680-E054-41AD-8BC1-D1AEF772440D}</a:tableStyleId>
              </a:tblPr>
              <a:tblGrid>
                <a:gridCol w="1156249">
                  <a:extLst>
                    <a:ext uri="{9D8B030D-6E8A-4147-A177-3AD203B41FA5}">
                      <a16:colId xmlns="" xmlns:a16="http://schemas.microsoft.com/office/drawing/2014/main" val="20000"/>
                    </a:ext>
                  </a:extLst>
                </a:gridCol>
                <a:gridCol w="1579965">
                  <a:extLst>
                    <a:ext uri="{9D8B030D-6E8A-4147-A177-3AD203B41FA5}">
                      <a16:colId xmlns="" xmlns:a16="http://schemas.microsoft.com/office/drawing/2014/main" val="20001"/>
                    </a:ext>
                  </a:extLst>
                </a:gridCol>
              </a:tblGrid>
              <a:tr h="413937">
                <a:tc gridSpan="2">
                  <a:txBody>
                    <a:bodyPr/>
                    <a:lstStyle/>
                    <a:p>
                      <a:r>
                        <a:rPr lang="es-ES" dirty="0" smtClean="0"/>
                        <a:t>Legend</a:t>
                      </a:r>
                      <a:endParaRPr lang="es-ES" dirty="0"/>
                    </a:p>
                  </a:txBody>
                  <a:tcPr/>
                </a:tc>
                <a:tc hMerge="1">
                  <a:txBody>
                    <a:bodyPr/>
                    <a:lstStyle/>
                    <a:p>
                      <a:endParaRPr lang="es-ES" dirty="0"/>
                    </a:p>
                  </a:txBody>
                  <a:tcPr/>
                </a:tc>
                <a:extLst>
                  <a:ext uri="{0D108BD9-81ED-4DB2-BD59-A6C34878D82A}">
                    <a16:rowId xmlns="" xmlns:a16="http://schemas.microsoft.com/office/drawing/2014/main" val="10000"/>
                  </a:ext>
                </a:extLst>
              </a:tr>
              <a:tr h="375000">
                <a:tc>
                  <a:txBody>
                    <a:bodyPr/>
                    <a:lstStyle/>
                    <a:p>
                      <a:endParaRPr lang="es-ES"/>
                    </a:p>
                  </a:txBody>
                  <a:tcPr/>
                </a:tc>
                <a:tc>
                  <a:txBody>
                    <a:bodyPr/>
                    <a:lstStyle/>
                    <a:p>
                      <a:r>
                        <a:rPr lang="en-GB" sz="1600" noProof="0" dirty="0" smtClean="0"/>
                        <a:t>Delivery Area</a:t>
                      </a:r>
                      <a:endParaRPr lang="en-GB" sz="1600" noProof="0" dirty="0"/>
                    </a:p>
                  </a:txBody>
                  <a:tcPr/>
                </a:tc>
                <a:extLst>
                  <a:ext uri="{0D108BD9-81ED-4DB2-BD59-A6C34878D82A}">
                    <a16:rowId xmlns="" xmlns:a16="http://schemas.microsoft.com/office/drawing/2014/main" val="10001"/>
                  </a:ext>
                </a:extLst>
              </a:tr>
              <a:tr h="375000">
                <a:tc>
                  <a:txBody>
                    <a:bodyPr/>
                    <a:lstStyle/>
                    <a:p>
                      <a:endParaRPr lang="es-ES" dirty="0"/>
                    </a:p>
                  </a:txBody>
                  <a:tcPr/>
                </a:tc>
                <a:tc>
                  <a:txBody>
                    <a:bodyPr/>
                    <a:lstStyle/>
                    <a:p>
                      <a:r>
                        <a:rPr lang="en-GB" sz="1600" noProof="0" dirty="0" smtClean="0"/>
                        <a:t>IC</a:t>
                      </a:r>
                      <a:endParaRPr lang="en-GB" sz="1600" noProof="0" dirty="0"/>
                    </a:p>
                  </a:txBody>
                  <a:tcPr/>
                </a:tc>
                <a:extLst>
                  <a:ext uri="{0D108BD9-81ED-4DB2-BD59-A6C34878D82A}">
                    <a16:rowId xmlns="" xmlns:a16="http://schemas.microsoft.com/office/drawing/2014/main" val="10002"/>
                  </a:ext>
                </a:extLst>
              </a:tr>
              <a:tr h="375000">
                <a:tc>
                  <a:txBody>
                    <a:bodyPr/>
                    <a:lstStyle/>
                    <a:p>
                      <a:endParaRPr lang="es-E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noProof="0" dirty="0" smtClean="0"/>
                        <a:t>IC ramp limit</a:t>
                      </a:r>
                      <a:endParaRPr lang="en-GB" sz="1600" noProof="0" dirty="0"/>
                    </a:p>
                  </a:txBody>
                  <a:tcPr/>
                </a:tc>
                <a:extLst>
                  <a:ext uri="{0D108BD9-81ED-4DB2-BD59-A6C34878D82A}">
                    <a16:rowId xmlns="" xmlns:a16="http://schemas.microsoft.com/office/drawing/2014/main" val="10003"/>
                  </a:ext>
                </a:extLst>
              </a:tr>
            </a:tbl>
          </a:graphicData>
        </a:graphic>
      </p:graphicFrame>
      <p:sp>
        <p:nvSpPr>
          <p:cNvPr id="2" name="Título 1"/>
          <p:cNvSpPr>
            <a:spLocks noGrp="1"/>
          </p:cNvSpPr>
          <p:nvPr>
            <p:ph type="title"/>
          </p:nvPr>
        </p:nvSpPr>
        <p:spPr/>
        <p:txBody>
          <a:bodyPr/>
          <a:lstStyle/>
          <a:p>
            <a:r>
              <a:rPr lang="en-GB" dirty="0" smtClean="0"/>
              <a:t>XBID – CMM. </a:t>
            </a:r>
            <a:r>
              <a:rPr lang="en-GB" dirty="0"/>
              <a:t>Topology </a:t>
            </a:r>
            <a:r>
              <a:rPr lang="en-GB" dirty="0" smtClean="0"/>
              <a:t>Example</a:t>
            </a:r>
            <a:endParaRPr lang="es-ES" dirty="0"/>
          </a:p>
        </p:txBody>
      </p:sp>
      <p:sp>
        <p:nvSpPr>
          <p:cNvPr id="4" name="Elipse 3"/>
          <p:cNvSpPr/>
          <p:nvPr/>
        </p:nvSpPr>
        <p:spPr>
          <a:xfrm>
            <a:off x="845628" y="4686352"/>
            <a:ext cx="535459" cy="214183"/>
          </a:xfrm>
          <a:prstGeom prst="ellipse">
            <a:avLst/>
          </a:pr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ES" sz="800" dirty="0">
                <a:solidFill>
                  <a:schemeClr val="tx1"/>
                </a:solidFill>
              </a:rPr>
              <a:t>FR</a:t>
            </a:r>
          </a:p>
        </p:txBody>
      </p:sp>
      <p:cxnSp>
        <p:nvCxnSpPr>
          <p:cNvPr id="8" name="Conector recto de flecha 7"/>
          <p:cNvCxnSpPr/>
          <p:nvPr/>
        </p:nvCxnSpPr>
        <p:spPr>
          <a:xfrm flipV="1">
            <a:off x="819149" y="5118280"/>
            <a:ext cx="719138" cy="311"/>
          </a:xfrm>
          <a:prstGeom prst="straightConnector1">
            <a:avLst/>
          </a:prstGeom>
          <a:ln w="28575">
            <a:solidFill>
              <a:srgbClr val="4F81BD"/>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ector recto de flecha 16"/>
          <p:cNvCxnSpPr/>
          <p:nvPr/>
        </p:nvCxnSpPr>
        <p:spPr>
          <a:xfrm flipV="1">
            <a:off x="809616" y="5518498"/>
            <a:ext cx="719138" cy="311"/>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9152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smtClean="0"/>
              <a:t>XBID – CMM. Process</a:t>
            </a:r>
            <a:endParaRPr lang="es-ES"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27</a:t>
            </a:fld>
            <a:endParaRPr lang="de-DE" dirty="0"/>
          </a:p>
        </p:txBody>
      </p:sp>
      <p:sp>
        <p:nvSpPr>
          <p:cNvPr id="4" name="Marcador de texto 3"/>
          <p:cNvSpPr>
            <a:spLocks noGrp="1"/>
          </p:cNvSpPr>
          <p:nvPr>
            <p:ph type="body" sz="quarter" idx="13"/>
          </p:nvPr>
        </p:nvSpPr>
        <p:spPr/>
        <p:txBody>
          <a:bodyPr/>
          <a:lstStyle/>
          <a:p>
            <a:endParaRPr lang="es-ES" dirty="0"/>
          </a:p>
          <a:p>
            <a:endParaRPr lang="es-ES" dirty="0"/>
          </a:p>
          <a:p>
            <a:endParaRPr lang="es-ES" dirty="0"/>
          </a:p>
          <a:p>
            <a:endParaRPr lang="es-ES" dirty="0"/>
          </a:p>
          <a:p>
            <a:endParaRPr lang="es-ES" dirty="0"/>
          </a:p>
        </p:txBody>
      </p:sp>
      <p:sp>
        <p:nvSpPr>
          <p:cNvPr id="7" name="Marcador de número de diapositiva 2"/>
          <p:cNvSpPr txBox="1">
            <a:spLocks/>
          </p:cNvSpPr>
          <p:nvPr/>
        </p:nvSpPr>
        <p:spPr>
          <a:xfrm>
            <a:off x="5657850" y="6524637"/>
            <a:ext cx="571500" cy="246221"/>
          </a:xfrm>
          <a:prstGeom prst="rect">
            <a:avLst/>
          </a:prstGeom>
          <a:noFill/>
        </p:spPr>
        <p:txBody>
          <a:bodyPr wrap="square" lIns="0" tIns="0" rIns="0" bIns="0">
            <a:spAutoFit/>
          </a:bodyPr>
          <a:lstStyle>
            <a:defPPr>
              <a:defRPr lang="de-DE"/>
            </a:defPPr>
            <a:lvl1pPr marL="0" algn="l" defTabSz="914400" rtl="0" eaLnBrk="1" latinLnBrk="0" hangingPunct="1">
              <a:defRPr sz="16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D89DE65-C7D9-40CE-B96E-B8C3E7B233C5}" type="slidenum">
              <a:rPr lang="de-DE" smtClean="0"/>
              <a:pPr/>
              <a:t>27</a:t>
            </a:fld>
            <a:endParaRPr lang="de-DE" dirty="0"/>
          </a:p>
        </p:txBody>
      </p:sp>
      <p:sp>
        <p:nvSpPr>
          <p:cNvPr id="8" name="Flecha derecha 7"/>
          <p:cNvSpPr/>
          <p:nvPr/>
        </p:nvSpPr>
        <p:spPr>
          <a:xfrm>
            <a:off x="415742" y="1127054"/>
            <a:ext cx="8493942" cy="3572167"/>
          </a:xfrm>
          <a:prstGeom prst="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de-DE"/>
          </a:p>
        </p:txBody>
      </p:sp>
      <p:sp>
        <p:nvSpPr>
          <p:cNvPr id="9" name="Forma libre 8"/>
          <p:cNvSpPr/>
          <p:nvPr/>
        </p:nvSpPr>
        <p:spPr>
          <a:xfrm>
            <a:off x="417191" y="2039764"/>
            <a:ext cx="926579" cy="1712550"/>
          </a:xfrm>
          <a:custGeom>
            <a:avLst/>
            <a:gdLst>
              <a:gd name="connsiteX0" fmla="*/ 0 w 832795"/>
              <a:gd name="connsiteY0" fmla="*/ 138802 h 1432242"/>
              <a:gd name="connsiteX1" fmla="*/ 138802 w 832795"/>
              <a:gd name="connsiteY1" fmla="*/ 0 h 1432242"/>
              <a:gd name="connsiteX2" fmla="*/ 693993 w 832795"/>
              <a:gd name="connsiteY2" fmla="*/ 0 h 1432242"/>
              <a:gd name="connsiteX3" fmla="*/ 832795 w 832795"/>
              <a:gd name="connsiteY3" fmla="*/ 138802 h 1432242"/>
              <a:gd name="connsiteX4" fmla="*/ 832795 w 832795"/>
              <a:gd name="connsiteY4" fmla="*/ 1293440 h 1432242"/>
              <a:gd name="connsiteX5" fmla="*/ 693993 w 832795"/>
              <a:gd name="connsiteY5" fmla="*/ 1432242 h 1432242"/>
              <a:gd name="connsiteX6" fmla="*/ 138802 w 832795"/>
              <a:gd name="connsiteY6" fmla="*/ 1432242 h 1432242"/>
              <a:gd name="connsiteX7" fmla="*/ 0 w 832795"/>
              <a:gd name="connsiteY7" fmla="*/ 1293440 h 1432242"/>
              <a:gd name="connsiteX8" fmla="*/ 0 w 832795"/>
              <a:gd name="connsiteY8" fmla="*/ 138802 h 1432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2795" h="1432242">
                <a:moveTo>
                  <a:pt x="0" y="138802"/>
                </a:moveTo>
                <a:cubicBezTo>
                  <a:pt x="0" y="62144"/>
                  <a:pt x="62144" y="0"/>
                  <a:pt x="138802" y="0"/>
                </a:cubicBezTo>
                <a:lnTo>
                  <a:pt x="693993" y="0"/>
                </a:lnTo>
                <a:cubicBezTo>
                  <a:pt x="770651" y="0"/>
                  <a:pt x="832795" y="62144"/>
                  <a:pt x="832795" y="138802"/>
                </a:cubicBezTo>
                <a:lnTo>
                  <a:pt x="832795" y="1293440"/>
                </a:lnTo>
                <a:cubicBezTo>
                  <a:pt x="832795" y="1370098"/>
                  <a:pt x="770651" y="1432242"/>
                  <a:pt x="693993" y="1432242"/>
                </a:cubicBezTo>
                <a:lnTo>
                  <a:pt x="138802" y="1432242"/>
                </a:lnTo>
                <a:cubicBezTo>
                  <a:pt x="62144" y="1432242"/>
                  <a:pt x="0" y="1370098"/>
                  <a:pt x="0" y="1293440"/>
                </a:cubicBezTo>
                <a:lnTo>
                  <a:pt x="0" y="1388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marL="0" lvl="0" indent="0" algn="l" defTabSz="355600">
              <a:lnSpc>
                <a:spcPct val="90000"/>
              </a:lnSpc>
              <a:spcBef>
                <a:spcPct val="0"/>
              </a:spcBef>
              <a:spcAft>
                <a:spcPct val="35000"/>
              </a:spcAft>
              <a:buNone/>
            </a:pPr>
            <a:r>
              <a:rPr lang="en-GB" sz="1000" b="1" kern="1200" noProof="0" dirty="0">
                <a:solidFill>
                  <a:schemeClr val="bg1"/>
                </a:solidFill>
                <a:latin typeface="Arial" panose="020B0604020202020204" pitchFamily="34" charset="0"/>
                <a:cs typeface="Arial" panose="020B0604020202020204" pitchFamily="34" charset="0"/>
              </a:rPr>
              <a:t>Capacity Information is provided by TSOs</a:t>
            </a:r>
          </a:p>
          <a:p>
            <a:pPr marL="171450" lvl="0" indent="-171450" algn="l" defTabSz="355600">
              <a:lnSpc>
                <a:spcPct val="90000"/>
              </a:lnSpc>
              <a:spcBef>
                <a:spcPct val="0"/>
              </a:spcBef>
              <a:spcAft>
                <a:spcPct val="35000"/>
              </a:spcAft>
              <a:buFont typeface="Symbol" panose="05050102010706020507" pitchFamily="18" charset="2"/>
              <a:buChar char="-"/>
            </a:pPr>
            <a:r>
              <a:rPr kumimoji="0" lang="en-GB" sz="1000" i="0" u="none" strike="noStrike" kern="1200" normalizeH="0" baseline="0" noProof="0" dirty="0" smtClean="0">
                <a:solidFill>
                  <a:schemeClr val="bg1"/>
                </a:solidFill>
                <a:latin typeface="Arial" panose="020B0604020202020204" pitchFamily="34" charset="0"/>
                <a:cs typeface="Arial" panose="020B0604020202020204" pitchFamily="34" charset="0"/>
              </a:rPr>
              <a:t>GUI</a:t>
            </a:r>
            <a:endParaRPr kumimoji="0" lang="en-GB" sz="1000" i="0" u="none" strike="noStrike" kern="1200" normalizeH="0" baseline="0" noProof="0" dirty="0">
              <a:solidFill>
                <a:schemeClr val="bg1"/>
              </a:solidFill>
              <a:latin typeface="Arial" panose="020B0604020202020204" pitchFamily="34" charset="0"/>
              <a:cs typeface="Arial" panose="020B0604020202020204" pitchFamily="34" charset="0"/>
            </a:endParaRPr>
          </a:p>
          <a:p>
            <a:pPr marL="171450" lvl="0" indent="-171450" algn="l" defTabSz="355600">
              <a:lnSpc>
                <a:spcPct val="90000"/>
              </a:lnSpc>
              <a:spcBef>
                <a:spcPct val="0"/>
              </a:spcBef>
              <a:spcAft>
                <a:spcPct val="35000"/>
              </a:spcAft>
              <a:buFont typeface="Symbol" panose="05050102010706020507" pitchFamily="18" charset="2"/>
              <a:buChar char="-"/>
            </a:pPr>
            <a:r>
              <a:rPr lang="en-GB" sz="1000" kern="1200" noProof="0" dirty="0" smtClean="0">
                <a:solidFill>
                  <a:schemeClr val="bg1"/>
                </a:solidFill>
                <a:latin typeface="Arial" panose="020B0604020202020204" pitchFamily="34" charset="0"/>
                <a:cs typeface="Arial" panose="020B0604020202020204" pitchFamily="34" charset="0"/>
              </a:rPr>
              <a:t>Email</a:t>
            </a:r>
            <a:endParaRPr lang="en-GB" sz="1000" kern="1200" noProof="0" dirty="0">
              <a:solidFill>
                <a:schemeClr val="bg1"/>
              </a:solidFill>
              <a:latin typeface="Arial" panose="020B0604020202020204" pitchFamily="34" charset="0"/>
              <a:cs typeface="Arial" panose="020B0604020202020204" pitchFamily="34" charset="0"/>
            </a:endParaRPr>
          </a:p>
          <a:p>
            <a:pPr marL="171450" lvl="0" indent="-171450" algn="l" defTabSz="355600">
              <a:lnSpc>
                <a:spcPct val="90000"/>
              </a:lnSpc>
              <a:spcBef>
                <a:spcPct val="0"/>
              </a:spcBef>
              <a:spcAft>
                <a:spcPct val="35000"/>
              </a:spcAft>
              <a:buFont typeface="Symbol" panose="05050102010706020507" pitchFamily="18" charset="2"/>
              <a:buChar char="-"/>
            </a:pPr>
            <a:r>
              <a:rPr kumimoji="0" lang="en-GB" sz="1000" i="0" u="none" strike="noStrike" kern="1200" normalizeH="0" baseline="0" noProof="0" dirty="0" smtClean="0">
                <a:solidFill>
                  <a:schemeClr val="bg1"/>
                </a:solidFill>
                <a:latin typeface="Arial" panose="020B0604020202020204" pitchFamily="34" charset="0"/>
                <a:cs typeface="Arial" panose="020B0604020202020204" pitchFamily="34" charset="0"/>
              </a:rPr>
              <a:t>SCP</a:t>
            </a:r>
            <a:endParaRPr kumimoji="0" lang="en-GB" sz="1000" i="0" u="none" strike="noStrike" kern="1200" normalizeH="0" baseline="0" noProof="0" dirty="0">
              <a:solidFill>
                <a:schemeClr val="bg1"/>
              </a:solidFill>
              <a:latin typeface="Arial" panose="020B0604020202020204" pitchFamily="34" charset="0"/>
              <a:cs typeface="Arial" panose="020B0604020202020204" pitchFamily="34" charset="0"/>
            </a:endParaRPr>
          </a:p>
          <a:p>
            <a:pPr marL="171450" lvl="0" indent="-171450" algn="l" defTabSz="355600">
              <a:lnSpc>
                <a:spcPct val="90000"/>
              </a:lnSpc>
              <a:spcBef>
                <a:spcPct val="0"/>
              </a:spcBef>
              <a:spcAft>
                <a:spcPct val="35000"/>
              </a:spcAft>
              <a:buFont typeface="Symbol" panose="05050102010706020507" pitchFamily="18" charset="2"/>
              <a:buChar char="-"/>
            </a:pPr>
            <a:r>
              <a:rPr lang="en-GB" sz="1000" kern="1200" noProof="0" dirty="0" smtClean="0">
                <a:solidFill>
                  <a:schemeClr val="bg1"/>
                </a:solidFill>
                <a:latin typeface="Arial" panose="020B0604020202020204" pitchFamily="34" charset="0"/>
                <a:cs typeface="Arial" panose="020B0604020202020204" pitchFamily="34" charset="0"/>
              </a:rPr>
              <a:t>ECP</a:t>
            </a:r>
            <a:endParaRPr lang="en-GB" sz="1000" kern="1200" noProof="0" dirty="0">
              <a:solidFill>
                <a:schemeClr val="bg1"/>
              </a:solidFill>
              <a:latin typeface="Arial" panose="020B0604020202020204" pitchFamily="34" charset="0"/>
              <a:cs typeface="Arial" panose="020B0604020202020204" pitchFamily="34" charset="0"/>
            </a:endParaRPr>
          </a:p>
        </p:txBody>
      </p:sp>
      <p:sp>
        <p:nvSpPr>
          <p:cNvPr id="10" name="Forma libre 9"/>
          <p:cNvSpPr/>
          <p:nvPr/>
        </p:nvSpPr>
        <p:spPr>
          <a:xfrm>
            <a:off x="1439187" y="2039764"/>
            <a:ext cx="1038434" cy="1712550"/>
          </a:xfrm>
          <a:custGeom>
            <a:avLst/>
            <a:gdLst>
              <a:gd name="connsiteX0" fmla="*/ 0 w 953667"/>
              <a:gd name="connsiteY0" fmla="*/ 158948 h 1432242"/>
              <a:gd name="connsiteX1" fmla="*/ 158948 w 953667"/>
              <a:gd name="connsiteY1" fmla="*/ 0 h 1432242"/>
              <a:gd name="connsiteX2" fmla="*/ 794719 w 953667"/>
              <a:gd name="connsiteY2" fmla="*/ 0 h 1432242"/>
              <a:gd name="connsiteX3" fmla="*/ 953667 w 953667"/>
              <a:gd name="connsiteY3" fmla="*/ 158948 h 1432242"/>
              <a:gd name="connsiteX4" fmla="*/ 953667 w 953667"/>
              <a:gd name="connsiteY4" fmla="*/ 1273294 h 1432242"/>
              <a:gd name="connsiteX5" fmla="*/ 794719 w 953667"/>
              <a:gd name="connsiteY5" fmla="*/ 1432242 h 1432242"/>
              <a:gd name="connsiteX6" fmla="*/ 158948 w 953667"/>
              <a:gd name="connsiteY6" fmla="*/ 1432242 h 1432242"/>
              <a:gd name="connsiteX7" fmla="*/ 0 w 953667"/>
              <a:gd name="connsiteY7" fmla="*/ 1273294 h 1432242"/>
              <a:gd name="connsiteX8" fmla="*/ 0 w 953667"/>
              <a:gd name="connsiteY8" fmla="*/ 158948 h 1432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3667" h="1432242">
                <a:moveTo>
                  <a:pt x="0" y="158948"/>
                </a:moveTo>
                <a:cubicBezTo>
                  <a:pt x="0" y="71163"/>
                  <a:pt x="71163" y="0"/>
                  <a:pt x="158948" y="0"/>
                </a:cubicBezTo>
                <a:lnTo>
                  <a:pt x="794719" y="0"/>
                </a:lnTo>
                <a:cubicBezTo>
                  <a:pt x="882504" y="0"/>
                  <a:pt x="953667" y="71163"/>
                  <a:pt x="953667" y="158948"/>
                </a:cubicBezTo>
                <a:lnTo>
                  <a:pt x="953667" y="1273294"/>
                </a:lnTo>
                <a:cubicBezTo>
                  <a:pt x="953667" y="1361079"/>
                  <a:pt x="882504" y="1432242"/>
                  <a:pt x="794719" y="1432242"/>
                </a:cubicBezTo>
                <a:lnTo>
                  <a:pt x="158948" y="1432242"/>
                </a:lnTo>
                <a:cubicBezTo>
                  <a:pt x="71163" y="1432242"/>
                  <a:pt x="0" y="1361079"/>
                  <a:pt x="0" y="1273294"/>
                </a:cubicBezTo>
                <a:lnTo>
                  <a:pt x="0" y="15894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defTabSz="355600">
              <a:lnSpc>
                <a:spcPct val="90000"/>
              </a:lnSpc>
              <a:spcAft>
                <a:spcPct val="35000"/>
              </a:spcAft>
            </a:pPr>
            <a:r>
              <a:rPr lang="en-GB" sz="1000" b="1" dirty="0">
                <a:solidFill>
                  <a:schemeClr val="bg1"/>
                </a:solidFill>
                <a:latin typeface="Arial" panose="020B0604020202020204" pitchFamily="34" charset="0"/>
                <a:cs typeface="Arial" panose="020B0604020202020204" pitchFamily="34" charset="0"/>
              </a:rPr>
              <a:t>Capacity Calculation by CMM</a:t>
            </a:r>
          </a:p>
          <a:p>
            <a:pPr marL="171450" indent="-171450" defTabSz="355600">
              <a:lnSpc>
                <a:spcPct val="90000"/>
              </a:lnSpc>
              <a:spcAft>
                <a:spcPct val="35000"/>
              </a:spcAft>
              <a:buFont typeface="Symbol" panose="05050102010706020507" pitchFamily="18" charset="2"/>
              <a:buChar char="-"/>
            </a:pPr>
            <a:r>
              <a:rPr lang="en-GB" sz="1000" dirty="0" smtClean="0">
                <a:solidFill>
                  <a:schemeClr val="bg1"/>
                </a:solidFill>
                <a:latin typeface="Arial" panose="020B0604020202020204" pitchFamily="34" charset="0"/>
                <a:cs typeface="Arial" panose="020B0604020202020204" pitchFamily="34" charset="0"/>
              </a:rPr>
              <a:t>NTC </a:t>
            </a:r>
            <a:r>
              <a:rPr lang="en-GB" sz="1000" dirty="0">
                <a:solidFill>
                  <a:schemeClr val="bg1"/>
                </a:solidFill>
                <a:latin typeface="Arial" panose="020B0604020202020204" pitchFamily="34" charset="0"/>
                <a:cs typeface="Arial" panose="020B0604020202020204" pitchFamily="34" charset="0"/>
              </a:rPr>
              <a:t>and CAS vs. OC</a:t>
            </a:r>
          </a:p>
          <a:p>
            <a:pPr marL="171450" indent="-171450" defTabSz="355600">
              <a:lnSpc>
                <a:spcPct val="90000"/>
              </a:lnSpc>
              <a:spcAft>
                <a:spcPct val="35000"/>
              </a:spcAft>
              <a:buFont typeface="Symbol" panose="05050102010706020507" pitchFamily="18" charset="2"/>
              <a:buChar char="-"/>
            </a:pPr>
            <a:r>
              <a:rPr lang="en-GB" sz="1000" dirty="0" smtClean="0">
                <a:solidFill>
                  <a:schemeClr val="bg1"/>
                </a:solidFill>
                <a:latin typeface="Arial" panose="020B0604020202020204" pitchFamily="34" charset="0"/>
                <a:cs typeface="Arial" panose="020B0604020202020204" pitchFamily="34" charset="0"/>
              </a:rPr>
              <a:t>Ramping </a:t>
            </a:r>
            <a:r>
              <a:rPr lang="en-GB" sz="1000" dirty="0">
                <a:solidFill>
                  <a:schemeClr val="bg1"/>
                </a:solidFill>
                <a:latin typeface="Arial" panose="020B0604020202020204" pitchFamily="34" charset="0"/>
                <a:cs typeface="Arial" panose="020B0604020202020204" pitchFamily="34" charset="0"/>
              </a:rPr>
              <a:t>Constraints </a:t>
            </a:r>
          </a:p>
        </p:txBody>
      </p:sp>
      <p:sp>
        <p:nvSpPr>
          <p:cNvPr id="11" name="Forma libre 10"/>
          <p:cNvSpPr/>
          <p:nvPr/>
        </p:nvSpPr>
        <p:spPr>
          <a:xfrm>
            <a:off x="2568271" y="2039764"/>
            <a:ext cx="1264258" cy="1712550"/>
          </a:xfrm>
          <a:custGeom>
            <a:avLst/>
            <a:gdLst>
              <a:gd name="connsiteX0" fmla="*/ 0 w 1035164"/>
              <a:gd name="connsiteY0" fmla="*/ 172531 h 1395018"/>
              <a:gd name="connsiteX1" fmla="*/ 172531 w 1035164"/>
              <a:gd name="connsiteY1" fmla="*/ 0 h 1395018"/>
              <a:gd name="connsiteX2" fmla="*/ 862633 w 1035164"/>
              <a:gd name="connsiteY2" fmla="*/ 0 h 1395018"/>
              <a:gd name="connsiteX3" fmla="*/ 1035164 w 1035164"/>
              <a:gd name="connsiteY3" fmla="*/ 172531 h 1395018"/>
              <a:gd name="connsiteX4" fmla="*/ 1035164 w 1035164"/>
              <a:gd name="connsiteY4" fmla="*/ 1222487 h 1395018"/>
              <a:gd name="connsiteX5" fmla="*/ 862633 w 1035164"/>
              <a:gd name="connsiteY5" fmla="*/ 1395018 h 1395018"/>
              <a:gd name="connsiteX6" fmla="*/ 172531 w 1035164"/>
              <a:gd name="connsiteY6" fmla="*/ 1395018 h 1395018"/>
              <a:gd name="connsiteX7" fmla="*/ 0 w 1035164"/>
              <a:gd name="connsiteY7" fmla="*/ 1222487 h 1395018"/>
              <a:gd name="connsiteX8" fmla="*/ 0 w 1035164"/>
              <a:gd name="connsiteY8" fmla="*/ 172531 h 139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5164" h="1395018">
                <a:moveTo>
                  <a:pt x="0" y="172531"/>
                </a:moveTo>
                <a:cubicBezTo>
                  <a:pt x="0" y="77245"/>
                  <a:pt x="77245" y="0"/>
                  <a:pt x="172531" y="0"/>
                </a:cubicBezTo>
                <a:lnTo>
                  <a:pt x="862633" y="0"/>
                </a:lnTo>
                <a:cubicBezTo>
                  <a:pt x="957919" y="0"/>
                  <a:pt x="1035164" y="77245"/>
                  <a:pt x="1035164" y="172531"/>
                </a:cubicBezTo>
                <a:lnTo>
                  <a:pt x="1035164" y="1222487"/>
                </a:lnTo>
                <a:cubicBezTo>
                  <a:pt x="1035164" y="1317773"/>
                  <a:pt x="957919" y="1395018"/>
                  <a:pt x="862633" y="1395018"/>
                </a:cubicBezTo>
                <a:lnTo>
                  <a:pt x="172531" y="1395018"/>
                </a:lnTo>
                <a:cubicBezTo>
                  <a:pt x="77245" y="1395018"/>
                  <a:pt x="0" y="1317773"/>
                  <a:pt x="0" y="1222487"/>
                </a:cubicBezTo>
                <a:lnTo>
                  <a:pt x="0" y="17253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defTabSz="355600">
              <a:lnSpc>
                <a:spcPct val="90000"/>
              </a:lnSpc>
              <a:spcAft>
                <a:spcPts val="0"/>
              </a:spcAft>
            </a:pPr>
            <a:r>
              <a:rPr lang="en-GB" sz="1000" b="1" dirty="0" smtClean="0">
                <a:solidFill>
                  <a:schemeClr val="bg1"/>
                </a:solidFill>
                <a:latin typeface="Arial" panose="020B0604020202020204" pitchFamily="34" charset="0"/>
                <a:cs typeface="Arial" panose="020B0604020202020204" pitchFamily="34" charset="0"/>
              </a:rPr>
              <a:t>  Capacity </a:t>
            </a:r>
          </a:p>
          <a:p>
            <a:pPr defTabSz="355600">
              <a:lnSpc>
                <a:spcPct val="90000"/>
              </a:lnSpc>
              <a:spcAft>
                <a:spcPts val="0"/>
              </a:spcAft>
            </a:pPr>
            <a:r>
              <a:rPr lang="en-GB" sz="1000" b="1" dirty="0">
                <a:solidFill>
                  <a:schemeClr val="bg1"/>
                </a:solidFill>
                <a:latin typeface="Arial" panose="020B0604020202020204" pitchFamily="34" charset="0"/>
                <a:cs typeface="Arial" panose="020B0604020202020204" pitchFamily="34" charset="0"/>
              </a:rPr>
              <a:t> </a:t>
            </a:r>
            <a:r>
              <a:rPr lang="en-GB" sz="1000" b="1" dirty="0" smtClean="0">
                <a:solidFill>
                  <a:schemeClr val="bg1"/>
                </a:solidFill>
                <a:latin typeface="Arial" panose="020B0604020202020204" pitchFamily="34" charset="0"/>
                <a:cs typeface="Arial" panose="020B0604020202020204" pitchFamily="34" charset="0"/>
              </a:rPr>
              <a:t> Publication</a:t>
            </a:r>
            <a:endParaRPr lang="en-GB" sz="1000" b="1" dirty="0">
              <a:solidFill>
                <a:schemeClr val="bg1"/>
              </a:solidFill>
              <a:latin typeface="Arial" panose="020B0604020202020204" pitchFamily="34" charset="0"/>
              <a:cs typeface="Arial" panose="020B0604020202020204" pitchFamily="34" charset="0"/>
            </a:endParaRPr>
          </a:p>
          <a:p>
            <a:pPr marL="171450" indent="-171450" defTabSz="355600">
              <a:lnSpc>
                <a:spcPct val="90000"/>
              </a:lnSpc>
              <a:spcAft>
                <a:spcPct val="35000"/>
              </a:spcAft>
              <a:buFont typeface="Symbol" panose="05050102010706020507" pitchFamily="18" charset="2"/>
              <a:buChar char="-"/>
            </a:pPr>
            <a:r>
              <a:rPr lang="en-GB" sz="1000" dirty="0" smtClean="0">
                <a:solidFill>
                  <a:schemeClr val="bg1"/>
                </a:solidFill>
                <a:latin typeface="Arial" panose="020B0604020202020204" pitchFamily="34" charset="0"/>
                <a:cs typeface="Arial" panose="020B0604020202020204" pitchFamily="34" charset="0"/>
              </a:rPr>
              <a:t>Automated </a:t>
            </a:r>
            <a:r>
              <a:rPr lang="en-GB" sz="1000" dirty="0">
                <a:solidFill>
                  <a:schemeClr val="bg1"/>
                </a:solidFill>
                <a:latin typeface="Arial" panose="020B0604020202020204" pitchFamily="34" charset="0"/>
                <a:cs typeface="Arial" panose="020B0604020202020204" pitchFamily="34" charset="0"/>
              </a:rPr>
              <a:t>or Manual</a:t>
            </a:r>
          </a:p>
          <a:p>
            <a:pPr marL="171450" indent="-171450" defTabSz="355600">
              <a:lnSpc>
                <a:spcPct val="90000"/>
              </a:lnSpc>
              <a:spcAft>
                <a:spcPct val="35000"/>
              </a:spcAft>
              <a:buFont typeface="Symbol" panose="05050102010706020507" pitchFamily="18" charset="2"/>
              <a:buChar char="-"/>
            </a:pPr>
            <a:r>
              <a:rPr lang="en-GB" sz="1000" dirty="0" smtClean="0">
                <a:solidFill>
                  <a:schemeClr val="bg1"/>
                </a:solidFill>
                <a:latin typeface="Arial" panose="020B0604020202020204" pitchFamily="34" charset="0"/>
                <a:cs typeface="Arial" panose="020B0604020202020204" pitchFamily="34" charset="0"/>
              </a:rPr>
              <a:t>Configurable </a:t>
            </a:r>
            <a:r>
              <a:rPr lang="en-GB" sz="1000" dirty="0">
                <a:solidFill>
                  <a:schemeClr val="bg1"/>
                </a:solidFill>
                <a:latin typeface="Arial" panose="020B0604020202020204" pitchFamily="34" charset="0"/>
                <a:cs typeface="Arial" panose="020B0604020202020204" pitchFamily="34" charset="0"/>
              </a:rPr>
              <a:t>per Border/Interconnector</a:t>
            </a:r>
          </a:p>
          <a:p>
            <a:pPr marL="171450" indent="-171450" defTabSz="355600">
              <a:lnSpc>
                <a:spcPct val="90000"/>
              </a:lnSpc>
              <a:spcAft>
                <a:spcPct val="35000"/>
              </a:spcAft>
              <a:buFont typeface="Symbol" panose="05050102010706020507" pitchFamily="18" charset="2"/>
              <a:buChar char="-"/>
            </a:pPr>
            <a:r>
              <a:rPr lang="en-GB" sz="1000" dirty="0" smtClean="0">
                <a:solidFill>
                  <a:schemeClr val="bg1"/>
                </a:solidFill>
                <a:latin typeface="Arial" panose="020B0604020202020204" pitchFamily="34" charset="0"/>
                <a:cs typeface="Arial" panose="020B0604020202020204" pitchFamily="34" charset="0"/>
              </a:rPr>
              <a:t>Default </a:t>
            </a:r>
            <a:r>
              <a:rPr lang="en-GB" sz="1000" dirty="0">
                <a:solidFill>
                  <a:schemeClr val="bg1"/>
                </a:solidFill>
                <a:latin typeface="Arial" panose="020B0604020202020204" pitchFamily="34" charset="0"/>
                <a:cs typeface="Arial" panose="020B0604020202020204" pitchFamily="34" charset="0"/>
              </a:rPr>
              <a:t>Capacity</a:t>
            </a:r>
          </a:p>
          <a:p>
            <a:pPr marL="171450" indent="-171450" defTabSz="355600">
              <a:lnSpc>
                <a:spcPct val="90000"/>
              </a:lnSpc>
              <a:spcAft>
                <a:spcPct val="35000"/>
              </a:spcAft>
              <a:buFont typeface="Symbol" panose="05050102010706020507" pitchFamily="18" charset="2"/>
              <a:buChar char="-"/>
            </a:pPr>
            <a:r>
              <a:rPr lang="en-GB" sz="1000" dirty="0" smtClean="0">
                <a:solidFill>
                  <a:schemeClr val="bg1"/>
                </a:solidFill>
                <a:latin typeface="Arial" panose="020B0604020202020204" pitchFamily="34" charset="0"/>
                <a:cs typeface="Arial" panose="020B0604020202020204" pitchFamily="34" charset="0"/>
              </a:rPr>
              <a:t>H2H </a:t>
            </a:r>
            <a:r>
              <a:rPr lang="en-GB" sz="1000" dirty="0">
                <a:solidFill>
                  <a:schemeClr val="bg1"/>
                </a:solidFill>
                <a:latin typeface="Arial" panose="020B0604020202020204" pitchFamily="34" charset="0"/>
                <a:cs typeface="Arial" panose="020B0604020202020204" pitchFamily="34" charset="0"/>
              </a:rPr>
              <a:t>Matrix Creation/Update</a:t>
            </a:r>
          </a:p>
        </p:txBody>
      </p:sp>
      <p:sp>
        <p:nvSpPr>
          <p:cNvPr id="12" name="Forma libre 11"/>
          <p:cNvSpPr/>
          <p:nvPr/>
        </p:nvSpPr>
        <p:spPr>
          <a:xfrm>
            <a:off x="3917135" y="2039764"/>
            <a:ext cx="1177038" cy="1712550"/>
          </a:xfrm>
          <a:custGeom>
            <a:avLst/>
            <a:gdLst>
              <a:gd name="connsiteX0" fmla="*/ 0 w 1118902"/>
              <a:gd name="connsiteY0" fmla="*/ 186487 h 1395018"/>
              <a:gd name="connsiteX1" fmla="*/ 186487 w 1118902"/>
              <a:gd name="connsiteY1" fmla="*/ 0 h 1395018"/>
              <a:gd name="connsiteX2" fmla="*/ 932415 w 1118902"/>
              <a:gd name="connsiteY2" fmla="*/ 0 h 1395018"/>
              <a:gd name="connsiteX3" fmla="*/ 1118902 w 1118902"/>
              <a:gd name="connsiteY3" fmla="*/ 186487 h 1395018"/>
              <a:gd name="connsiteX4" fmla="*/ 1118902 w 1118902"/>
              <a:gd name="connsiteY4" fmla="*/ 1208531 h 1395018"/>
              <a:gd name="connsiteX5" fmla="*/ 932415 w 1118902"/>
              <a:gd name="connsiteY5" fmla="*/ 1395018 h 1395018"/>
              <a:gd name="connsiteX6" fmla="*/ 186487 w 1118902"/>
              <a:gd name="connsiteY6" fmla="*/ 1395018 h 1395018"/>
              <a:gd name="connsiteX7" fmla="*/ 0 w 1118902"/>
              <a:gd name="connsiteY7" fmla="*/ 1208531 h 1395018"/>
              <a:gd name="connsiteX8" fmla="*/ 0 w 1118902"/>
              <a:gd name="connsiteY8" fmla="*/ 186487 h 139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8902" h="1395018">
                <a:moveTo>
                  <a:pt x="0" y="186487"/>
                </a:moveTo>
                <a:cubicBezTo>
                  <a:pt x="0" y="83493"/>
                  <a:pt x="83493" y="0"/>
                  <a:pt x="186487" y="0"/>
                </a:cubicBezTo>
                <a:lnTo>
                  <a:pt x="932415" y="0"/>
                </a:lnTo>
                <a:cubicBezTo>
                  <a:pt x="1035409" y="0"/>
                  <a:pt x="1118902" y="83493"/>
                  <a:pt x="1118902" y="186487"/>
                </a:cubicBezTo>
                <a:lnTo>
                  <a:pt x="1118902" y="1208531"/>
                </a:lnTo>
                <a:cubicBezTo>
                  <a:pt x="1118902" y="1311525"/>
                  <a:pt x="1035409" y="1395018"/>
                  <a:pt x="932415" y="1395018"/>
                </a:cubicBezTo>
                <a:lnTo>
                  <a:pt x="186487" y="1395018"/>
                </a:lnTo>
                <a:cubicBezTo>
                  <a:pt x="83493" y="1395018"/>
                  <a:pt x="0" y="1311525"/>
                  <a:pt x="0" y="1208531"/>
                </a:cubicBezTo>
                <a:lnTo>
                  <a:pt x="0" y="18648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defTabSz="355600">
              <a:lnSpc>
                <a:spcPct val="90000"/>
              </a:lnSpc>
              <a:spcAft>
                <a:spcPts val="0"/>
              </a:spcAft>
            </a:pPr>
            <a:r>
              <a:rPr lang="en-GB" sz="1000" b="1" dirty="0">
                <a:solidFill>
                  <a:schemeClr val="bg1"/>
                </a:solidFill>
                <a:latin typeface="Arial" panose="020B0604020202020204" pitchFamily="34" charset="0"/>
                <a:cs typeface="Arial" panose="020B0604020202020204" pitchFamily="34" charset="0"/>
              </a:rPr>
              <a:t>Border Opening</a:t>
            </a:r>
          </a:p>
          <a:p>
            <a:pPr marL="171450" indent="-171450" defTabSz="355600">
              <a:lnSpc>
                <a:spcPct val="90000"/>
              </a:lnSpc>
              <a:spcAft>
                <a:spcPts val="0"/>
              </a:spcAft>
              <a:buFont typeface="Symbol" panose="05050102010706020507" pitchFamily="18" charset="2"/>
              <a:buChar char="-"/>
            </a:pPr>
            <a:r>
              <a:rPr lang="en-GB" sz="1000" dirty="0" smtClean="0">
                <a:solidFill>
                  <a:schemeClr val="bg1"/>
                </a:solidFill>
                <a:latin typeface="Arial" panose="020B0604020202020204" pitchFamily="34" charset="0"/>
                <a:cs typeface="Arial" panose="020B0604020202020204" pitchFamily="34" charset="0"/>
              </a:rPr>
              <a:t>Configurable </a:t>
            </a:r>
            <a:r>
              <a:rPr lang="en-GB" sz="1000" dirty="0">
                <a:solidFill>
                  <a:schemeClr val="bg1"/>
                </a:solidFill>
                <a:latin typeface="Arial" panose="020B0604020202020204" pitchFamily="34" charset="0"/>
                <a:cs typeface="Arial" panose="020B0604020202020204" pitchFamily="34" charset="0"/>
              </a:rPr>
              <a:t>per Border</a:t>
            </a:r>
            <a:r>
              <a:rPr lang="en-GB" sz="1000" dirty="0" smtClean="0">
                <a:solidFill>
                  <a:schemeClr val="bg1"/>
                </a:solidFill>
                <a:latin typeface="Arial" panose="020B0604020202020204" pitchFamily="34" charset="0"/>
                <a:cs typeface="Arial" panose="020B0604020202020204" pitchFamily="34" charset="0"/>
              </a:rPr>
              <a:t>/ Interconnector</a:t>
            </a:r>
            <a:endParaRPr lang="en-GB" sz="1000" dirty="0">
              <a:solidFill>
                <a:schemeClr val="bg1"/>
              </a:solidFill>
              <a:latin typeface="Arial" panose="020B0604020202020204" pitchFamily="34" charset="0"/>
              <a:cs typeface="Arial" panose="020B0604020202020204" pitchFamily="34" charset="0"/>
            </a:endParaRPr>
          </a:p>
          <a:p>
            <a:pPr marL="171450" indent="-171450" defTabSz="355600">
              <a:lnSpc>
                <a:spcPct val="90000"/>
              </a:lnSpc>
              <a:spcAft>
                <a:spcPts val="0"/>
              </a:spcAft>
              <a:buFont typeface="Symbol" panose="05050102010706020507" pitchFamily="18" charset="2"/>
              <a:buChar char="-"/>
            </a:pPr>
            <a:r>
              <a:rPr lang="en-GB" sz="1000" dirty="0" smtClean="0">
                <a:solidFill>
                  <a:schemeClr val="bg1"/>
                </a:solidFill>
                <a:latin typeface="Arial" panose="020B0604020202020204" pitchFamily="34" charset="0"/>
                <a:cs typeface="Arial" panose="020B0604020202020204" pitchFamily="34" charset="0"/>
              </a:rPr>
              <a:t>Capacity </a:t>
            </a:r>
            <a:r>
              <a:rPr lang="en-GB" sz="1000" dirty="0">
                <a:solidFill>
                  <a:schemeClr val="bg1"/>
                </a:solidFill>
                <a:latin typeface="Arial" panose="020B0604020202020204" pitchFamily="34" charset="0"/>
                <a:cs typeface="Arial" panose="020B0604020202020204" pitchFamily="34" charset="0"/>
              </a:rPr>
              <a:t>Release for Allocation</a:t>
            </a:r>
          </a:p>
          <a:p>
            <a:pPr marL="171450" indent="-171450" defTabSz="355600">
              <a:lnSpc>
                <a:spcPct val="90000"/>
              </a:lnSpc>
              <a:spcAft>
                <a:spcPts val="0"/>
              </a:spcAft>
              <a:buFont typeface="Symbol" panose="05050102010706020507" pitchFamily="18" charset="2"/>
              <a:buChar char="-"/>
            </a:pPr>
            <a:r>
              <a:rPr lang="de-DE" sz="1000" dirty="0" smtClean="0">
                <a:solidFill>
                  <a:schemeClr val="bg1"/>
                </a:solidFill>
                <a:latin typeface="Arial" panose="020B0604020202020204" pitchFamily="34" charset="0"/>
                <a:cs typeface="Arial" panose="020B0604020202020204" pitchFamily="34" charset="0"/>
              </a:rPr>
              <a:t>H2H </a:t>
            </a:r>
            <a:r>
              <a:rPr lang="de-DE" sz="1000" dirty="0">
                <a:solidFill>
                  <a:schemeClr val="bg1"/>
                </a:solidFill>
                <a:latin typeface="Arial" panose="020B0604020202020204" pitchFamily="34" charset="0"/>
                <a:cs typeface="Arial" panose="020B0604020202020204" pitchFamily="34" charset="0"/>
              </a:rPr>
              <a:t>Matrix Update</a:t>
            </a:r>
            <a:endParaRPr lang="en-GB" sz="1000" dirty="0">
              <a:solidFill>
                <a:schemeClr val="bg1"/>
              </a:solidFill>
              <a:latin typeface="Arial" panose="020B0604020202020204" pitchFamily="34" charset="0"/>
              <a:cs typeface="Arial" panose="020B0604020202020204" pitchFamily="34" charset="0"/>
            </a:endParaRPr>
          </a:p>
        </p:txBody>
      </p:sp>
      <p:sp>
        <p:nvSpPr>
          <p:cNvPr id="13" name="Rounded Rectangle 7"/>
          <p:cNvSpPr/>
          <p:nvPr/>
        </p:nvSpPr>
        <p:spPr bwMode="auto">
          <a:xfrm>
            <a:off x="3260035" y="4421716"/>
            <a:ext cx="1314200" cy="1977569"/>
          </a:xfrm>
          <a:prstGeom prst="roundRect">
            <a:avLst/>
          </a:prstGeom>
          <a:solidFill>
            <a:schemeClr val="accent1"/>
          </a:solidFill>
          <a:ln w="25400" cap="flat" cmpd="sng" algn="ctr">
            <a:solidFill>
              <a:schemeClr val="bg1"/>
            </a:solidFill>
            <a:prstDash val="solid"/>
            <a:round/>
            <a:headEnd type="none" w="med" len="med"/>
            <a:tailEnd type="none" w="med" len="med"/>
          </a:ln>
          <a:effectLst/>
          <a:extLst/>
        </p:spPr>
        <p:txBody>
          <a:bodyPr vert="horz" wrap="square" lIns="36000" tIns="36000" rIns="36000" bIns="3600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i="0" u="none" strike="noStrike" normalizeH="0" baseline="0" dirty="0" smtClean="0">
                <a:solidFill>
                  <a:schemeClr val="bg1"/>
                </a:solidFill>
                <a:latin typeface="Arial" charset="0"/>
              </a:rPr>
              <a:t>Implicit </a:t>
            </a:r>
            <a:r>
              <a:rPr kumimoji="0" lang="en-GB" sz="1200" i="0" u="none" strike="noStrike" normalizeH="0" baseline="0" dirty="0">
                <a:solidFill>
                  <a:schemeClr val="bg1"/>
                </a:solidFill>
                <a:latin typeface="Arial" charset="0"/>
              </a:rPr>
              <a:t>Allocation</a:t>
            </a:r>
          </a:p>
          <a:p>
            <a:pPr marL="0" marR="0" indent="0" algn="ctr" defTabSz="914400" rtl="0" eaLnBrk="1" fontAlgn="base" latinLnBrk="0" hangingPunct="1">
              <a:lnSpc>
                <a:spcPct val="100000"/>
              </a:lnSpc>
              <a:spcBef>
                <a:spcPct val="0"/>
              </a:spcBef>
              <a:spcAft>
                <a:spcPct val="0"/>
              </a:spcAft>
              <a:buClrTx/>
              <a:buSzTx/>
              <a:buFontTx/>
              <a:buNone/>
              <a:tabLst/>
            </a:pPr>
            <a:endParaRPr lang="de-DE" sz="1200" dirty="0">
              <a:solidFill>
                <a:schemeClr val="bg1"/>
              </a:solidFill>
              <a:latin typeface="Arial" charset="0"/>
            </a:endParaRPr>
          </a:p>
          <a:p>
            <a:pPr marL="0" marR="0" indent="0" defTabSz="914400" rtl="0" eaLnBrk="1" fontAlgn="base" latinLnBrk="0" hangingPunct="1">
              <a:lnSpc>
                <a:spcPct val="100000"/>
              </a:lnSpc>
              <a:spcBef>
                <a:spcPct val="0"/>
              </a:spcBef>
              <a:spcAft>
                <a:spcPct val="0"/>
              </a:spcAft>
              <a:buClrTx/>
              <a:buSzTx/>
              <a:buFontTx/>
              <a:buNone/>
              <a:tabLst/>
            </a:pPr>
            <a:r>
              <a:rPr kumimoji="0" lang="en-GB" sz="1200" i="0" u="none" strike="noStrike" normalizeH="0" baseline="0" dirty="0">
                <a:solidFill>
                  <a:schemeClr val="bg1"/>
                </a:solidFill>
                <a:latin typeface="Arial" charset="0"/>
              </a:rPr>
              <a:t>Triggering Events:</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200" dirty="0">
                <a:solidFill>
                  <a:schemeClr val="bg1"/>
                </a:solidFill>
                <a:latin typeface="Arial" charset="0"/>
              </a:rPr>
              <a:t>Matching</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200" i="0" u="none" strike="noStrike" normalizeH="0" baseline="0" dirty="0">
                <a:solidFill>
                  <a:schemeClr val="bg1"/>
                </a:solidFill>
                <a:latin typeface="Arial" charset="0"/>
              </a:rPr>
              <a:t>Transaction Confirmation/ Cancelation</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endParaRPr lang="de-DE" sz="1200" dirty="0">
              <a:solidFill>
                <a:schemeClr val="bg1"/>
              </a:solidFill>
              <a:latin typeface="Arial" charset="0"/>
            </a:endParaRPr>
          </a:p>
        </p:txBody>
      </p:sp>
      <p:sp>
        <p:nvSpPr>
          <p:cNvPr id="14" name="Rounded Rectangle 8"/>
          <p:cNvSpPr/>
          <p:nvPr/>
        </p:nvSpPr>
        <p:spPr bwMode="auto">
          <a:xfrm>
            <a:off x="4662713" y="4421716"/>
            <a:ext cx="1317192" cy="1977569"/>
          </a:xfrm>
          <a:prstGeom prst="roundRect">
            <a:avLst/>
          </a:prstGeom>
          <a:solidFill>
            <a:schemeClr val="accent1"/>
          </a:solidFill>
          <a:ln w="6350" cap="flat" cmpd="sng" algn="ctr">
            <a:solidFill>
              <a:schemeClr val="bg1"/>
            </a:solidFill>
            <a:prstDash val="solid"/>
            <a:round/>
            <a:headEnd type="none" w="med" len="med"/>
            <a:tailEnd type="none" w="med" len="med"/>
          </a:ln>
          <a:effectLst/>
          <a:extLst/>
        </p:spPr>
        <p:txBody>
          <a:bodyPr vert="horz" wrap="square" lIns="36000" tIns="36000" rIns="36000" bIns="36000" numCol="1" rtlCol="0" anchor="t" anchorCtr="0" compatLnSpc="1"/>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i="0" u="none" strike="noStrike" normalizeH="0" baseline="0" dirty="0" smtClean="0">
                <a:solidFill>
                  <a:schemeClr val="bg1"/>
                </a:solidFill>
                <a:latin typeface="Arial" charset="0"/>
              </a:rPr>
              <a:t>Explicit </a:t>
            </a:r>
            <a:r>
              <a:rPr kumimoji="0" lang="en-GB" sz="1200" i="0" u="none" strike="noStrike" normalizeH="0" baseline="0" dirty="0">
                <a:solidFill>
                  <a:schemeClr val="bg1"/>
                </a:solidFill>
                <a:latin typeface="Arial" charset="0"/>
              </a:rPr>
              <a:t>Allocation</a:t>
            </a:r>
          </a:p>
          <a:p>
            <a:pPr marL="0" marR="0" indent="0" algn="ctr" defTabSz="914400" rtl="0" eaLnBrk="1" fontAlgn="base" latinLnBrk="0" hangingPunct="1">
              <a:lnSpc>
                <a:spcPct val="100000"/>
              </a:lnSpc>
              <a:spcBef>
                <a:spcPct val="0"/>
              </a:spcBef>
              <a:spcAft>
                <a:spcPct val="0"/>
              </a:spcAft>
              <a:buClrTx/>
              <a:buSzTx/>
              <a:buFontTx/>
              <a:buNone/>
              <a:tabLst/>
            </a:pPr>
            <a:endParaRPr lang="de-DE" sz="1200" dirty="0">
              <a:solidFill>
                <a:schemeClr val="bg1"/>
              </a:solidFill>
              <a:latin typeface="Arial" charset="0"/>
            </a:endParaRPr>
          </a:p>
          <a:p>
            <a:pPr marL="0" marR="0" indent="0" defTabSz="914400" rtl="0" eaLnBrk="1" fontAlgn="base" latinLnBrk="0" hangingPunct="1">
              <a:lnSpc>
                <a:spcPct val="100000"/>
              </a:lnSpc>
              <a:spcBef>
                <a:spcPct val="0"/>
              </a:spcBef>
              <a:spcAft>
                <a:spcPct val="0"/>
              </a:spcAft>
              <a:buClrTx/>
              <a:buSzTx/>
              <a:buFontTx/>
              <a:buNone/>
              <a:tabLst/>
            </a:pPr>
            <a:r>
              <a:rPr kumimoji="0" lang="en-GB" sz="1200" i="0" u="none" strike="noStrike" normalizeH="0" baseline="0" dirty="0">
                <a:solidFill>
                  <a:schemeClr val="bg1"/>
                </a:solidFill>
                <a:latin typeface="Arial" charset="0"/>
              </a:rPr>
              <a:t>Triggering</a:t>
            </a:r>
            <a:r>
              <a:rPr kumimoji="0" lang="en-GB" sz="1200" i="0" u="none" strike="noStrike" normalizeH="0" dirty="0">
                <a:solidFill>
                  <a:schemeClr val="bg1"/>
                </a:solidFill>
                <a:latin typeface="Arial" charset="0"/>
              </a:rPr>
              <a:t> Events:</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GB" sz="1200" dirty="0">
                <a:solidFill>
                  <a:schemeClr val="bg1"/>
                </a:solidFill>
                <a:latin typeface="Arial" charset="0"/>
              </a:rPr>
              <a:t>Request over GUI</a:t>
            </a:r>
          </a:p>
          <a:p>
            <a:pPr marL="171450" marR="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sz="1200" i="0" u="none" strike="noStrike" normalizeH="0" dirty="0">
                <a:solidFill>
                  <a:schemeClr val="bg1"/>
                </a:solidFill>
                <a:latin typeface="Arial" charset="0"/>
              </a:rPr>
              <a:t>Request over CMM PMI</a:t>
            </a:r>
          </a:p>
          <a:p>
            <a:pPr marL="0" marR="0" indent="0" defTabSz="914400" rtl="0" eaLnBrk="1" fontAlgn="base" latinLnBrk="0" hangingPunct="1">
              <a:lnSpc>
                <a:spcPct val="100000"/>
              </a:lnSpc>
              <a:spcBef>
                <a:spcPct val="0"/>
              </a:spcBef>
              <a:spcAft>
                <a:spcPct val="0"/>
              </a:spcAft>
              <a:buClrTx/>
              <a:buSzTx/>
              <a:buFontTx/>
              <a:buNone/>
              <a:tabLst/>
            </a:pPr>
            <a:endParaRPr kumimoji="0" lang="en-GB" sz="1200" i="0" u="none" strike="noStrike" normalizeH="0" baseline="0" dirty="0">
              <a:solidFill>
                <a:schemeClr val="bg1"/>
              </a:solidFill>
              <a:latin typeface="Arial" charset="0"/>
            </a:endParaRPr>
          </a:p>
        </p:txBody>
      </p:sp>
      <p:grpSp>
        <p:nvGrpSpPr>
          <p:cNvPr id="15" name="Grupo 14"/>
          <p:cNvGrpSpPr/>
          <p:nvPr/>
        </p:nvGrpSpPr>
        <p:grpSpPr>
          <a:xfrm>
            <a:off x="5094173" y="1510091"/>
            <a:ext cx="3813646" cy="2771897"/>
            <a:chOff x="5094173" y="1510091"/>
            <a:chExt cx="3813646" cy="2771897"/>
          </a:xfrm>
        </p:grpSpPr>
        <p:sp>
          <p:nvSpPr>
            <p:cNvPr id="16" name="Forma libre 15"/>
            <p:cNvSpPr/>
            <p:nvPr/>
          </p:nvSpPr>
          <p:spPr>
            <a:xfrm>
              <a:off x="6683607" y="1510091"/>
              <a:ext cx="921632" cy="1059347"/>
            </a:xfrm>
            <a:custGeom>
              <a:avLst/>
              <a:gdLst>
                <a:gd name="connsiteX0" fmla="*/ 0 w 1059346"/>
                <a:gd name="connsiteY0" fmla="*/ 460816 h 921631"/>
                <a:gd name="connsiteX1" fmla="*/ 230408 w 1059346"/>
                <a:gd name="connsiteY1" fmla="*/ 0 h 921631"/>
                <a:gd name="connsiteX2" fmla="*/ 828938 w 1059346"/>
                <a:gd name="connsiteY2" fmla="*/ 0 h 921631"/>
                <a:gd name="connsiteX3" fmla="*/ 1059346 w 1059346"/>
                <a:gd name="connsiteY3" fmla="*/ 460816 h 921631"/>
                <a:gd name="connsiteX4" fmla="*/ 828938 w 1059346"/>
                <a:gd name="connsiteY4" fmla="*/ 921631 h 921631"/>
                <a:gd name="connsiteX5" fmla="*/ 230408 w 1059346"/>
                <a:gd name="connsiteY5" fmla="*/ 921631 h 921631"/>
                <a:gd name="connsiteX6" fmla="*/ 0 w 1059346"/>
                <a:gd name="connsiteY6" fmla="*/ 460816 h 92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346" h="921631">
                  <a:moveTo>
                    <a:pt x="529672" y="0"/>
                  </a:moveTo>
                  <a:lnTo>
                    <a:pt x="1059345" y="200455"/>
                  </a:lnTo>
                  <a:lnTo>
                    <a:pt x="1059345" y="721176"/>
                  </a:lnTo>
                  <a:lnTo>
                    <a:pt x="529672" y="921631"/>
                  </a:lnTo>
                  <a:lnTo>
                    <a:pt x="1" y="721176"/>
                  </a:lnTo>
                  <a:lnTo>
                    <a:pt x="1" y="200455"/>
                  </a:lnTo>
                  <a:lnTo>
                    <a:pt x="529672"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218422" rIns="196962" bIns="218421" numCol="1" spcCol="1270" anchor="ctr" anchorCtr="0">
              <a:noAutofit/>
            </a:bodyPr>
            <a:lstStyle/>
            <a:p>
              <a:pPr marL="0" lvl="0" indent="0" algn="ctr" defTabSz="622300">
                <a:lnSpc>
                  <a:spcPct val="90000"/>
                </a:lnSpc>
                <a:spcBef>
                  <a:spcPct val="0"/>
                </a:spcBef>
                <a:spcAft>
                  <a:spcPct val="35000"/>
                </a:spcAft>
                <a:buNone/>
              </a:pPr>
              <a:r>
                <a:rPr lang="en-GB" sz="1400" kern="1200" noProof="0" dirty="0">
                  <a:solidFill>
                    <a:schemeClr val="bg1"/>
                  </a:solidFill>
                  <a:latin typeface="Arial" panose="020B0604020202020204" pitchFamily="34" charset="0"/>
                  <a:cs typeface="Arial" panose="020B0604020202020204" pitchFamily="34" charset="0"/>
                </a:rPr>
                <a:t>H2H Values Update</a:t>
              </a:r>
            </a:p>
          </p:txBody>
        </p:sp>
        <p:sp>
          <p:nvSpPr>
            <p:cNvPr id="17" name="Rectángulo 16"/>
            <p:cNvSpPr/>
            <p:nvPr/>
          </p:nvSpPr>
          <p:spPr>
            <a:xfrm>
              <a:off x="7725589" y="1636165"/>
              <a:ext cx="1182230" cy="63560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8" name="Forma libre 17"/>
            <p:cNvSpPr/>
            <p:nvPr/>
          </p:nvSpPr>
          <p:spPr>
            <a:xfrm>
              <a:off x="5688245" y="1510091"/>
              <a:ext cx="921632" cy="1059347"/>
            </a:xfrm>
            <a:custGeom>
              <a:avLst/>
              <a:gdLst>
                <a:gd name="connsiteX0" fmla="*/ 0 w 1059346"/>
                <a:gd name="connsiteY0" fmla="*/ 460816 h 921631"/>
                <a:gd name="connsiteX1" fmla="*/ 230408 w 1059346"/>
                <a:gd name="connsiteY1" fmla="*/ 0 h 921631"/>
                <a:gd name="connsiteX2" fmla="*/ 828938 w 1059346"/>
                <a:gd name="connsiteY2" fmla="*/ 0 h 921631"/>
                <a:gd name="connsiteX3" fmla="*/ 1059346 w 1059346"/>
                <a:gd name="connsiteY3" fmla="*/ 460816 h 921631"/>
                <a:gd name="connsiteX4" fmla="*/ 828938 w 1059346"/>
                <a:gd name="connsiteY4" fmla="*/ 921631 h 921631"/>
                <a:gd name="connsiteX5" fmla="*/ 230408 w 1059346"/>
                <a:gd name="connsiteY5" fmla="*/ 921631 h 921631"/>
                <a:gd name="connsiteX6" fmla="*/ 0 w 1059346"/>
                <a:gd name="connsiteY6" fmla="*/ 460816 h 92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346" h="921631">
                  <a:moveTo>
                    <a:pt x="529672" y="0"/>
                  </a:moveTo>
                  <a:lnTo>
                    <a:pt x="1059345" y="200455"/>
                  </a:lnTo>
                  <a:lnTo>
                    <a:pt x="1059345" y="721176"/>
                  </a:lnTo>
                  <a:lnTo>
                    <a:pt x="529672" y="921631"/>
                  </a:lnTo>
                  <a:lnTo>
                    <a:pt x="1" y="721176"/>
                  </a:lnTo>
                  <a:lnTo>
                    <a:pt x="1" y="200455"/>
                  </a:lnTo>
                  <a:lnTo>
                    <a:pt x="529672"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3621" tIns="165082" rIns="143622" bIns="165081" numCol="1" spcCol="1270" anchor="ctr" anchorCtr="0">
              <a:noAutofit/>
            </a:bodyPr>
            <a:lstStyle/>
            <a:p>
              <a:pPr marL="0" lvl="0" indent="0" algn="ctr" defTabSz="622300">
                <a:lnSpc>
                  <a:spcPct val="90000"/>
                </a:lnSpc>
                <a:spcBef>
                  <a:spcPct val="0"/>
                </a:spcBef>
                <a:spcAft>
                  <a:spcPct val="35000"/>
                </a:spcAft>
                <a:buNone/>
              </a:pPr>
              <a:r>
                <a:rPr lang="de-DE" sz="1400" kern="1200" dirty="0">
                  <a:solidFill>
                    <a:schemeClr val="bg1"/>
                  </a:solidFill>
                  <a:latin typeface="Arial" panose="020B0604020202020204" pitchFamily="34" charset="0"/>
                  <a:cs typeface="Arial" panose="020B0604020202020204" pitchFamily="34" charset="0"/>
                </a:rPr>
                <a:t>ATC Values Update</a:t>
              </a:r>
              <a:endParaRPr lang="en-GB" sz="1400" kern="1200" dirty="0">
                <a:solidFill>
                  <a:schemeClr val="bg1"/>
                </a:solidFill>
                <a:latin typeface="Arial" panose="020B0604020202020204" pitchFamily="34" charset="0"/>
                <a:cs typeface="Arial" panose="020B0604020202020204" pitchFamily="34" charset="0"/>
              </a:endParaRPr>
            </a:p>
          </p:txBody>
        </p:sp>
        <p:sp>
          <p:nvSpPr>
            <p:cNvPr id="19" name="Forma libre 18"/>
            <p:cNvSpPr/>
            <p:nvPr/>
          </p:nvSpPr>
          <p:spPr>
            <a:xfrm>
              <a:off x="6170821" y="2376266"/>
              <a:ext cx="921632" cy="1059347"/>
            </a:xfrm>
            <a:custGeom>
              <a:avLst/>
              <a:gdLst>
                <a:gd name="connsiteX0" fmla="*/ 0 w 1059346"/>
                <a:gd name="connsiteY0" fmla="*/ 460816 h 921631"/>
                <a:gd name="connsiteX1" fmla="*/ 230408 w 1059346"/>
                <a:gd name="connsiteY1" fmla="*/ 0 h 921631"/>
                <a:gd name="connsiteX2" fmla="*/ 828938 w 1059346"/>
                <a:gd name="connsiteY2" fmla="*/ 0 h 921631"/>
                <a:gd name="connsiteX3" fmla="*/ 1059346 w 1059346"/>
                <a:gd name="connsiteY3" fmla="*/ 460816 h 921631"/>
                <a:gd name="connsiteX4" fmla="*/ 828938 w 1059346"/>
                <a:gd name="connsiteY4" fmla="*/ 921631 h 921631"/>
                <a:gd name="connsiteX5" fmla="*/ 230408 w 1059346"/>
                <a:gd name="connsiteY5" fmla="*/ 921631 h 921631"/>
                <a:gd name="connsiteX6" fmla="*/ 0 w 1059346"/>
                <a:gd name="connsiteY6" fmla="*/ 460816 h 92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346" h="921631">
                  <a:moveTo>
                    <a:pt x="529672" y="0"/>
                  </a:moveTo>
                  <a:lnTo>
                    <a:pt x="1059345" y="200455"/>
                  </a:lnTo>
                  <a:lnTo>
                    <a:pt x="1059345" y="721176"/>
                  </a:lnTo>
                  <a:lnTo>
                    <a:pt x="529672" y="921631"/>
                  </a:lnTo>
                  <a:lnTo>
                    <a:pt x="1" y="721176"/>
                  </a:lnTo>
                  <a:lnTo>
                    <a:pt x="1" y="200455"/>
                  </a:lnTo>
                  <a:lnTo>
                    <a:pt x="529672"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144000" rIns="72000" bIns="144000" numCol="1" spcCol="1270" anchor="ctr" anchorCtr="0">
              <a:noAutofit/>
            </a:bodyPr>
            <a:lstStyle/>
            <a:p>
              <a:pPr marL="0" lvl="0" indent="0" algn="ctr" defTabSz="622300">
                <a:lnSpc>
                  <a:spcPct val="90000"/>
                </a:lnSpc>
                <a:spcBef>
                  <a:spcPct val="0"/>
                </a:spcBef>
                <a:spcAft>
                  <a:spcPct val="35000"/>
                </a:spcAft>
                <a:buNone/>
              </a:pPr>
              <a:r>
                <a:rPr lang="en-GB" sz="1400" kern="1200" noProof="0" dirty="0" smtClean="0">
                  <a:solidFill>
                    <a:schemeClr val="bg1"/>
                  </a:solidFill>
                  <a:latin typeface="Arial" panose="020B0604020202020204" pitchFamily="34" charset="0"/>
                  <a:cs typeface="Arial" panose="020B0604020202020204" pitchFamily="34" charset="0"/>
                </a:rPr>
                <a:t>Allocation </a:t>
              </a:r>
              <a:r>
                <a:rPr lang="en-GB" sz="1400" kern="1200" noProof="0" dirty="0" err="1" smtClean="0">
                  <a:solidFill>
                    <a:schemeClr val="bg1"/>
                  </a:solidFill>
                  <a:latin typeface="Arial" panose="020B0604020202020204" pitchFamily="34" charset="0"/>
                  <a:cs typeface="Arial" panose="020B0604020202020204" pitchFamily="34" charset="0"/>
                </a:rPr>
                <a:t>Confir-mation</a:t>
              </a:r>
              <a:endParaRPr lang="en-GB" sz="1400" kern="1200" noProof="0" dirty="0">
                <a:solidFill>
                  <a:schemeClr val="bg1"/>
                </a:solidFill>
                <a:latin typeface="Arial" panose="020B0604020202020204" pitchFamily="34" charset="0"/>
                <a:cs typeface="Arial" panose="020B0604020202020204" pitchFamily="34" charset="0"/>
              </a:endParaRPr>
            </a:p>
          </p:txBody>
        </p:sp>
        <p:sp>
          <p:nvSpPr>
            <p:cNvPr id="20" name="Rectángulo 19"/>
            <p:cNvSpPr/>
            <p:nvPr/>
          </p:nvSpPr>
          <p:spPr>
            <a:xfrm>
              <a:off x="5094173" y="2535338"/>
              <a:ext cx="1144093" cy="63560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1" name="Forma libre 20"/>
            <p:cNvSpPr/>
            <p:nvPr/>
          </p:nvSpPr>
          <p:spPr>
            <a:xfrm>
              <a:off x="7166183" y="2376266"/>
              <a:ext cx="921632" cy="1059347"/>
            </a:xfrm>
            <a:custGeom>
              <a:avLst/>
              <a:gdLst>
                <a:gd name="connsiteX0" fmla="*/ 0 w 1059346"/>
                <a:gd name="connsiteY0" fmla="*/ 460816 h 921631"/>
                <a:gd name="connsiteX1" fmla="*/ 230408 w 1059346"/>
                <a:gd name="connsiteY1" fmla="*/ 0 h 921631"/>
                <a:gd name="connsiteX2" fmla="*/ 828938 w 1059346"/>
                <a:gd name="connsiteY2" fmla="*/ 0 h 921631"/>
                <a:gd name="connsiteX3" fmla="*/ 1059346 w 1059346"/>
                <a:gd name="connsiteY3" fmla="*/ 460816 h 921631"/>
                <a:gd name="connsiteX4" fmla="*/ 828938 w 1059346"/>
                <a:gd name="connsiteY4" fmla="*/ 921631 h 921631"/>
                <a:gd name="connsiteX5" fmla="*/ 230408 w 1059346"/>
                <a:gd name="connsiteY5" fmla="*/ 921631 h 921631"/>
                <a:gd name="connsiteX6" fmla="*/ 0 w 1059346"/>
                <a:gd name="connsiteY6" fmla="*/ 460816 h 92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346" h="921631">
                  <a:moveTo>
                    <a:pt x="529672" y="0"/>
                  </a:moveTo>
                  <a:lnTo>
                    <a:pt x="1059345" y="200455"/>
                  </a:lnTo>
                  <a:lnTo>
                    <a:pt x="1059345" y="721176"/>
                  </a:lnTo>
                  <a:lnTo>
                    <a:pt x="529672" y="921631"/>
                  </a:lnTo>
                  <a:lnTo>
                    <a:pt x="1" y="721176"/>
                  </a:lnTo>
                  <a:lnTo>
                    <a:pt x="1" y="200455"/>
                  </a:lnTo>
                  <a:lnTo>
                    <a:pt x="529672"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3621" tIns="165082" rIns="143622" bIns="165081" numCol="1" spcCol="1270" anchor="ctr" anchorCtr="0">
              <a:noAutofit/>
            </a:bodyPr>
            <a:lstStyle/>
            <a:p>
              <a:pPr marL="0" lvl="0" indent="0" algn="ctr" defTabSz="622300">
                <a:lnSpc>
                  <a:spcPct val="90000"/>
                </a:lnSpc>
                <a:spcBef>
                  <a:spcPct val="0"/>
                </a:spcBef>
                <a:spcAft>
                  <a:spcPct val="35000"/>
                </a:spcAft>
                <a:buNone/>
              </a:pPr>
              <a:r>
                <a:rPr lang="en-GB" sz="1400" kern="1200" noProof="0" dirty="0">
                  <a:solidFill>
                    <a:schemeClr val="bg1"/>
                  </a:solidFill>
                  <a:latin typeface="Arial" panose="020B0604020202020204" pitchFamily="34" charset="0"/>
                  <a:cs typeface="Arial" panose="020B0604020202020204" pitchFamily="34" charset="0"/>
                </a:rPr>
                <a:t>Netting</a:t>
              </a:r>
            </a:p>
          </p:txBody>
        </p:sp>
        <p:sp>
          <p:nvSpPr>
            <p:cNvPr id="22" name="Forma libre 21"/>
            <p:cNvSpPr/>
            <p:nvPr/>
          </p:nvSpPr>
          <p:spPr>
            <a:xfrm>
              <a:off x="6670409" y="3222641"/>
              <a:ext cx="921632" cy="1059347"/>
            </a:xfrm>
            <a:custGeom>
              <a:avLst/>
              <a:gdLst>
                <a:gd name="connsiteX0" fmla="*/ 0 w 1059346"/>
                <a:gd name="connsiteY0" fmla="*/ 460816 h 921631"/>
                <a:gd name="connsiteX1" fmla="*/ 230408 w 1059346"/>
                <a:gd name="connsiteY1" fmla="*/ 0 h 921631"/>
                <a:gd name="connsiteX2" fmla="*/ 828938 w 1059346"/>
                <a:gd name="connsiteY2" fmla="*/ 0 h 921631"/>
                <a:gd name="connsiteX3" fmla="*/ 1059346 w 1059346"/>
                <a:gd name="connsiteY3" fmla="*/ 460816 h 921631"/>
                <a:gd name="connsiteX4" fmla="*/ 828938 w 1059346"/>
                <a:gd name="connsiteY4" fmla="*/ 921631 h 921631"/>
                <a:gd name="connsiteX5" fmla="*/ 230408 w 1059346"/>
                <a:gd name="connsiteY5" fmla="*/ 921631 h 921631"/>
                <a:gd name="connsiteX6" fmla="*/ 0 w 1059346"/>
                <a:gd name="connsiteY6" fmla="*/ 460816 h 92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346" h="921631">
                  <a:moveTo>
                    <a:pt x="529672" y="0"/>
                  </a:moveTo>
                  <a:lnTo>
                    <a:pt x="1059345" y="200455"/>
                  </a:lnTo>
                  <a:lnTo>
                    <a:pt x="1059345" y="721176"/>
                  </a:lnTo>
                  <a:lnTo>
                    <a:pt x="529672" y="921631"/>
                  </a:lnTo>
                  <a:lnTo>
                    <a:pt x="1" y="721176"/>
                  </a:lnTo>
                  <a:lnTo>
                    <a:pt x="1" y="200455"/>
                  </a:lnTo>
                  <a:lnTo>
                    <a:pt x="529672"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218422" rIns="72000" bIns="218421" numCol="1" spcCol="1270" anchor="ctr" anchorCtr="0">
              <a:noAutofit/>
            </a:bodyPr>
            <a:lstStyle/>
            <a:p>
              <a:pPr marL="0" lvl="0" indent="0" algn="ctr" defTabSz="622300">
                <a:lnSpc>
                  <a:spcPct val="90000"/>
                </a:lnSpc>
                <a:spcBef>
                  <a:spcPct val="0"/>
                </a:spcBef>
                <a:spcAft>
                  <a:spcPct val="35000"/>
                </a:spcAft>
                <a:buNone/>
              </a:pPr>
              <a:r>
                <a:rPr lang="en-GB" sz="1400" kern="1200" noProof="0" dirty="0">
                  <a:solidFill>
                    <a:schemeClr val="bg1"/>
                  </a:solidFill>
                  <a:latin typeface="Arial" panose="020B0604020202020204" pitchFamily="34" charset="0"/>
                  <a:cs typeface="Arial" panose="020B0604020202020204" pitchFamily="34" charset="0"/>
                </a:rPr>
                <a:t>Net Positions Calcula-tion</a:t>
              </a:r>
            </a:p>
          </p:txBody>
        </p:sp>
        <p:sp>
          <p:nvSpPr>
            <p:cNvPr id="23" name="Rectángulo 22"/>
            <p:cNvSpPr/>
            <p:nvPr/>
          </p:nvSpPr>
          <p:spPr>
            <a:xfrm>
              <a:off x="7725589" y="3434511"/>
              <a:ext cx="1182230" cy="63560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4" name="Forma libre 23"/>
            <p:cNvSpPr/>
            <p:nvPr/>
          </p:nvSpPr>
          <p:spPr>
            <a:xfrm>
              <a:off x="5675047" y="3222641"/>
              <a:ext cx="921632" cy="1059347"/>
            </a:xfrm>
            <a:custGeom>
              <a:avLst/>
              <a:gdLst>
                <a:gd name="connsiteX0" fmla="*/ 0 w 1059346"/>
                <a:gd name="connsiteY0" fmla="*/ 460816 h 921631"/>
                <a:gd name="connsiteX1" fmla="*/ 230408 w 1059346"/>
                <a:gd name="connsiteY1" fmla="*/ 0 h 921631"/>
                <a:gd name="connsiteX2" fmla="*/ 828938 w 1059346"/>
                <a:gd name="connsiteY2" fmla="*/ 0 h 921631"/>
                <a:gd name="connsiteX3" fmla="*/ 1059346 w 1059346"/>
                <a:gd name="connsiteY3" fmla="*/ 460816 h 921631"/>
                <a:gd name="connsiteX4" fmla="*/ 828938 w 1059346"/>
                <a:gd name="connsiteY4" fmla="*/ 921631 h 921631"/>
                <a:gd name="connsiteX5" fmla="*/ 230408 w 1059346"/>
                <a:gd name="connsiteY5" fmla="*/ 921631 h 921631"/>
                <a:gd name="connsiteX6" fmla="*/ 0 w 1059346"/>
                <a:gd name="connsiteY6" fmla="*/ 460816 h 92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346" h="921631">
                  <a:moveTo>
                    <a:pt x="529672" y="0"/>
                  </a:moveTo>
                  <a:lnTo>
                    <a:pt x="1059345" y="200455"/>
                  </a:lnTo>
                  <a:lnTo>
                    <a:pt x="1059345" y="721176"/>
                  </a:lnTo>
                  <a:lnTo>
                    <a:pt x="529672" y="921631"/>
                  </a:lnTo>
                  <a:lnTo>
                    <a:pt x="1" y="721176"/>
                  </a:lnTo>
                  <a:lnTo>
                    <a:pt x="1" y="200455"/>
                  </a:lnTo>
                  <a:lnTo>
                    <a:pt x="529672"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165600" rIns="36000" bIns="165081" numCol="1" spcCol="1270" anchor="ctr" anchorCtr="0">
              <a:noAutofit/>
            </a:bodyPr>
            <a:lstStyle/>
            <a:p>
              <a:pPr marL="0" lvl="0" indent="0" algn="ctr" defTabSz="622300">
                <a:lnSpc>
                  <a:spcPct val="90000"/>
                </a:lnSpc>
                <a:spcBef>
                  <a:spcPct val="0"/>
                </a:spcBef>
                <a:spcAft>
                  <a:spcPct val="35000"/>
                </a:spcAft>
                <a:buNone/>
              </a:pPr>
              <a:r>
                <a:rPr lang="en-GB" sz="1400" kern="1200" noProof="0" dirty="0">
                  <a:solidFill>
                    <a:schemeClr val="bg1"/>
                  </a:solidFill>
                  <a:latin typeface="Arial" panose="020B0604020202020204" pitchFamily="34" charset="0"/>
                  <a:cs typeface="Arial" panose="020B0604020202020204" pitchFamily="34" charset="0"/>
                </a:rPr>
                <a:t>Creation of Allocation Files</a:t>
              </a:r>
            </a:p>
          </p:txBody>
        </p:sp>
      </p:grpSp>
    </p:spTree>
    <p:extLst>
      <p:ext uri="{BB962C8B-B14F-4D97-AF65-F5344CB8AC3E}">
        <p14:creationId xmlns:p14="http://schemas.microsoft.com/office/powerpoint/2010/main" val="28984826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XBID </a:t>
            </a:r>
            <a:r>
              <a:rPr lang="en-GB" dirty="0"/>
              <a:t>– Relation between products, contracts, delivery and market areas</a:t>
            </a:r>
          </a:p>
        </p:txBody>
      </p:sp>
      <p:sp>
        <p:nvSpPr>
          <p:cNvPr id="3" name="Foliennummernplatzhalter 2"/>
          <p:cNvSpPr>
            <a:spLocks noGrp="1"/>
          </p:cNvSpPr>
          <p:nvPr>
            <p:ph type="sldNum" sz="quarter" idx="11"/>
          </p:nvPr>
        </p:nvSpPr>
        <p:spPr/>
        <p:txBody>
          <a:bodyPr/>
          <a:lstStyle/>
          <a:p>
            <a:fld id="{AD89DE65-C7D9-40CE-B96E-B8C3E7B233C5}" type="slidenum">
              <a:rPr lang="de-DE" smtClean="0"/>
              <a:pPr/>
              <a:t>28</a:t>
            </a:fld>
            <a:endParaRPr lang="de-DE" dirty="0"/>
          </a:p>
        </p:txBody>
      </p:sp>
      <p:sp>
        <p:nvSpPr>
          <p:cNvPr id="7" name="TextBox 4"/>
          <p:cNvSpPr txBox="1"/>
          <p:nvPr/>
        </p:nvSpPr>
        <p:spPr>
          <a:xfrm>
            <a:off x="396000" y="3352425"/>
            <a:ext cx="8388000" cy="3108543"/>
          </a:xfrm>
          <a:prstGeom prst="rect">
            <a:avLst/>
          </a:prstGeom>
          <a:noFill/>
        </p:spPr>
        <p:txBody>
          <a:bodyPr wrap="square" rtlCol="0">
            <a:spAutoFit/>
          </a:bodyPr>
          <a:lstStyle/>
          <a:p>
            <a:pPr algn="just"/>
            <a:r>
              <a:rPr lang="en-GB" sz="1400" b="1" dirty="0">
                <a:solidFill>
                  <a:schemeClr val="accent1"/>
                </a:solidFill>
                <a:latin typeface="+mj-lt"/>
                <a:cs typeface="Arial" panose="020B0604020202020204" pitchFamily="34" charset="0"/>
              </a:rPr>
              <a:t>Product</a:t>
            </a:r>
            <a:r>
              <a:rPr lang="en-GB" sz="1400" b="1" dirty="0">
                <a:solidFill>
                  <a:schemeClr val="accent1">
                    <a:lumMod val="75000"/>
                  </a:schemeClr>
                </a:solidFill>
                <a:latin typeface="+mj-lt"/>
                <a:cs typeface="Arial" panose="020B0604020202020204" pitchFamily="34" charset="0"/>
              </a:rPr>
              <a:t> </a:t>
            </a:r>
          </a:p>
          <a:p>
            <a:pPr marL="285750" indent="-285750" algn="just">
              <a:buFont typeface="Arial"/>
              <a:buChar char="•"/>
            </a:pPr>
            <a:r>
              <a:rPr lang="en-GB" sz="1400" dirty="0">
                <a:latin typeface="+mj-lt"/>
                <a:cs typeface="Arial" panose="020B0604020202020204" pitchFamily="34" charset="0"/>
              </a:rPr>
              <a:t>Represents one unique set of trading features (e.g. hourly product, an hour)</a:t>
            </a:r>
          </a:p>
          <a:p>
            <a:pPr marL="285750" indent="-285750" algn="just">
              <a:buFont typeface="Arial"/>
              <a:buChar char="•"/>
            </a:pPr>
            <a:r>
              <a:rPr lang="en-GB" sz="1400" dirty="0">
                <a:latin typeface="+mj-lt"/>
                <a:cs typeface="Arial" panose="020B0604020202020204" pitchFamily="34" charset="0"/>
              </a:rPr>
              <a:t>Defines the guidelines for generating the underlying contracts</a:t>
            </a:r>
          </a:p>
          <a:p>
            <a:pPr marL="285750" indent="-285750" algn="just">
              <a:buFont typeface="Arial"/>
              <a:buChar char="•"/>
            </a:pPr>
            <a:r>
              <a:rPr lang="en-US" sz="1400" dirty="0">
                <a:latin typeface="+mj-lt"/>
                <a:cs typeface="Arial" panose="020B0604020202020204" pitchFamily="34" charset="0"/>
              </a:rPr>
              <a:t>Products are made available for trading per delivery area, thus each delivery area can have a separate set of tradable contracts. </a:t>
            </a:r>
          </a:p>
          <a:p>
            <a:pPr algn="just"/>
            <a:r>
              <a:rPr lang="en-GB" sz="1400" b="1" dirty="0" smtClean="0">
                <a:solidFill>
                  <a:schemeClr val="accent1"/>
                </a:solidFill>
                <a:latin typeface="+mj-lt"/>
                <a:cs typeface="Arial" panose="020B0604020202020204" pitchFamily="34" charset="0"/>
              </a:rPr>
              <a:t>Contract</a:t>
            </a:r>
            <a:r>
              <a:rPr lang="en-GB" sz="1400" dirty="0" smtClean="0">
                <a:solidFill>
                  <a:schemeClr val="accent1">
                    <a:lumMod val="75000"/>
                  </a:schemeClr>
                </a:solidFill>
                <a:latin typeface="+mj-lt"/>
                <a:cs typeface="Arial" panose="020B0604020202020204" pitchFamily="34" charset="0"/>
              </a:rPr>
              <a:t> </a:t>
            </a:r>
            <a:endParaRPr lang="en-GB" sz="1400" dirty="0">
              <a:solidFill>
                <a:schemeClr val="accent1">
                  <a:lumMod val="75000"/>
                </a:schemeClr>
              </a:solidFill>
              <a:latin typeface="+mj-lt"/>
              <a:cs typeface="Arial" panose="020B0604020202020204" pitchFamily="34" charset="0"/>
            </a:endParaRPr>
          </a:p>
          <a:p>
            <a:pPr marL="285750" indent="-285750" algn="just">
              <a:buFont typeface="Arial"/>
              <a:buChar char="•"/>
            </a:pPr>
            <a:r>
              <a:rPr lang="en-GB" sz="1400" dirty="0">
                <a:latin typeface="+mj-lt"/>
                <a:cs typeface="Arial" panose="020B0604020202020204" pitchFamily="34" charset="0"/>
              </a:rPr>
              <a:t>An instance of a Product in time, an actual tradable instrument (e.g. the hour 11h-12h on 25 November 2017) </a:t>
            </a:r>
          </a:p>
          <a:p>
            <a:pPr marL="285750" indent="-285750" algn="just">
              <a:buFont typeface="Arial"/>
              <a:buChar char="•"/>
            </a:pPr>
            <a:r>
              <a:rPr lang="en-GB" sz="1400" dirty="0">
                <a:latin typeface="+mj-lt"/>
                <a:cs typeface="Arial" panose="020B0604020202020204" pitchFamily="34" charset="0"/>
              </a:rPr>
              <a:t>With a predefined time of delivery </a:t>
            </a:r>
          </a:p>
          <a:p>
            <a:pPr marL="285750" indent="-285750" algn="just">
              <a:buFont typeface="Arial"/>
              <a:buChar char="•"/>
            </a:pPr>
            <a:r>
              <a:rPr lang="en-GB" sz="1400" dirty="0">
                <a:latin typeface="+mj-lt"/>
                <a:cs typeface="Arial" panose="020B0604020202020204" pitchFamily="34" charset="0"/>
              </a:rPr>
              <a:t>Used by the trading member entities to enter into agreement to sell/buy a certain quantity</a:t>
            </a:r>
          </a:p>
          <a:p>
            <a:pPr marL="285750" indent="-285750" algn="just">
              <a:buFont typeface="Arial"/>
              <a:buChar char="•"/>
            </a:pPr>
            <a:r>
              <a:rPr lang="en-GB" sz="1400" dirty="0">
                <a:latin typeface="+mj-lt"/>
                <a:cs typeface="Arial" panose="020B0604020202020204" pitchFamily="34" charset="0"/>
              </a:rPr>
              <a:t>Each product will have multiple contracts and each contract will belong to one and only one product. </a:t>
            </a:r>
          </a:p>
          <a:p>
            <a:r>
              <a:rPr lang="en-GB" sz="1400" b="1" dirty="0" smtClean="0">
                <a:solidFill>
                  <a:schemeClr val="accent1"/>
                </a:solidFill>
                <a:latin typeface="+mj-lt"/>
                <a:cs typeface="Arial" panose="020B0604020202020204" pitchFamily="34" charset="0"/>
              </a:rPr>
              <a:t>Trading </a:t>
            </a:r>
            <a:r>
              <a:rPr lang="en-GB" sz="1400" b="1" dirty="0">
                <a:solidFill>
                  <a:schemeClr val="accent1"/>
                </a:solidFill>
                <a:latin typeface="+mj-lt"/>
                <a:cs typeface="Arial" panose="020B0604020202020204" pitchFamily="34" charset="0"/>
              </a:rPr>
              <a:t>Schedule </a:t>
            </a:r>
          </a:p>
          <a:p>
            <a:pPr marL="285750" indent="-285750">
              <a:buFont typeface="Arial"/>
              <a:buChar char="•"/>
            </a:pPr>
            <a:r>
              <a:rPr lang="en-GB" sz="1400" dirty="0">
                <a:latin typeface="+mj-lt"/>
                <a:cs typeface="Arial" panose="020B0604020202020204" pitchFamily="34" charset="0"/>
              </a:rPr>
              <a:t>Defines when a contract opens and closes for trading</a:t>
            </a:r>
          </a:p>
          <a:p>
            <a:pPr marL="285750" indent="-285750">
              <a:buFont typeface="Arial" panose="020B0604020202020204" pitchFamily="34" charset="0"/>
              <a:buChar char="•"/>
            </a:pPr>
            <a:r>
              <a:rPr lang="en-US" sz="1400" dirty="0">
                <a:latin typeface="+mj-lt"/>
                <a:cs typeface="Arial" panose="020B0604020202020204" pitchFamily="34" charset="0"/>
              </a:rPr>
              <a:t>Each delivery area will be assigned to some specific schedule (pre-defined). </a:t>
            </a:r>
            <a:endParaRPr lang="en-GB" sz="1400" dirty="0">
              <a:latin typeface="Arial" panose="020B0604020202020204" pitchFamily="34" charset="0"/>
              <a:cs typeface="Arial" panose="020B0604020202020204" pitchFamily="34" charset="0"/>
            </a:endParaRPr>
          </a:p>
        </p:txBody>
      </p:sp>
      <p:pic>
        <p:nvPicPr>
          <p:cNvPr id="4" name="Imagen 3"/>
          <p:cNvPicPr>
            <a:picLocks noChangeAspect="1"/>
          </p:cNvPicPr>
          <p:nvPr/>
        </p:nvPicPr>
        <p:blipFill>
          <a:blip r:embed="rId3"/>
          <a:stretch>
            <a:fillRect/>
          </a:stretch>
        </p:blipFill>
        <p:spPr>
          <a:xfrm>
            <a:off x="1753146" y="1282807"/>
            <a:ext cx="5112620" cy="2133225"/>
          </a:xfrm>
          <a:prstGeom prst="rect">
            <a:avLst/>
          </a:prstGeom>
        </p:spPr>
      </p:pic>
    </p:spTree>
    <p:extLst>
      <p:ext uri="{BB962C8B-B14F-4D97-AF65-F5344CB8AC3E}">
        <p14:creationId xmlns:p14="http://schemas.microsoft.com/office/powerpoint/2010/main" val="18344461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XBID </a:t>
            </a:r>
            <a:r>
              <a:rPr lang="en-GB" dirty="0"/>
              <a:t>– Contract Life Cycle</a:t>
            </a:r>
          </a:p>
        </p:txBody>
      </p:sp>
      <p:sp>
        <p:nvSpPr>
          <p:cNvPr id="3" name="Foliennummernplatzhalter 2"/>
          <p:cNvSpPr>
            <a:spLocks noGrp="1"/>
          </p:cNvSpPr>
          <p:nvPr>
            <p:ph type="sldNum" sz="quarter" idx="11"/>
          </p:nvPr>
        </p:nvSpPr>
        <p:spPr/>
        <p:txBody>
          <a:bodyPr/>
          <a:lstStyle/>
          <a:p>
            <a:fld id="{AD89DE65-C7D9-40CE-B96E-B8C3E7B233C5}" type="slidenum">
              <a:rPr lang="de-DE" smtClean="0"/>
              <a:pPr/>
              <a:t>29</a:t>
            </a:fld>
            <a:endParaRPr lang="de-DE" dirty="0"/>
          </a:p>
        </p:txBody>
      </p:sp>
      <p:pic>
        <p:nvPicPr>
          <p:cNvPr id="7" name="Imagen 6"/>
          <p:cNvPicPr>
            <a:picLocks noChangeAspect="1"/>
          </p:cNvPicPr>
          <p:nvPr/>
        </p:nvPicPr>
        <p:blipFill rotWithShape="1">
          <a:blip r:embed="rId3"/>
          <a:srcRect l="2175" t="22588" r="54681" b="54016"/>
          <a:stretch/>
        </p:blipFill>
        <p:spPr>
          <a:xfrm>
            <a:off x="466001" y="1168842"/>
            <a:ext cx="8120386" cy="2426576"/>
          </a:xfrm>
          <a:prstGeom prst="rect">
            <a:avLst/>
          </a:prstGeom>
        </p:spPr>
      </p:pic>
      <p:sp>
        <p:nvSpPr>
          <p:cNvPr id="8" name="CuadroTexto 7"/>
          <p:cNvSpPr txBox="1"/>
          <p:nvPr/>
        </p:nvSpPr>
        <p:spPr>
          <a:xfrm>
            <a:off x="3093865" y="3490731"/>
            <a:ext cx="5581007" cy="2954655"/>
          </a:xfrm>
          <a:prstGeom prst="rect">
            <a:avLst/>
          </a:prstGeom>
          <a:noFill/>
        </p:spPr>
        <p:txBody>
          <a:bodyPr wrap="square" lIns="0" tIns="0" rIns="0" bIns="0" rtlCol="0">
            <a:spAutoFit/>
          </a:bodyPr>
          <a:lstStyle/>
          <a:p>
            <a:pPr marL="285750" lvl="0" indent="-285750">
              <a:buFont typeface="Arial" panose="020B0604020202020204" pitchFamily="34" charset="0"/>
              <a:buChar char="•"/>
            </a:pPr>
            <a:r>
              <a:rPr lang="en-US" sz="1600" b="1" dirty="0">
                <a:solidFill>
                  <a:schemeClr val="accent1"/>
                </a:solidFill>
                <a:latin typeface="+mj-lt"/>
              </a:rPr>
              <a:t>Contract Activation Point</a:t>
            </a:r>
            <a:r>
              <a:rPr lang="en-US" sz="1600" dirty="0">
                <a:solidFill>
                  <a:schemeClr val="accent1"/>
                </a:solidFill>
                <a:latin typeface="+mj-lt"/>
              </a:rPr>
              <a:t>: </a:t>
            </a:r>
            <a:r>
              <a:rPr lang="en-US" sz="1600" dirty="0">
                <a:latin typeface="+mj-lt"/>
              </a:rPr>
              <a:t>This refers to the point of time that marks the beginning point of trading for the contract</a:t>
            </a:r>
          </a:p>
          <a:p>
            <a:pPr marL="285750" lvl="0" indent="-285750">
              <a:buFont typeface="Arial" panose="020B0604020202020204" pitchFamily="34" charset="0"/>
              <a:buChar char="•"/>
            </a:pPr>
            <a:r>
              <a:rPr lang="en-US" sz="1600" b="1" dirty="0">
                <a:solidFill>
                  <a:schemeClr val="accent1"/>
                </a:solidFill>
                <a:latin typeface="+mj-lt"/>
              </a:rPr>
              <a:t>Contract Expiry point</a:t>
            </a:r>
            <a:r>
              <a:rPr lang="en-US" sz="1600" dirty="0">
                <a:solidFill>
                  <a:schemeClr val="accent1"/>
                </a:solidFill>
                <a:latin typeface="+mj-lt"/>
              </a:rPr>
              <a:t>: </a:t>
            </a:r>
            <a:r>
              <a:rPr lang="en-US" sz="1600" dirty="0">
                <a:latin typeface="+mj-lt"/>
              </a:rPr>
              <a:t>This refers to the point in time when the contract expires or is no longer allowed to trade.</a:t>
            </a:r>
          </a:p>
          <a:p>
            <a:pPr marL="285750" lvl="0" indent="-285750">
              <a:buFont typeface="Arial" panose="020B0604020202020204" pitchFamily="34" charset="0"/>
              <a:buChar char="•"/>
            </a:pPr>
            <a:r>
              <a:rPr lang="en-US" sz="1600" b="1" dirty="0">
                <a:solidFill>
                  <a:schemeClr val="accent1"/>
                </a:solidFill>
                <a:latin typeface="+mj-lt"/>
              </a:rPr>
              <a:t>Trading Period</a:t>
            </a:r>
            <a:r>
              <a:rPr lang="en-US" sz="1600" dirty="0">
                <a:solidFill>
                  <a:schemeClr val="accent1"/>
                </a:solidFill>
                <a:latin typeface="+mj-lt"/>
              </a:rPr>
              <a:t>: </a:t>
            </a:r>
            <a:r>
              <a:rPr lang="en-US" sz="1600" dirty="0">
                <a:latin typeface="+mj-lt"/>
              </a:rPr>
              <a:t>Time interval where orders can be submitted.</a:t>
            </a:r>
          </a:p>
          <a:p>
            <a:pPr marL="285750" lvl="0" indent="-285750">
              <a:buFont typeface="Arial" panose="020B0604020202020204" pitchFamily="34" charset="0"/>
              <a:buChar char="•"/>
            </a:pPr>
            <a:r>
              <a:rPr lang="en-US" sz="1600" b="1" dirty="0">
                <a:solidFill>
                  <a:schemeClr val="accent1"/>
                </a:solidFill>
                <a:latin typeface="+mj-lt"/>
              </a:rPr>
              <a:t>Start of Delivery: </a:t>
            </a:r>
            <a:r>
              <a:rPr lang="en-US" sz="1600" dirty="0">
                <a:latin typeface="+mj-lt"/>
              </a:rPr>
              <a:t>This is the point in time when the contract delivery starts  </a:t>
            </a:r>
            <a:endParaRPr lang="es-ES" sz="1600" dirty="0">
              <a:latin typeface="+mj-lt"/>
            </a:endParaRPr>
          </a:p>
          <a:p>
            <a:pPr marL="285750" lvl="0" indent="-285750">
              <a:buFont typeface="Arial" panose="020B0604020202020204" pitchFamily="34" charset="0"/>
              <a:buChar char="•"/>
            </a:pPr>
            <a:r>
              <a:rPr lang="en-US" sz="1600" b="1" dirty="0">
                <a:solidFill>
                  <a:schemeClr val="accent1"/>
                </a:solidFill>
                <a:latin typeface="+mj-lt"/>
              </a:rPr>
              <a:t>End of Delivery:</a:t>
            </a:r>
            <a:r>
              <a:rPr lang="en-US" sz="1600" dirty="0">
                <a:solidFill>
                  <a:schemeClr val="accent1"/>
                </a:solidFill>
                <a:latin typeface="+mj-lt"/>
              </a:rPr>
              <a:t> </a:t>
            </a:r>
            <a:r>
              <a:rPr lang="en-US" sz="1600" dirty="0">
                <a:latin typeface="+mj-lt"/>
              </a:rPr>
              <a:t>This is the point in time when the contract delivery ends. </a:t>
            </a:r>
            <a:endParaRPr lang="es-ES" sz="1600" dirty="0">
              <a:latin typeface="+mj-lt"/>
            </a:endParaRPr>
          </a:p>
          <a:p>
            <a:pPr marL="285750" lvl="0" indent="-285750">
              <a:buFont typeface="Arial" panose="020B0604020202020204" pitchFamily="34" charset="0"/>
              <a:buChar char="•"/>
            </a:pPr>
            <a:r>
              <a:rPr lang="en-US" sz="1600" b="1" dirty="0">
                <a:solidFill>
                  <a:schemeClr val="accent1"/>
                </a:solidFill>
                <a:latin typeface="+mj-lt"/>
              </a:rPr>
              <a:t>Delivery Duration:</a:t>
            </a:r>
            <a:r>
              <a:rPr lang="en-US" sz="1600" dirty="0">
                <a:solidFill>
                  <a:schemeClr val="accent1"/>
                </a:solidFill>
                <a:latin typeface="+mj-lt"/>
              </a:rPr>
              <a:t> </a:t>
            </a:r>
            <a:r>
              <a:rPr lang="en-US" sz="1600" dirty="0">
                <a:latin typeface="+mj-lt"/>
              </a:rPr>
              <a:t>This refers to the time duration over which the commodity is delivered.  </a:t>
            </a:r>
            <a:endParaRPr lang="es-ES" sz="1600" dirty="0">
              <a:latin typeface="+mj-lt"/>
            </a:endParaRPr>
          </a:p>
        </p:txBody>
      </p:sp>
      <p:pic>
        <p:nvPicPr>
          <p:cNvPr id="4" name="Imagen 3"/>
          <p:cNvPicPr>
            <a:picLocks noChangeAspect="1"/>
          </p:cNvPicPr>
          <p:nvPr/>
        </p:nvPicPr>
        <p:blipFill rotWithShape="1">
          <a:blip r:embed="rId4"/>
          <a:srcRect l="16852" t="48956" r="69504" b="39750"/>
          <a:stretch/>
        </p:blipFill>
        <p:spPr>
          <a:xfrm>
            <a:off x="289239" y="3531555"/>
            <a:ext cx="2804627" cy="1279342"/>
          </a:xfrm>
          <a:prstGeom prst="rect">
            <a:avLst/>
          </a:prstGeom>
        </p:spPr>
      </p:pic>
    </p:spTree>
    <p:extLst>
      <p:ext uri="{BB962C8B-B14F-4D97-AF65-F5344CB8AC3E}">
        <p14:creationId xmlns:p14="http://schemas.microsoft.com/office/powerpoint/2010/main" val="3390916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40386" y="783468"/>
            <a:ext cx="8046000" cy="583015"/>
          </a:xfrm>
        </p:spPr>
        <p:txBody>
          <a:bodyPr/>
          <a:lstStyle/>
          <a:p>
            <a:pPr fontAlgn="auto">
              <a:spcAft>
                <a:spcPts val="0"/>
              </a:spcAft>
            </a:pPr>
            <a:r>
              <a:rPr lang="en-GB" dirty="0"/>
              <a:t>Agenda</a:t>
            </a:r>
          </a:p>
        </p:txBody>
      </p:sp>
      <p:sp>
        <p:nvSpPr>
          <p:cNvPr id="3" name="Slide Number Placeholder 2"/>
          <p:cNvSpPr>
            <a:spLocks noGrp="1"/>
          </p:cNvSpPr>
          <p:nvPr>
            <p:ph type="sldNum" sz="quarter" idx="11"/>
          </p:nvPr>
        </p:nvSpPr>
        <p:spPr/>
        <p:txBody>
          <a:bodyPr/>
          <a:lstStyle/>
          <a:p>
            <a:pPr>
              <a:defRPr/>
            </a:pPr>
            <a:fld id="{52EA69F7-CAED-45AE-832E-1E513A60FD10}" type="slidenum">
              <a:rPr lang="en-US" altLang="en-US" smtClean="0"/>
              <a:pPr>
                <a:defRPr/>
              </a:pPr>
              <a:t>3</a:t>
            </a:fld>
            <a:endParaRPr lang="en-US" altLang="en-US" dirty="0"/>
          </a:p>
        </p:txBody>
      </p:sp>
      <p:graphicFrame>
        <p:nvGraphicFramePr>
          <p:cNvPr id="7" name="Tabelle 6"/>
          <p:cNvGraphicFramePr>
            <a:graphicFrameLocks noGrp="1"/>
          </p:cNvGraphicFramePr>
          <p:nvPr>
            <p:extLst>
              <p:ext uri="{D42A27DB-BD31-4B8C-83A1-F6EECF244321}">
                <p14:modId xmlns:p14="http://schemas.microsoft.com/office/powerpoint/2010/main" val="1618730432"/>
              </p:ext>
            </p:extLst>
          </p:nvPr>
        </p:nvGraphicFramePr>
        <p:xfrm>
          <a:off x="543462" y="1181758"/>
          <a:ext cx="7970809" cy="5271654"/>
        </p:xfrm>
        <a:graphic>
          <a:graphicData uri="http://schemas.openxmlformats.org/drawingml/2006/table">
            <a:tbl>
              <a:tblPr firstRow="1" firstCol="1" bandRow="1"/>
              <a:tblGrid>
                <a:gridCol w="1138689"/>
                <a:gridCol w="3933645"/>
                <a:gridCol w="2898475"/>
              </a:tblGrid>
              <a:tr h="151823">
                <a:tc>
                  <a:txBody>
                    <a:bodyPr/>
                    <a:lstStyle/>
                    <a:p>
                      <a:pPr>
                        <a:spcBef>
                          <a:spcPts val="0"/>
                        </a:spcBef>
                        <a:spcAft>
                          <a:spcPts val="0"/>
                        </a:spcAft>
                      </a:pPr>
                      <a:r>
                        <a:rPr lang="en-GB" sz="1200" b="1" kern="0" dirty="0">
                          <a:solidFill>
                            <a:srgbClr val="FFFFFF"/>
                          </a:solidFill>
                          <a:effectLst/>
                          <a:latin typeface="Arial"/>
                          <a:ea typeface="Times New Roman"/>
                          <a:cs typeface="Arial"/>
                        </a:rPr>
                        <a:t>TIME</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7300"/>
                    </a:solidFill>
                  </a:tcPr>
                </a:tc>
                <a:tc>
                  <a:txBody>
                    <a:bodyPr/>
                    <a:lstStyle/>
                    <a:p>
                      <a:pPr>
                        <a:spcBef>
                          <a:spcPts val="0"/>
                        </a:spcBef>
                        <a:spcAft>
                          <a:spcPts val="0"/>
                        </a:spcAft>
                      </a:pPr>
                      <a:r>
                        <a:rPr lang="en-GB" sz="1200" b="1" kern="0">
                          <a:solidFill>
                            <a:srgbClr val="FFFFFF"/>
                          </a:solidFill>
                          <a:effectLst/>
                          <a:latin typeface="Arial"/>
                          <a:ea typeface="Times New Roman"/>
                          <a:cs typeface="Arial"/>
                        </a:rPr>
                        <a:t>AGENDA ITEM </a:t>
                      </a:r>
                      <a:endParaRPr lang="de-DE" sz="1200" b="1" kern="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7300"/>
                    </a:solidFill>
                  </a:tcPr>
                </a:tc>
                <a:tc>
                  <a:txBody>
                    <a:bodyPr/>
                    <a:lstStyle/>
                    <a:p>
                      <a:pPr>
                        <a:spcBef>
                          <a:spcPts val="0"/>
                        </a:spcBef>
                        <a:spcAft>
                          <a:spcPts val="0"/>
                        </a:spcAft>
                      </a:pPr>
                      <a:r>
                        <a:rPr lang="en-GB" sz="1200" b="1" kern="0" dirty="0">
                          <a:solidFill>
                            <a:srgbClr val="FFFFFF"/>
                          </a:solidFill>
                          <a:effectLst/>
                          <a:latin typeface="Arial"/>
                          <a:ea typeface="Times New Roman"/>
                          <a:cs typeface="Arial"/>
                        </a:rPr>
                        <a:t>PRESENTER </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7300"/>
                    </a:solidFill>
                  </a:tcPr>
                </a:tc>
              </a:tr>
              <a:tr h="184357">
                <a:tc>
                  <a:txBody>
                    <a:bodyPr/>
                    <a:lstStyle/>
                    <a:p>
                      <a:pPr>
                        <a:spcBef>
                          <a:spcPts val="0"/>
                        </a:spcBef>
                        <a:spcAft>
                          <a:spcPts val="0"/>
                        </a:spcAft>
                      </a:pPr>
                      <a:r>
                        <a:rPr lang="en-GB" sz="1200" b="0" kern="0" dirty="0">
                          <a:solidFill>
                            <a:srgbClr val="000000"/>
                          </a:solidFill>
                          <a:effectLst/>
                          <a:latin typeface="Arial"/>
                          <a:ea typeface="Times New Roman"/>
                          <a:cs typeface="Arial"/>
                        </a:rPr>
                        <a:t>09:30 – 10:30</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E3CC"/>
                    </a:solidFill>
                  </a:tcPr>
                </a:tc>
                <a:tc gridSpan="2">
                  <a:txBody>
                    <a:bodyPr/>
                    <a:lstStyle/>
                    <a:p>
                      <a:pPr>
                        <a:spcBef>
                          <a:spcPts val="0"/>
                        </a:spcBef>
                        <a:spcAft>
                          <a:spcPts val="0"/>
                        </a:spcAft>
                      </a:pPr>
                      <a:r>
                        <a:rPr lang="en-GB" sz="1200" b="0" kern="0">
                          <a:solidFill>
                            <a:srgbClr val="000000"/>
                          </a:solidFill>
                          <a:effectLst/>
                          <a:latin typeface="Arial"/>
                          <a:ea typeface="Times New Roman"/>
                          <a:cs typeface="Arial"/>
                        </a:rPr>
                        <a:t>Registration, Coffee</a:t>
                      </a:r>
                      <a:endParaRPr lang="de-DE" sz="1200" b="1" kern="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E3CC"/>
                    </a:solidFill>
                  </a:tcPr>
                </a:tc>
                <a:tc hMerge="1">
                  <a:txBody>
                    <a:bodyPr/>
                    <a:lstStyle/>
                    <a:p>
                      <a:endParaRPr lang="de-DE"/>
                    </a:p>
                  </a:txBody>
                  <a:tcPr/>
                </a:tc>
              </a:tr>
              <a:tr h="374452">
                <a:tc>
                  <a:txBody>
                    <a:bodyPr/>
                    <a:lstStyle/>
                    <a:p>
                      <a:pPr>
                        <a:spcBef>
                          <a:spcPts val="0"/>
                        </a:spcBef>
                        <a:spcAft>
                          <a:spcPts val="0"/>
                        </a:spcAft>
                      </a:pPr>
                      <a:r>
                        <a:rPr lang="en-GB" sz="1200" b="0" kern="0" dirty="0">
                          <a:solidFill>
                            <a:srgbClr val="000000"/>
                          </a:solidFill>
                          <a:effectLst/>
                          <a:latin typeface="Arial"/>
                          <a:ea typeface="Times New Roman"/>
                          <a:cs typeface="Arial"/>
                        </a:rPr>
                        <a:t>10:30 – 10:40</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spcBef>
                          <a:spcPts val="0"/>
                        </a:spcBef>
                        <a:spcAft>
                          <a:spcPts val="0"/>
                        </a:spcAft>
                        <a:buFont typeface="+mj-lt"/>
                        <a:buNone/>
                      </a:pPr>
                      <a:r>
                        <a:rPr lang="en-GB" sz="1200" b="1" kern="0" dirty="0" smtClean="0">
                          <a:solidFill>
                            <a:srgbClr val="000000"/>
                          </a:solidFill>
                          <a:effectLst/>
                          <a:latin typeface="Arial"/>
                          <a:ea typeface="Times New Roman"/>
                          <a:cs typeface="Arial"/>
                        </a:rPr>
                        <a:t>1.  Welcome</a:t>
                      </a:r>
                      <a:r>
                        <a:rPr lang="en-GB" sz="1200" b="1" kern="0" dirty="0">
                          <a:solidFill>
                            <a:srgbClr val="000000"/>
                          </a:solidFill>
                          <a:effectLst/>
                          <a:latin typeface="Arial"/>
                          <a:ea typeface="Times New Roman"/>
                          <a:cs typeface="Arial"/>
                        </a:rPr>
                        <a:t>, introduction</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b="0" kern="0" dirty="0">
                          <a:solidFill>
                            <a:srgbClr val="000000"/>
                          </a:solidFill>
                          <a:effectLst/>
                          <a:latin typeface="Arial"/>
                          <a:ea typeface="Times New Roman"/>
                          <a:cs typeface="Arial"/>
                        </a:rPr>
                        <a:t>Jean </a:t>
                      </a:r>
                      <a:r>
                        <a:rPr lang="en-GB" sz="1200" b="0" kern="0" dirty="0" err="1">
                          <a:solidFill>
                            <a:srgbClr val="000000"/>
                          </a:solidFill>
                          <a:effectLst/>
                          <a:latin typeface="Arial"/>
                          <a:ea typeface="Times New Roman"/>
                          <a:cs typeface="Arial"/>
                        </a:rPr>
                        <a:t>Verseille</a:t>
                      </a:r>
                      <a:r>
                        <a:rPr lang="en-GB" sz="1200" b="0" kern="0" dirty="0">
                          <a:solidFill>
                            <a:srgbClr val="000000"/>
                          </a:solidFill>
                          <a:effectLst/>
                          <a:latin typeface="Arial"/>
                          <a:ea typeface="Times New Roman"/>
                          <a:cs typeface="Arial"/>
                        </a:rPr>
                        <a:t>, Stefano </a:t>
                      </a:r>
                      <a:r>
                        <a:rPr lang="en-GB" sz="1200" b="0" kern="0" dirty="0" smtClean="0">
                          <a:solidFill>
                            <a:srgbClr val="000000"/>
                          </a:solidFill>
                          <a:effectLst/>
                          <a:latin typeface="Arial"/>
                          <a:ea typeface="Times New Roman"/>
                          <a:cs typeface="Arial"/>
                        </a:rPr>
                        <a:t>Alaimo</a:t>
                      </a:r>
                    </a:p>
                    <a:p>
                      <a:pPr>
                        <a:spcBef>
                          <a:spcPts val="0"/>
                        </a:spcBef>
                        <a:spcAft>
                          <a:spcPts val="0"/>
                        </a:spcAft>
                      </a:pPr>
                      <a:r>
                        <a:rPr lang="en-GB" sz="1200" b="0" i="1" kern="0" dirty="0" smtClean="0">
                          <a:solidFill>
                            <a:srgbClr val="000000"/>
                          </a:solidFill>
                          <a:effectLst/>
                          <a:latin typeface="Arial"/>
                          <a:ea typeface="Times New Roman"/>
                          <a:cs typeface="Arial"/>
                        </a:rPr>
                        <a:t>Co-chairs </a:t>
                      </a:r>
                      <a:r>
                        <a:rPr lang="en-GB" sz="1200" b="0" i="1" kern="0" dirty="0">
                          <a:solidFill>
                            <a:srgbClr val="000000"/>
                          </a:solidFill>
                          <a:effectLst/>
                          <a:latin typeface="Arial"/>
                          <a:ea typeface="Times New Roman"/>
                          <a:cs typeface="Arial"/>
                        </a:rPr>
                        <a:t>Intraday Steering Committee</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370936">
                <a:tc>
                  <a:txBody>
                    <a:bodyPr/>
                    <a:lstStyle/>
                    <a:p>
                      <a:pPr>
                        <a:spcBef>
                          <a:spcPts val="0"/>
                        </a:spcBef>
                        <a:spcAft>
                          <a:spcPts val="0"/>
                        </a:spcAft>
                      </a:pPr>
                      <a:r>
                        <a:rPr lang="en-GB" sz="1200" b="0" kern="0">
                          <a:solidFill>
                            <a:srgbClr val="000000"/>
                          </a:solidFill>
                          <a:effectLst/>
                          <a:latin typeface="Arial"/>
                          <a:ea typeface="Times New Roman"/>
                          <a:cs typeface="Arial"/>
                        </a:rPr>
                        <a:t>10:40 – 11:00  </a:t>
                      </a:r>
                      <a:endParaRPr lang="de-DE" sz="1200" b="1" kern="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spcBef>
                          <a:spcPts val="0"/>
                        </a:spcBef>
                        <a:spcAft>
                          <a:spcPts val="0"/>
                        </a:spcAft>
                        <a:buFont typeface="+mj-lt"/>
                        <a:buNone/>
                      </a:pPr>
                      <a:r>
                        <a:rPr lang="en-GB" sz="1200" b="1" kern="0" dirty="0" smtClean="0">
                          <a:solidFill>
                            <a:srgbClr val="000000"/>
                          </a:solidFill>
                          <a:effectLst/>
                          <a:latin typeface="Arial"/>
                          <a:ea typeface="Times New Roman"/>
                          <a:cs typeface="Arial"/>
                        </a:rPr>
                        <a:t>2.  Key </a:t>
                      </a:r>
                      <a:r>
                        <a:rPr lang="en-GB" sz="1200" b="1" kern="0" dirty="0">
                          <a:solidFill>
                            <a:srgbClr val="000000"/>
                          </a:solidFill>
                          <a:effectLst/>
                          <a:latin typeface="Arial"/>
                          <a:ea typeface="Times New Roman"/>
                          <a:cs typeface="Arial"/>
                        </a:rPr>
                        <a:t>note speech </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b="0" kern="0" dirty="0" err="1">
                          <a:solidFill>
                            <a:srgbClr val="000000"/>
                          </a:solidFill>
                          <a:effectLst/>
                          <a:latin typeface="Arial"/>
                          <a:ea typeface="Times New Roman"/>
                          <a:cs typeface="Arial"/>
                        </a:rPr>
                        <a:t>Dr.</a:t>
                      </a:r>
                      <a:r>
                        <a:rPr lang="en-GB" sz="1200" b="0" kern="0" dirty="0">
                          <a:solidFill>
                            <a:srgbClr val="000000"/>
                          </a:solidFill>
                          <a:effectLst/>
                          <a:latin typeface="Arial"/>
                          <a:ea typeface="Times New Roman"/>
                          <a:cs typeface="Arial"/>
                        </a:rPr>
                        <a:t> Klaus-Dieter </a:t>
                      </a:r>
                      <a:r>
                        <a:rPr lang="en-GB" sz="1200" b="0" kern="0" dirty="0" err="1">
                          <a:solidFill>
                            <a:srgbClr val="000000"/>
                          </a:solidFill>
                          <a:effectLst/>
                          <a:latin typeface="Arial"/>
                          <a:ea typeface="Times New Roman"/>
                          <a:cs typeface="Arial"/>
                        </a:rPr>
                        <a:t>Borchardt</a:t>
                      </a:r>
                      <a:r>
                        <a:rPr lang="en-GB" sz="1200" b="0" kern="0" dirty="0">
                          <a:solidFill>
                            <a:srgbClr val="000000"/>
                          </a:solidFill>
                          <a:effectLst/>
                          <a:latin typeface="Arial"/>
                          <a:ea typeface="Times New Roman"/>
                          <a:cs typeface="Arial"/>
                        </a:rPr>
                        <a:t> </a:t>
                      </a:r>
                      <a:endParaRPr lang="en-GB" sz="1200" b="0" kern="0" dirty="0" smtClean="0">
                        <a:solidFill>
                          <a:srgbClr val="000000"/>
                        </a:solidFill>
                        <a:effectLst/>
                        <a:latin typeface="Arial"/>
                        <a:ea typeface="Times New Roman"/>
                        <a:cs typeface="Arial"/>
                      </a:endParaRPr>
                    </a:p>
                    <a:p>
                      <a:pPr>
                        <a:spcBef>
                          <a:spcPts val="0"/>
                        </a:spcBef>
                        <a:spcAft>
                          <a:spcPts val="0"/>
                        </a:spcAft>
                      </a:pPr>
                      <a:r>
                        <a:rPr lang="en-GB" sz="1200" b="0" i="1" kern="0" dirty="0" smtClean="0">
                          <a:solidFill>
                            <a:srgbClr val="000000"/>
                          </a:solidFill>
                          <a:effectLst/>
                          <a:latin typeface="Arial"/>
                          <a:ea typeface="Times New Roman"/>
                          <a:cs typeface="Arial"/>
                        </a:rPr>
                        <a:t>EC, </a:t>
                      </a:r>
                      <a:r>
                        <a:rPr lang="en-GB" sz="1200" b="0" i="1" kern="0" dirty="0">
                          <a:solidFill>
                            <a:srgbClr val="000000"/>
                          </a:solidFill>
                          <a:effectLst/>
                          <a:latin typeface="Arial"/>
                          <a:ea typeface="Times New Roman"/>
                          <a:cs typeface="Arial"/>
                        </a:rPr>
                        <a:t>Director Internal Energy Market</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357869">
                <a:tc>
                  <a:txBody>
                    <a:bodyPr/>
                    <a:lstStyle/>
                    <a:p>
                      <a:pPr>
                        <a:spcBef>
                          <a:spcPts val="0"/>
                        </a:spcBef>
                        <a:spcAft>
                          <a:spcPts val="0"/>
                        </a:spcAft>
                      </a:pPr>
                      <a:r>
                        <a:rPr lang="en-GB" sz="1200" b="0" kern="0">
                          <a:solidFill>
                            <a:srgbClr val="000000"/>
                          </a:solidFill>
                          <a:effectLst/>
                          <a:latin typeface="Arial"/>
                          <a:ea typeface="Times New Roman"/>
                          <a:cs typeface="Arial"/>
                        </a:rPr>
                        <a:t>11:00 – 11:20</a:t>
                      </a:r>
                      <a:endParaRPr lang="de-DE" sz="1200" b="1" kern="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spcBef>
                          <a:spcPts val="0"/>
                        </a:spcBef>
                        <a:spcAft>
                          <a:spcPts val="0"/>
                        </a:spcAft>
                        <a:buFont typeface="+mj-lt"/>
                        <a:buNone/>
                      </a:pPr>
                      <a:r>
                        <a:rPr lang="en-GB" sz="1200" b="1" dirty="0" smtClean="0">
                          <a:solidFill>
                            <a:srgbClr val="000000"/>
                          </a:solidFill>
                          <a:effectLst/>
                          <a:latin typeface="Arial"/>
                          <a:ea typeface="Times New Roman"/>
                        </a:rPr>
                        <a:t>3.  Overview </a:t>
                      </a:r>
                      <a:r>
                        <a:rPr lang="en-GB" sz="1200" b="1" dirty="0">
                          <a:solidFill>
                            <a:srgbClr val="000000"/>
                          </a:solidFill>
                          <a:effectLst/>
                          <a:latin typeface="Arial"/>
                          <a:ea typeface="Times New Roman"/>
                        </a:rPr>
                        <a:t>of XBID Project – background, </a:t>
                      </a:r>
                      <a:r>
                        <a:rPr lang="en-GB" sz="1200" b="1" dirty="0" smtClean="0">
                          <a:solidFill>
                            <a:srgbClr val="000000"/>
                          </a:solidFill>
                          <a:effectLst/>
                          <a:latin typeface="Arial"/>
                          <a:ea typeface="Times New Roman"/>
                        </a:rPr>
                        <a:t>history</a:t>
                      </a:r>
                    </a:p>
                    <a:p>
                      <a:pPr marL="0" lvl="0" indent="0">
                        <a:spcBef>
                          <a:spcPts val="0"/>
                        </a:spcBef>
                        <a:spcAft>
                          <a:spcPts val="0"/>
                        </a:spcAft>
                        <a:buFont typeface="+mj-lt"/>
                        <a:buNone/>
                      </a:pPr>
                      <a:r>
                        <a:rPr lang="en-GB" sz="1200" b="1" dirty="0" smtClean="0">
                          <a:solidFill>
                            <a:srgbClr val="000000"/>
                          </a:solidFill>
                          <a:effectLst/>
                          <a:latin typeface="Arial"/>
                          <a:ea typeface="Times New Roman"/>
                        </a:rPr>
                        <a:t>     </a:t>
                      </a:r>
                      <a:r>
                        <a:rPr lang="en-GB" sz="1200" b="1" dirty="0">
                          <a:solidFill>
                            <a:srgbClr val="000000"/>
                          </a:solidFill>
                          <a:effectLst/>
                          <a:latin typeface="Arial"/>
                          <a:ea typeface="Times New Roman"/>
                        </a:rPr>
                        <a:t>and challenges</a:t>
                      </a:r>
                      <a:endParaRPr lang="de-DE" sz="1200" dirty="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dirty="0">
                          <a:solidFill>
                            <a:srgbClr val="000000"/>
                          </a:solidFill>
                          <a:effectLst/>
                          <a:latin typeface="Arial"/>
                          <a:ea typeface="Times New Roman"/>
                        </a:rPr>
                        <a:t>Jean </a:t>
                      </a:r>
                      <a:r>
                        <a:rPr lang="en-GB" sz="1200" dirty="0" err="1">
                          <a:solidFill>
                            <a:srgbClr val="000000"/>
                          </a:solidFill>
                          <a:effectLst/>
                          <a:latin typeface="Arial"/>
                          <a:ea typeface="Times New Roman"/>
                        </a:rPr>
                        <a:t>Verseille</a:t>
                      </a:r>
                      <a:endParaRPr lang="de-DE" sz="1200" dirty="0">
                        <a:solidFill>
                          <a:srgbClr val="000000"/>
                        </a:solidFill>
                        <a:effectLst/>
                        <a:latin typeface="Arial"/>
                        <a:ea typeface="Times New Roman"/>
                      </a:endParaRPr>
                    </a:p>
                    <a:p>
                      <a:pPr>
                        <a:spcBef>
                          <a:spcPts val="0"/>
                        </a:spcBef>
                        <a:spcAft>
                          <a:spcPts val="0"/>
                        </a:spcAft>
                      </a:pPr>
                      <a:r>
                        <a:rPr lang="en-GB" sz="1200" i="1" dirty="0">
                          <a:solidFill>
                            <a:srgbClr val="000000"/>
                          </a:solidFill>
                          <a:effectLst/>
                          <a:latin typeface="Arial"/>
                          <a:ea typeface="Times New Roman"/>
                        </a:rPr>
                        <a:t>Co-chair Intraday Steering Committee </a:t>
                      </a:r>
                      <a:endParaRPr lang="de-DE" sz="1200" dirty="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249424">
                <a:tc>
                  <a:txBody>
                    <a:bodyPr/>
                    <a:lstStyle/>
                    <a:p>
                      <a:pPr>
                        <a:spcBef>
                          <a:spcPts val="0"/>
                        </a:spcBef>
                        <a:spcAft>
                          <a:spcPts val="0"/>
                        </a:spcAft>
                      </a:pPr>
                      <a:r>
                        <a:rPr lang="en-GB" sz="1200" b="0" kern="0">
                          <a:solidFill>
                            <a:srgbClr val="000000"/>
                          </a:solidFill>
                          <a:effectLst/>
                          <a:latin typeface="Arial"/>
                          <a:ea typeface="Times New Roman"/>
                          <a:cs typeface="Arial"/>
                        </a:rPr>
                        <a:t>11:20 – 12:00</a:t>
                      </a:r>
                      <a:endParaRPr lang="de-DE" sz="1200" b="1" kern="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spcBef>
                          <a:spcPts val="0"/>
                        </a:spcBef>
                        <a:spcAft>
                          <a:spcPts val="0"/>
                        </a:spcAft>
                        <a:buFont typeface="+mj-lt"/>
                        <a:buNone/>
                      </a:pPr>
                      <a:r>
                        <a:rPr lang="en-GB" sz="1200" b="1" dirty="0" smtClean="0">
                          <a:solidFill>
                            <a:srgbClr val="000000"/>
                          </a:solidFill>
                          <a:effectLst/>
                          <a:latin typeface="Arial"/>
                          <a:ea typeface="Times New Roman"/>
                        </a:rPr>
                        <a:t>4.  The </a:t>
                      </a:r>
                      <a:r>
                        <a:rPr lang="en-GB" sz="1200" b="1" dirty="0">
                          <a:solidFill>
                            <a:srgbClr val="000000"/>
                          </a:solidFill>
                          <a:effectLst/>
                          <a:latin typeface="Arial"/>
                          <a:ea typeface="Times New Roman"/>
                        </a:rPr>
                        <a:t>XBID matching solution</a:t>
                      </a:r>
                      <a:endParaRPr lang="de-DE" sz="1200" dirty="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a:solidFill>
                            <a:srgbClr val="000000"/>
                          </a:solidFill>
                          <a:effectLst/>
                          <a:latin typeface="Arial"/>
                          <a:ea typeface="Times New Roman"/>
                        </a:rPr>
                        <a:t>Carlos Albendin</a:t>
                      </a:r>
                      <a:endParaRPr lang="de-DE" sz="1200">
                        <a:solidFill>
                          <a:srgbClr val="000000"/>
                        </a:solidFill>
                        <a:effectLst/>
                        <a:latin typeface="Arial"/>
                        <a:ea typeface="Times New Roman"/>
                      </a:endParaRPr>
                    </a:p>
                    <a:p>
                      <a:pPr>
                        <a:spcBef>
                          <a:spcPts val="0"/>
                        </a:spcBef>
                        <a:spcAft>
                          <a:spcPts val="0"/>
                        </a:spcAft>
                      </a:pPr>
                      <a:r>
                        <a:rPr lang="en-GB" sz="1200" i="1">
                          <a:solidFill>
                            <a:srgbClr val="000000"/>
                          </a:solidFill>
                          <a:effectLst/>
                          <a:latin typeface="Arial"/>
                          <a:ea typeface="Times New Roman"/>
                        </a:rPr>
                        <a:t>OMIE</a:t>
                      </a:r>
                      <a:endParaRPr lang="de-DE" sz="120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246713">
                <a:tc>
                  <a:txBody>
                    <a:bodyPr/>
                    <a:lstStyle/>
                    <a:p>
                      <a:pPr>
                        <a:spcBef>
                          <a:spcPts val="0"/>
                        </a:spcBef>
                        <a:spcAft>
                          <a:spcPts val="0"/>
                        </a:spcAft>
                      </a:pPr>
                      <a:r>
                        <a:rPr lang="en-GB" sz="1200" b="0" kern="0">
                          <a:solidFill>
                            <a:srgbClr val="000000"/>
                          </a:solidFill>
                          <a:effectLst/>
                          <a:latin typeface="Arial"/>
                          <a:ea typeface="Times New Roman"/>
                          <a:cs typeface="Arial"/>
                        </a:rPr>
                        <a:t>12:00 – 12:15</a:t>
                      </a:r>
                      <a:endParaRPr lang="de-DE" sz="1200" b="1" kern="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spcBef>
                          <a:spcPts val="0"/>
                        </a:spcBef>
                        <a:spcAft>
                          <a:spcPts val="0"/>
                        </a:spcAft>
                        <a:buFont typeface="+mj-lt"/>
                        <a:buNone/>
                      </a:pPr>
                      <a:r>
                        <a:rPr lang="en-GB" sz="1200" b="1" dirty="0" smtClean="0">
                          <a:solidFill>
                            <a:srgbClr val="000000"/>
                          </a:solidFill>
                          <a:effectLst/>
                          <a:latin typeface="Arial"/>
                          <a:ea typeface="Times New Roman"/>
                        </a:rPr>
                        <a:t>5.  Overview </a:t>
                      </a:r>
                      <a:r>
                        <a:rPr lang="en-GB" sz="1200" b="1" dirty="0">
                          <a:solidFill>
                            <a:srgbClr val="000000"/>
                          </a:solidFill>
                          <a:effectLst/>
                          <a:latin typeface="Arial"/>
                          <a:ea typeface="Times New Roman"/>
                        </a:rPr>
                        <a:t>of borders, market areas &amp; products</a:t>
                      </a:r>
                      <a:endParaRPr lang="de-DE" sz="1200" dirty="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a:solidFill>
                            <a:srgbClr val="000000"/>
                          </a:solidFill>
                          <a:effectLst/>
                          <a:latin typeface="Arial"/>
                          <a:ea typeface="Times New Roman"/>
                        </a:rPr>
                        <a:t>Pietro Rabassi </a:t>
                      </a:r>
                      <a:endParaRPr lang="de-DE" sz="1200">
                        <a:solidFill>
                          <a:srgbClr val="000000"/>
                        </a:solidFill>
                        <a:effectLst/>
                        <a:latin typeface="Arial"/>
                        <a:ea typeface="Times New Roman"/>
                      </a:endParaRPr>
                    </a:p>
                    <a:p>
                      <a:pPr>
                        <a:spcBef>
                          <a:spcPts val="0"/>
                        </a:spcBef>
                        <a:spcAft>
                          <a:spcPts val="0"/>
                        </a:spcAft>
                      </a:pPr>
                      <a:r>
                        <a:rPr lang="en-GB" sz="1200" i="1">
                          <a:solidFill>
                            <a:srgbClr val="000000"/>
                          </a:solidFill>
                          <a:effectLst/>
                          <a:latin typeface="Arial"/>
                          <a:ea typeface="Times New Roman"/>
                        </a:rPr>
                        <a:t>Nord Pool</a:t>
                      </a:r>
                      <a:endParaRPr lang="de-DE" sz="120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396565">
                <a:tc>
                  <a:txBody>
                    <a:bodyPr/>
                    <a:lstStyle/>
                    <a:p>
                      <a:pPr>
                        <a:spcBef>
                          <a:spcPts val="0"/>
                        </a:spcBef>
                        <a:spcAft>
                          <a:spcPts val="0"/>
                        </a:spcAft>
                      </a:pPr>
                      <a:r>
                        <a:rPr lang="en-GB" sz="1200" b="0" kern="0" dirty="0">
                          <a:solidFill>
                            <a:srgbClr val="000000"/>
                          </a:solidFill>
                          <a:effectLst/>
                          <a:latin typeface="Arial"/>
                          <a:ea typeface="Times New Roman"/>
                          <a:cs typeface="Arial"/>
                        </a:rPr>
                        <a:t>12:15 – 12:40</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spcBef>
                          <a:spcPts val="0"/>
                        </a:spcBef>
                        <a:spcAft>
                          <a:spcPts val="0"/>
                        </a:spcAft>
                        <a:buFont typeface="+mj-lt"/>
                        <a:buNone/>
                      </a:pPr>
                      <a:r>
                        <a:rPr lang="en-GB" sz="1200" b="1" kern="0" dirty="0" smtClean="0">
                          <a:solidFill>
                            <a:srgbClr val="000000"/>
                          </a:solidFill>
                          <a:effectLst/>
                          <a:latin typeface="Arial"/>
                          <a:ea typeface="Times New Roman"/>
                          <a:cs typeface="Times New Roman"/>
                        </a:rPr>
                        <a:t>6.  Relevant </a:t>
                      </a:r>
                      <a:r>
                        <a:rPr lang="en-GB" sz="1200" b="1" kern="0" dirty="0">
                          <a:solidFill>
                            <a:srgbClr val="000000"/>
                          </a:solidFill>
                          <a:effectLst/>
                          <a:latin typeface="Arial"/>
                          <a:ea typeface="Times New Roman"/>
                          <a:cs typeface="Times New Roman"/>
                        </a:rPr>
                        <a:t>information for market parties from </a:t>
                      </a:r>
                      <a:endParaRPr lang="en-GB" sz="1200" b="1" kern="0" dirty="0" smtClean="0">
                        <a:solidFill>
                          <a:srgbClr val="000000"/>
                        </a:solidFill>
                        <a:effectLst/>
                        <a:latin typeface="Arial"/>
                        <a:ea typeface="Times New Roman"/>
                        <a:cs typeface="Times New Roman"/>
                      </a:endParaRPr>
                    </a:p>
                    <a:p>
                      <a:pPr marL="0" lvl="0" indent="0">
                        <a:spcBef>
                          <a:spcPts val="0"/>
                        </a:spcBef>
                        <a:spcAft>
                          <a:spcPts val="0"/>
                        </a:spcAft>
                        <a:buFont typeface="+mj-lt"/>
                        <a:buNone/>
                      </a:pPr>
                      <a:r>
                        <a:rPr lang="en-GB" sz="1200" b="1" kern="0" dirty="0" smtClean="0">
                          <a:solidFill>
                            <a:srgbClr val="000000"/>
                          </a:solidFill>
                          <a:effectLst/>
                          <a:latin typeface="Arial"/>
                          <a:ea typeface="Times New Roman"/>
                          <a:cs typeface="Times New Roman"/>
                        </a:rPr>
                        <a:t>     Local </a:t>
                      </a:r>
                      <a:r>
                        <a:rPr lang="en-GB" sz="1200" b="1" kern="0" dirty="0">
                          <a:solidFill>
                            <a:srgbClr val="000000"/>
                          </a:solidFill>
                          <a:effectLst/>
                          <a:latin typeface="Arial"/>
                          <a:ea typeface="Times New Roman"/>
                          <a:cs typeface="Times New Roman"/>
                        </a:rPr>
                        <a:t>Implementation Projects (LIPs)</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b="0" kern="0" dirty="0" err="1">
                          <a:solidFill>
                            <a:srgbClr val="000000"/>
                          </a:solidFill>
                          <a:effectLst/>
                          <a:latin typeface="Arial"/>
                          <a:ea typeface="Times New Roman"/>
                          <a:cs typeface="Times New Roman"/>
                        </a:rPr>
                        <a:t>Katja</a:t>
                      </a:r>
                      <a:r>
                        <a:rPr lang="en-GB" sz="1200" b="0" kern="0" dirty="0">
                          <a:solidFill>
                            <a:srgbClr val="000000"/>
                          </a:solidFill>
                          <a:effectLst/>
                          <a:latin typeface="Arial"/>
                          <a:ea typeface="Times New Roman"/>
                          <a:cs typeface="Times New Roman"/>
                        </a:rPr>
                        <a:t> Birr-Pedersen </a:t>
                      </a:r>
                      <a:endParaRPr lang="en-GB" sz="1200" b="0" kern="0" dirty="0" smtClean="0">
                        <a:solidFill>
                          <a:srgbClr val="000000"/>
                        </a:solidFill>
                        <a:effectLst/>
                        <a:latin typeface="Arial"/>
                        <a:ea typeface="Times New Roman"/>
                        <a:cs typeface="Times New Roman"/>
                      </a:endParaRPr>
                    </a:p>
                    <a:p>
                      <a:pPr>
                        <a:spcBef>
                          <a:spcPts val="0"/>
                        </a:spcBef>
                        <a:spcAft>
                          <a:spcPts val="0"/>
                        </a:spcAft>
                      </a:pPr>
                      <a:r>
                        <a:rPr lang="en-GB" sz="1200" b="0" i="1" kern="0" dirty="0" err="1" smtClean="0">
                          <a:solidFill>
                            <a:srgbClr val="000000"/>
                          </a:solidFill>
                          <a:effectLst/>
                          <a:latin typeface="Arial"/>
                          <a:ea typeface="Times New Roman"/>
                          <a:cs typeface="Times New Roman"/>
                        </a:rPr>
                        <a:t>Energinet</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201527">
                <a:tc>
                  <a:txBody>
                    <a:bodyPr/>
                    <a:lstStyle/>
                    <a:p>
                      <a:pPr>
                        <a:spcBef>
                          <a:spcPts val="0"/>
                        </a:spcBef>
                        <a:spcAft>
                          <a:spcPts val="0"/>
                        </a:spcAft>
                      </a:pPr>
                      <a:r>
                        <a:rPr lang="en-GB" sz="1200" b="0" kern="0">
                          <a:solidFill>
                            <a:srgbClr val="000000"/>
                          </a:solidFill>
                          <a:effectLst/>
                          <a:latin typeface="Arial"/>
                          <a:ea typeface="Times New Roman"/>
                          <a:cs typeface="Arial"/>
                        </a:rPr>
                        <a:t>12:40 – 13:00</a:t>
                      </a:r>
                      <a:endParaRPr lang="de-DE" sz="1200" b="1" kern="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gridSpan="2">
                  <a:txBody>
                    <a:bodyPr/>
                    <a:lstStyle/>
                    <a:p>
                      <a:pPr>
                        <a:spcBef>
                          <a:spcPts val="0"/>
                        </a:spcBef>
                        <a:spcAft>
                          <a:spcPts val="0"/>
                        </a:spcAft>
                      </a:pPr>
                      <a:r>
                        <a:rPr lang="en-GB" sz="1200" b="1" kern="0" dirty="0" smtClean="0">
                          <a:solidFill>
                            <a:srgbClr val="000000"/>
                          </a:solidFill>
                          <a:effectLst/>
                          <a:latin typeface="Arial"/>
                          <a:ea typeface="Times New Roman"/>
                          <a:cs typeface="Times New Roman"/>
                        </a:rPr>
                        <a:t>Q&amp;A                                                                             </a:t>
                      </a:r>
                      <a:r>
                        <a:rPr lang="en-GB" sz="1200" b="0" kern="0" dirty="0" smtClean="0">
                          <a:solidFill>
                            <a:srgbClr val="000000"/>
                          </a:solidFill>
                          <a:effectLst/>
                          <a:latin typeface="Arial"/>
                          <a:ea typeface="Times New Roman"/>
                          <a:cs typeface="Times New Roman"/>
                        </a:rPr>
                        <a:t>Hosted by Jean Verseille and Stefano Alaimo</a:t>
                      </a:r>
                      <a:endParaRPr lang="de-DE" sz="1200" b="0"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hMerge="1">
                  <a:txBody>
                    <a:bodyPr/>
                    <a:lstStyle/>
                    <a:p>
                      <a:endParaRPr lang="de-DE"/>
                    </a:p>
                  </a:txBody>
                  <a:tcPr/>
                </a:tc>
              </a:tr>
              <a:tr h="220957">
                <a:tc>
                  <a:txBody>
                    <a:bodyPr/>
                    <a:lstStyle/>
                    <a:p>
                      <a:pPr>
                        <a:spcBef>
                          <a:spcPts val="0"/>
                        </a:spcBef>
                        <a:spcAft>
                          <a:spcPts val="0"/>
                        </a:spcAft>
                      </a:pPr>
                      <a:r>
                        <a:rPr lang="en-GB" sz="1200" b="0" kern="0" dirty="0">
                          <a:solidFill>
                            <a:srgbClr val="000000"/>
                          </a:solidFill>
                          <a:effectLst/>
                          <a:latin typeface="Arial"/>
                          <a:ea typeface="Times New Roman"/>
                          <a:cs typeface="Arial"/>
                        </a:rPr>
                        <a:t>13:00 – 14:00</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E3CC"/>
                    </a:solidFill>
                  </a:tcPr>
                </a:tc>
                <a:tc gridSpan="2">
                  <a:txBody>
                    <a:bodyPr/>
                    <a:lstStyle/>
                    <a:p>
                      <a:pPr>
                        <a:spcBef>
                          <a:spcPts val="0"/>
                        </a:spcBef>
                        <a:spcAft>
                          <a:spcPts val="0"/>
                        </a:spcAft>
                      </a:pPr>
                      <a:r>
                        <a:rPr lang="en-GB" sz="1200" b="0" kern="0" dirty="0">
                          <a:solidFill>
                            <a:srgbClr val="000000"/>
                          </a:solidFill>
                          <a:effectLst/>
                          <a:latin typeface="Arial"/>
                          <a:ea typeface="Times New Roman"/>
                          <a:cs typeface="Arial"/>
                        </a:rPr>
                        <a:t>Lunch Break</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E3CC"/>
                    </a:solidFill>
                  </a:tcPr>
                </a:tc>
                <a:tc hMerge="1">
                  <a:txBody>
                    <a:bodyPr/>
                    <a:lstStyle/>
                    <a:p>
                      <a:endParaRPr lang="de-DE"/>
                    </a:p>
                  </a:txBody>
                  <a:tcPr/>
                </a:tc>
              </a:tr>
              <a:tr h="2875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kern="0" dirty="0" smtClean="0">
                          <a:solidFill>
                            <a:srgbClr val="000000"/>
                          </a:solidFill>
                          <a:effectLst/>
                          <a:latin typeface="+mn-lt"/>
                          <a:ea typeface="Times New Roman"/>
                          <a:cs typeface="Arial"/>
                        </a:rPr>
                        <a:t>14:00 – 14:15</a:t>
                      </a:r>
                      <a:endParaRPr lang="de-DE" sz="1200" b="1" kern="0" dirty="0" smtClean="0">
                        <a:solidFill>
                          <a:srgbClr val="000000"/>
                        </a:solidFill>
                        <a:effectLst/>
                        <a:latin typeface="+mn-lt"/>
                        <a:ea typeface="Times New Roman"/>
                        <a:cs typeface="Times New Roman"/>
                      </a:endParaRPr>
                    </a:p>
                    <a:p>
                      <a:pPr>
                        <a:spcBef>
                          <a:spcPts val="0"/>
                        </a:spcBef>
                        <a:spcAft>
                          <a:spcPts val="0"/>
                        </a:spcAft>
                      </a:pP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lgn="l" defTabSz="914400" rtl="0" eaLnBrk="1" latinLnBrk="0" hangingPunct="1">
                        <a:spcBef>
                          <a:spcPts val="0"/>
                        </a:spcBef>
                        <a:spcAft>
                          <a:spcPts val="0"/>
                        </a:spcAft>
                        <a:buFont typeface="+mj-lt"/>
                        <a:buNone/>
                      </a:pPr>
                      <a:r>
                        <a:rPr lang="en-US" sz="1200" b="1" kern="0" dirty="0" smtClean="0">
                          <a:solidFill>
                            <a:srgbClr val="000000"/>
                          </a:solidFill>
                          <a:effectLst/>
                          <a:latin typeface="Arial"/>
                          <a:ea typeface="Times New Roman"/>
                          <a:cs typeface="Times New Roman"/>
                        </a:rPr>
                        <a:t>7.  Explicit access on French-German border </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b="0" kern="0" dirty="0" smtClean="0">
                          <a:solidFill>
                            <a:srgbClr val="000000"/>
                          </a:solidFill>
                          <a:effectLst/>
                          <a:latin typeface="+mn-lt"/>
                          <a:ea typeface="Times New Roman"/>
                          <a:cs typeface="Times New Roman"/>
                        </a:rPr>
                        <a:t>Bruno </a:t>
                      </a:r>
                      <a:r>
                        <a:rPr lang="en-GB" sz="1200" b="0" kern="0" dirty="0" err="1" smtClean="0">
                          <a:solidFill>
                            <a:srgbClr val="000000"/>
                          </a:solidFill>
                          <a:effectLst/>
                          <a:latin typeface="+mn-lt"/>
                          <a:ea typeface="Times New Roman"/>
                          <a:cs typeface="Times New Roman"/>
                        </a:rPr>
                        <a:t>Lemetayer</a:t>
                      </a:r>
                      <a:endParaRPr lang="de-DE" sz="1200" b="1" kern="0" dirty="0" smtClean="0">
                        <a:solidFill>
                          <a:srgbClr val="000000"/>
                        </a:solidFill>
                        <a:effectLst/>
                        <a:latin typeface="+mn-lt"/>
                        <a:ea typeface="Times New Roman"/>
                        <a:cs typeface="Times New Roman"/>
                      </a:endParaRPr>
                    </a:p>
                    <a:p>
                      <a:pPr>
                        <a:spcBef>
                          <a:spcPts val="0"/>
                        </a:spcBef>
                        <a:spcAft>
                          <a:spcPts val="0"/>
                        </a:spcAft>
                      </a:pPr>
                      <a:r>
                        <a:rPr lang="en-GB" sz="1200" i="1" dirty="0" smtClean="0">
                          <a:solidFill>
                            <a:srgbClr val="000000"/>
                          </a:solidFill>
                          <a:effectLst/>
                          <a:latin typeface="+mn-lt"/>
                          <a:ea typeface="Times New Roman"/>
                        </a:rPr>
                        <a:t>RTE</a:t>
                      </a:r>
                      <a:endParaRPr lang="de-DE" sz="1200" dirty="0" smtClean="0">
                        <a:solidFill>
                          <a:srgbClr val="000000"/>
                        </a:solidFill>
                        <a:effectLst/>
                        <a:latin typeface="+mn-lt"/>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238579">
                <a:tc>
                  <a:txBody>
                    <a:bodyPr/>
                    <a:lstStyle/>
                    <a:p>
                      <a:pPr>
                        <a:spcBef>
                          <a:spcPts val="0"/>
                        </a:spcBef>
                        <a:spcAft>
                          <a:spcPts val="0"/>
                        </a:spcAft>
                      </a:pPr>
                      <a:r>
                        <a:rPr lang="en-GB" sz="1200" b="0" kern="0" dirty="0" smtClean="0">
                          <a:solidFill>
                            <a:srgbClr val="000000"/>
                          </a:solidFill>
                          <a:effectLst/>
                          <a:latin typeface="Arial"/>
                          <a:ea typeface="Times New Roman"/>
                          <a:cs typeface="Arial"/>
                        </a:rPr>
                        <a:t>14:15 </a:t>
                      </a:r>
                      <a:r>
                        <a:rPr lang="en-GB" sz="1200" b="0" kern="0" dirty="0">
                          <a:solidFill>
                            <a:srgbClr val="000000"/>
                          </a:solidFill>
                          <a:effectLst/>
                          <a:latin typeface="Arial"/>
                          <a:ea typeface="Times New Roman"/>
                          <a:cs typeface="Arial"/>
                        </a:rPr>
                        <a:t>– </a:t>
                      </a:r>
                      <a:r>
                        <a:rPr lang="en-GB" sz="1200" b="0" kern="0" dirty="0" smtClean="0">
                          <a:solidFill>
                            <a:srgbClr val="000000"/>
                          </a:solidFill>
                          <a:effectLst/>
                          <a:latin typeface="Arial"/>
                          <a:ea typeface="Times New Roman"/>
                          <a:cs typeface="Arial"/>
                        </a:rPr>
                        <a:t>14:30</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lgn="l" defTabSz="914400" rtl="0" eaLnBrk="1" latinLnBrk="0" hangingPunct="1">
                        <a:spcBef>
                          <a:spcPts val="0"/>
                        </a:spcBef>
                        <a:spcAft>
                          <a:spcPts val="0"/>
                        </a:spcAft>
                        <a:buFont typeface="+mj-lt"/>
                        <a:buNone/>
                      </a:pPr>
                      <a:r>
                        <a:rPr lang="en-GB" sz="1200" b="1" kern="0" dirty="0" smtClean="0">
                          <a:solidFill>
                            <a:srgbClr val="000000"/>
                          </a:solidFill>
                          <a:effectLst/>
                          <a:latin typeface="Arial"/>
                          <a:ea typeface="Times New Roman"/>
                          <a:cs typeface="Times New Roman"/>
                        </a:rPr>
                        <a:t>8.  NRA </a:t>
                      </a:r>
                      <a:r>
                        <a:rPr lang="en-GB" sz="1200" b="1" kern="0" dirty="0">
                          <a:solidFill>
                            <a:srgbClr val="000000"/>
                          </a:solidFill>
                          <a:effectLst/>
                          <a:latin typeface="Arial"/>
                          <a:ea typeface="Times New Roman"/>
                          <a:cs typeface="Times New Roman"/>
                        </a:rPr>
                        <a:t>overview</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b="0" kern="0" dirty="0">
                          <a:solidFill>
                            <a:srgbClr val="000000"/>
                          </a:solidFill>
                          <a:effectLst/>
                          <a:latin typeface="Arial"/>
                          <a:ea typeface="Times New Roman"/>
                          <a:cs typeface="Times New Roman"/>
                        </a:rPr>
                        <a:t>Johan </a:t>
                      </a:r>
                      <a:r>
                        <a:rPr lang="en-GB" sz="1200" b="0" kern="0" dirty="0" err="1">
                          <a:solidFill>
                            <a:srgbClr val="000000"/>
                          </a:solidFill>
                          <a:effectLst/>
                          <a:latin typeface="Arial"/>
                          <a:ea typeface="Times New Roman"/>
                          <a:cs typeface="Times New Roman"/>
                        </a:rPr>
                        <a:t>Roupe</a:t>
                      </a:r>
                      <a:endParaRPr lang="de-DE" sz="1200" b="1" kern="0" dirty="0">
                        <a:solidFill>
                          <a:srgbClr val="000000"/>
                        </a:solidFill>
                        <a:effectLst/>
                        <a:latin typeface="Arial"/>
                        <a:ea typeface="Times New Roman"/>
                        <a:cs typeface="Times New Roman"/>
                      </a:endParaRPr>
                    </a:p>
                    <a:p>
                      <a:pPr>
                        <a:spcBef>
                          <a:spcPts val="0"/>
                        </a:spcBef>
                        <a:spcAft>
                          <a:spcPts val="0"/>
                        </a:spcAft>
                      </a:pPr>
                      <a:r>
                        <a:rPr lang="en-GB" sz="1200" i="1" dirty="0" err="1">
                          <a:solidFill>
                            <a:srgbClr val="000000"/>
                          </a:solidFill>
                          <a:effectLst/>
                          <a:latin typeface="Arial"/>
                          <a:ea typeface="Times New Roman"/>
                        </a:rPr>
                        <a:t>Energimarknadsinpektionen</a:t>
                      </a:r>
                      <a:endParaRPr lang="de-DE" sz="1200" dirty="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245357">
                <a:tc>
                  <a:txBody>
                    <a:bodyPr/>
                    <a:lstStyle/>
                    <a:p>
                      <a:pPr>
                        <a:spcBef>
                          <a:spcPts val="0"/>
                        </a:spcBef>
                        <a:spcAft>
                          <a:spcPts val="0"/>
                        </a:spcAft>
                      </a:pPr>
                      <a:r>
                        <a:rPr lang="en-GB" sz="1200" b="0" kern="0" dirty="0" smtClean="0">
                          <a:solidFill>
                            <a:srgbClr val="000000"/>
                          </a:solidFill>
                          <a:effectLst/>
                          <a:latin typeface="Arial"/>
                          <a:ea typeface="Times New Roman"/>
                          <a:cs typeface="Arial"/>
                        </a:rPr>
                        <a:t>14:30 </a:t>
                      </a:r>
                      <a:r>
                        <a:rPr lang="en-GB" sz="1200" b="0" kern="0" dirty="0">
                          <a:solidFill>
                            <a:srgbClr val="000000"/>
                          </a:solidFill>
                          <a:effectLst/>
                          <a:latin typeface="Arial"/>
                          <a:ea typeface="Times New Roman"/>
                          <a:cs typeface="Arial"/>
                        </a:rPr>
                        <a:t>– </a:t>
                      </a:r>
                      <a:r>
                        <a:rPr lang="en-GB" sz="1200" b="0" kern="0" dirty="0" smtClean="0">
                          <a:solidFill>
                            <a:srgbClr val="000000"/>
                          </a:solidFill>
                          <a:effectLst/>
                          <a:latin typeface="Arial"/>
                          <a:ea typeface="Times New Roman"/>
                          <a:cs typeface="Arial"/>
                        </a:rPr>
                        <a:t>14:50</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lgn="l" defTabSz="914400" rtl="0" eaLnBrk="1" latinLnBrk="0" hangingPunct="1">
                        <a:spcBef>
                          <a:spcPts val="0"/>
                        </a:spcBef>
                        <a:spcAft>
                          <a:spcPts val="0"/>
                        </a:spcAft>
                        <a:buFont typeface="+mj-lt"/>
                        <a:buNone/>
                      </a:pPr>
                      <a:r>
                        <a:rPr lang="de-DE" sz="1200" b="1" kern="0" dirty="0" smtClean="0">
                          <a:solidFill>
                            <a:srgbClr val="000000"/>
                          </a:solidFill>
                          <a:effectLst/>
                          <a:latin typeface="Arial"/>
                          <a:ea typeface="Times New Roman"/>
                          <a:cs typeface="Times New Roman"/>
                        </a:rPr>
                        <a:t>9.  Deutsche </a:t>
                      </a:r>
                      <a:r>
                        <a:rPr lang="de-DE" sz="1200" b="1" kern="0" dirty="0">
                          <a:solidFill>
                            <a:srgbClr val="000000"/>
                          </a:solidFill>
                          <a:effectLst/>
                          <a:latin typeface="Arial"/>
                          <a:ea typeface="Times New Roman"/>
                          <a:cs typeface="Times New Roman"/>
                        </a:rPr>
                        <a:t>Börse’ </a:t>
                      </a:r>
                      <a:r>
                        <a:rPr lang="de-DE" sz="1200" b="1" kern="0" dirty="0" err="1">
                          <a:solidFill>
                            <a:srgbClr val="000000"/>
                          </a:solidFill>
                          <a:effectLst/>
                          <a:latin typeface="Arial"/>
                          <a:ea typeface="Times New Roman"/>
                          <a:cs typeface="Times New Roman"/>
                        </a:rPr>
                        <a:t>trading</a:t>
                      </a:r>
                      <a:r>
                        <a:rPr lang="de-DE" sz="1200" b="1" kern="0" dirty="0">
                          <a:solidFill>
                            <a:srgbClr val="000000"/>
                          </a:solidFill>
                          <a:effectLst/>
                          <a:latin typeface="Arial"/>
                          <a:ea typeface="Times New Roman"/>
                          <a:cs typeface="Times New Roman"/>
                        </a:rPr>
                        <a:t> </a:t>
                      </a:r>
                      <a:r>
                        <a:rPr lang="de-DE" sz="1200" b="1" kern="0" dirty="0" err="1">
                          <a:solidFill>
                            <a:srgbClr val="000000"/>
                          </a:solidFill>
                          <a:effectLst/>
                          <a:latin typeface="Arial"/>
                          <a:ea typeface="Times New Roman"/>
                          <a:cs typeface="Times New Roman"/>
                        </a:rPr>
                        <a:t>solution</a:t>
                      </a:r>
                      <a:r>
                        <a:rPr lang="de-DE" sz="1200" b="1" kern="0" dirty="0">
                          <a:solidFill>
                            <a:srgbClr val="000000"/>
                          </a:solidFill>
                          <a:effectLst/>
                          <a:latin typeface="Arial"/>
                          <a:ea typeface="Times New Roman"/>
                          <a:cs typeface="Times New Roman"/>
                        </a:rPr>
                        <a:t> </a:t>
                      </a:r>
                      <a:r>
                        <a:rPr lang="de-DE" sz="1200" b="1" kern="0" dirty="0" err="1">
                          <a:solidFill>
                            <a:srgbClr val="000000"/>
                          </a:solidFill>
                          <a:effectLst/>
                          <a:latin typeface="Arial"/>
                          <a:ea typeface="Times New Roman"/>
                          <a:cs typeface="Times New Roman"/>
                        </a:rPr>
                        <a:t>provider</a:t>
                      </a:r>
                      <a:r>
                        <a:rPr lang="de-DE" sz="1200" b="1" kern="0" dirty="0">
                          <a:solidFill>
                            <a:srgbClr val="000000"/>
                          </a:solidFill>
                          <a:effectLst/>
                          <a:latin typeface="Arial"/>
                          <a:ea typeface="Times New Roman"/>
                          <a:cs typeface="Times New Roman"/>
                        </a:rPr>
                        <a:t> </a:t>
                      </a: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de-DE" sz="1200" b="0" kern="0" dirty="0">
                          <a:solidFill>
                            <a:srgbClr val="000000"/>
                          </a:solidFill>
                          <a:effectLst/>
                          <a:latin typeface="Arial"/>
                          <a:ea typeface="Times New Roman"/>
                          <a:cs typeface="Times New Roman"/>
                        </a:rPr>
                        <a:t>Jens Rick</a:t>
                      </a:r>
                      <a:endParaRPr lang="de-DE" sz="1200" b="1" kern="0" dirty="0">
                        <a:solidFill>
                          <a:srgbClr val="000000"/>
                        </a:solidFill>
                        <a:effectLst/>
                        <a:latin typeface="Arial"/>
                        <a:ea typeface="Times New Roman"/>
                        <a:cs typeface="Times New Roman"/>
                      </a:endParaRPr>
                    </a:p>
                    <a:p>
                      <a:pPr>
                        <a:spcBef>
                          <a:spcPts val="0"/>
                        </a:spcBef>
                        <a:spcAft>
                          <a:spcPts val="0"/>
                        </a:spcAft>
                      </a:pPr>
                      <a:r>
                        <a:rPr lang="de-DE" sz="1200" i="1" dirty="0">
                          <a:solidFill>
                            <a:srgbClr val="000000"/>
                          </a:solidFill>
                          <a:effectLst/>
                          <a:latin typeface="Arial"/>
                          <a:ea typeface="Times New Roman"/>
                        </a:rPr>
                        <a:t>Deutsche Börse Group</a:t>
                      </a:r>
                      <a:endParaRPr lang="de-DE" sz="1200" dirty="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276987">
                <a:tc>
                  <a:txBody>
                    <a:bodyPr/>
                    <a:lstStyle/>
                    <a:p>
                      <a:pPr>
                        <a:spcBef>
                          <a:spcPts val="0"/>
                        </a:spcBef>
                        <a:spcAft>
                          <a:spcPts val="0"/>
                        </a:spcAft>
                      </a:pPr>
                      <a:r>
                        <a:rPr lang="en-GB" sz="1200" b="0" kern="0" dirty="0" smtClean="0">
                          <a:solidFill>
                            <a:srgbClr val="000000"/>
                          </a:solidFill>
                          <a:effectLst/>
                          <a:latin typeface="Arial"/>
                          <a:ea typeface="Times New Roman"/>
                          <a:cs typeface="Arial"/>
                        </a:rPr>
                        <a:t>14:50 </a:t>
                      </a:r>
                      <a:r>
                        <a:rPr lang="en-GB" sz="1200" b="0" kern="0" dirty="0">
                          <a:solidFill>
                            <a:srgbClr val="000000"/>
                          </a:solidFill>
                          <a:effectLst/>
                          <a:latin typeface="Arial"/>
                          <a:ea typeface="Times New Roman"/>
                          <a:cs typeface="Arial"/>
                        </a:rPr>
                        <a:t>– </a:t>
                      </a:r>
                      <a:r>
                        <a:rPr lang="en-GB" sz="1200" b="0" kern="0" dirty="0" smtClean="0">
                          <a:solidFill>
                            <a:srgbClr val="000000"/>
                          </a:solidFill>
                          <a:effectLst/>
                          <a:latin typeface="Arial"/>
                          <a:ea typeface="Times New Roman"/>
                          <a:cs typeface="Arial"/>
                        </a:rPr>
                        <a:t>15:15</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lgn="l" defTabSz="914400" rtl="0" eaLnBrk="1" latinLnBrk="0" hangingPunct="1">
                        <a:spcBef>
                          <a:spcPts val="0"/>
                        </a:spcBef>
                        <a:spcAft>
                          <a:spcPts val="0"/>
                        </a:spcAft>
                        <a:buFont typeface="+mj-lt"/>
                        <a:buNone/>
                      </a:pPr>
                      <a:r>
                        <a:rPr lang="en-GB" sz="1200" b="1" kern="0" dirty="0" smtClean="0">
                          <a:solidFill>
                            <a:srgbClr val="000000"/>
                          </a:solidFill>
                          <a:effectLst/>
                          <a:latin typeface="Arial"/>
                          <a:ea typeface="Times New Roman"/>
                          <a:cs typeface="Times New Roman"/>
                        </a:rPr>
                        <a:t>10. Member’s </a:t>
                      </a:r>
                      <a:r>
                        <a:rPr lang="en-GB" sz="1200" b="1" kern="0" dirty="0">
                          <a:solidFill>
                            <a:srgbClr val="000000"/>
                          </a:solidFill>
                          <a:effectLst/>
                          <a:latin typeface="Arial"/>
                          <a:ea typeface="Times New Roman"/>
                          <a:cs typeface="Times New Roman"/>
                        </a:rPr>
                        <a:t>trial period, </a:t>
                      </a:r>
                      <a:r>
                        <a:rPr lang="en-GB" sz="1200" b="1" kern="0" dirty="0" err="1">
                          <a:solidFill>
                            <a:srgbClr val="000000"/>
                          </a:solidFill>
                          <a:effectLst/>
                          <a:latin typeface="Arial"/>
                          <a:ea typeface="Times New Roman"/>
                          <a:cs typeface="Times New Roman"/>
                        </a:rPr>
                        <a:t>go-live</a:t>
                      </a:r>
                      <a:r>
                        <a:rPr lang="en-GB" sz="1200" b="1" kern="0" dirty="0">
                          <a:solidFill>
                            <a:srgbClr val="000000"/>
                          </a:solidFill>
                          <a:effectLst/>
                          <a:latin typeface="Arial"/>
                          <a:ea typeface="Times New Roman"/>
                          <a:cs typeface="Times New Roman"/>
                        </a:rPr>
                        <a:t> plan and next </a:t>
                      </a:r>
                      <a:endParaRPr lang="en-GB" sz="1200" b="1" kern="0" dirty="0" smtClean="0">
                        <a:solidFill>
                          <a:srgbClr val="000000"/>
                        </a:solidFill>
                        <a:effectLst/>
                        <a:latin typeface="Arial"/>
                        <a:ea typeface="Times New Roman"/>
                        <a:cs typeface="Times New Roman"/>
                      </a:endParaRPr>
                    </a:p>
                    <a:p>
                      <a:pPr marL="0" lvl="0" indent="0" algn="l" defTabSz="914400" rtl="0" eaLnBrk="1" latinLnBrk="0" hangingPunct="1">
                        <a:spcBef>
                          <a:spcPts val="0"/>
                        </a:spcBef>
                        <a:spcAft>
                          <a:spcPts val="0"/>
                        </a:spcAft>
                        <a:buFont typeface="+mj-lt"/>
                        <a:buNone/>
                      </a:pPr>
                      <a:r>
                        <a:rPr lang="en-GB" sz="1200" b="1" kern="0" dirty="0" smtClean="0">
                          <a:solidFill>
                            <a:srgbClr val="000000"/>
                          </a:solidFill>
                          <a:effectLst/>
                          <a:latin typeface="Arial"/>
                          <a:ea typeface="Times New Roman"/>
                          <a:cs typeface="Times New Roman"/>
                        </a:rPr>
                        <a:t>      steps for </a:t>
                      </a:r>
                      <a:r>
                        <a:rPr lang="en-GB" sz="1200" b="1" kern="0" dirty="0">
                          <a:solidFill>
                            <a:srgbClr val="000000"/>
                          </a:solidFill>
                          <a:effectLst/>
                          <a:latin typeface="Arial"/>
                          <a:ea typeface="Times New Roman"/>
                          <a:cs typeface="Times New Roman"/>
                        </a:rPr>
                        <a:t>readiness </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dirty="0">
                          <a:solidFill>
                            <a:srgbClr val="000000"/>
                          </a:solidFill>
                          <a:effectLst/>
                          <a:latin typeface="Arial"/>
                          <a:ea typeface="Times New Roman"/>
                        </a:rPr>
                        <a:t>Pierre </a:t>
                      </a:r>
                      <a:r>
                        <a:rPr lang="en-GB" sz="1200" dirty="0" err="1">
                          <a:solidFill>
                            <a:srgbClr val="000000"/>
                          </a:solidFill>
                          <a:effectLst/>
                          <a:latin typeface="Arial"/>
                          <a:ea typeface="Times New Roman"/>
                        </a:rPr>
                        <a:t>Milon</a:t>
                      </a:r>
                      <a:endParaRPr lang="de-DE" sz="1200" dirty="0">
                        <a:solidFill>
                          <a:srgbClr val="000000"/>
                        </a:solidFill>
                        <a:effectLst/>
                        <a:latin typeface="Arial"/>
                        <a:ea typeface="Times New Roman"/>
                      </a:endParaRPr>
                    </a:p>
                    <a:p>
                      <a:pPr>
                        <a:spcBef>
                          <a:spcPts val="0"/>
                        </a:spcBef>
                        <a:spcAft>
                          <a:spcPts val="0"/>
                        </a:spcAft>
                      </a:pPr>
                      <a:r>
                        <a:rPr lang="en-GB" sz="1200" i="1" dirty="0">
                          <a:solidFill>
                            <a:srgbClr val="000000"/>
                          </a:solidFill>
                          <a:effectLst/>
                          <a:latin typeface="Arial"/>
                          <a:ea typeface="Times New Roman"/>
                        </a:rPr>
                        <a:t>EPEX Spot</a:t>
                      </a:r>
                      <a:endParaRPr lang="de-DE" sz="1200" dirty="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243098">
                <a:tc>
                  <a:txBody>
                    <a:bodyPr/>
                    <a:lstStyle/>
                    <a:p>
                      <a:pPr>
                        <a:spcBef>
                          <a:spcPts val="0"/>
                        </a:spcBef>
                        <a:spcAft>
                          <a:spcPts val="0"/>
                        </a:spcAft>
                      </a:pPr>
                      <a:r>
                        <a:rPr lang="en-GB" sz="1200" b="0" kern="0" dirty="0" smtClean="0">
                          <a:solidFill>
                            <a:srgbClr val="000000"/>
                          </a:solidFill>
                          <a:effectLst/>
                          <a:latin typeface="Arial"/>
                          <a:ea typeface="Times New Roman"/>
                          <a:cs typeface="Arial"/>
                        </a:rPr>
                        <a:t>15:15 </a:t>
                      </a:r>
                      <a:r>
                        <a:rPr lang="en-GB" sz="1200" b="0" kern="0" dirty="0">
                          <a:solidFill>
                            <a:srgbClr val="000000"/>
                          </a:solidFill>
                          <a:effectLst/>
                          <a:latin typeface="Arial"/>
                          <a:ea typeface="Times New Roman"/>
                          <a:cs typeface="Arial"/>
                        </a:rPr>
                        <a:t>– 15:30</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marL="0" lvl="0" indent="0" algn="l" defTabSz="914400" rtl="0" eaLnBrk="1" latinLnBrk="0" hangingPunct="1">
                        <a:spcBef>
                          <a:spcPts val="0"/>
                        </a:spcBef>
                        <a:spcAft>
                          <a:spcPts val="0"/>
                        </a:spcAft>
                        <a:buFont typeface="+mj-lt"/>
                        <a:buNone/>
                      </a:pPr>
                      <a:r>
                        <a:rPr lang="en-GB" sz="1200" b="1" kern="0" dirty="0" smtClean="0">
                          <a:solidFill>
                            <a:srgbClr val="000000"/>
                          </a:solidFill>
                          <a:effectLst/>
                          <a:latin typeface="Arial"/>
                          <a:ea typeface="Times New Roman"/>
                          <a:cs typeface="Times New Roman"/>
                        </a:rPr>
                        <a:t>11. Future </a:t>
                      </a:r>
                      <a:r>
                        <a:rPr lang="en-GB" sz="1200" b="1" kern="0" dirty="0">
                          <a:solidFill>
                            <a:srgbClr val="000000"/>
                          </a:solidFill>
                          <a:effectLst/>
                          <a:latin typeface="Arial"/>
                          <a:ea typeface="Times New Roman"/>
                          <a:cs typeface="Times New Roman"/>
                        </a:rPr>
                        <a:t>plan for XBID</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a:txBody>
                    <a:bodyPr/>
                    <a:lstStyle/>
                    <a:p>
                      <a:pPr>
                        <a:spcBef>
                          <a:spcPts val="0"/>
                        </a:spcBef>
                        <a:spcAft>
                          <a:spcPts val="0"/>
                        </a:spcAft>
                      </a:pPr>
                      <a:r>
                        <a:rPr lang="en-GB" sz="1200" b="0" kern="0" dirty="0">
                          <a:solidFill>
                            <a:srgbClr val="000000"/>
                          </a:solidFill>
                          <a:effectLst/>
                          <a:latin typeface="Arial"/>
                          <a:ea typeface="Times New Roman"/>
                          <a:cs typeface="Arial"/>
                        </a:rPr>
                        <a:t>Mark Pickles</a:t>
                      </a:r>
                      <a:endParaRPr lang="de-DE" sz="1200" b="1" kern="0" dirty="0">
                        <a:solidFill>
                          <a:srgbClr val="000000"/>
                        </a:solidFill>
                        <a:effectLst/>
                        <a:latin typeface="Arial"/>
                        <a:ea typeface="Times New Roman"/>
                        <a:cs typeface="Times New Roman"/>
                      </a:endParaRPr>
                    </a:p>
                    <a:p>
                      <a:pPr>
                        <a:spcBef>
                          <a:spcPts val="0"/>
                        </a:spcBef>
                        <a:spcAft>
                          <a:spcPts val="0"/>
                        </a:spcAft>
                      </a:pPr>
                      <a:r>
                        <a:rPr lang="en-GB" sz="1200" i="1" dirty="0">
                          <a:solidFill>
                            <a:srgbClr val="000000"/>
                          </a:solidFill>
                          <a:effectLst/>
                          <a:latin typeface="Arial"/>
                          <a:ea typeface="Times New Roman"/>
                        </a:rPr>
                        <a:t>TSO Project Manager</a:t>
                      </a:r>
                      <a:endParaRPr lang="de-DE" sz="1200" dirty="0">
                        <a:solidFill>
                          <a:srgbClr val="000000"/>
                        </a:solidFill>
                        <a:effectLst/>
                        <a:latin typeface="Arial"/>
                        <a:ea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r>
              <a:tr h="213276">
                <a:tc>
                  <a:txBody>
                    <a:bodyPr/>
                    <a:lstStyle/>
                    <a:p>
                      <a:pPr>
                        <a:spcBef>
                          <a:spcPts val="0"/>
                        </a:spcBef>
                        <a:spcAft>
                          <a:spcPts val="0"/>
                        </a:spcAft>
                      </a:pPr>
                      <a:r>
                        <a:rPr lang="en-GB" sz="1200" b="0" kern="0">
                          <a:solidFill>
                            <a:srgbClr val="000000"/>
                          </a:solidFill>
                          <a:effectLst/>
                          <a:latin typeface="Arial"/>
                          <a:ea typeface="Times New Roman"/>
                          <a:cs typeface="Arial"/>
                        </a:rPr>
                        <a:t>15:30 – 16:00 </a:t>
                      </a:r>
                      <a:endParaRPr lang="de-DE" sz="1200" b="1" kern="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gridSpan="2">
                  <a:txBody>
                    <a:bodyPr/>
                    <a:lstStyle/>
                    <a:p>
                      <a:pPr>
                        <a:spcBef>
                          <a:spcPts val="0"/>
                        </a:spcBef>
                        <a:spcAft>
                          <a:spcPts val="0"/>
                        </a:spcAft>
                      </a:pPr>
                      <a:r>
                        <a:rPr lang="en-GB" sz="1200" b="1" kern="0" dirty="0" smtClean="0">
                          <a:solidFill>
                            <a:srgbClr val="000000"/>
                          </a:solidFill>
                          <a:effectLst/>
                          <a:latin typeface="Arial"/>
                          <a:ea typeface="Times New Roman"/>
                          <a:cs typeface="Arial"/>
                        </a:rPr>
                        <a:t>Q&amp;A                                                                              </a:t>
                      </a:r>
                      <a:r>
                        <a:rPr lang="en-GB" sz="1200" b="0" kern="0" dirty="0" smtClean="0">
                          <a:solidFill>
                            <a:srgbClr val="000000"/>
                          </a:solidFill>
                          <a:effectLst/>
                          <a:latin typeface="+mn-lt"/>
                          <a:ea typeface="Times New Roman"/>
                          <a:cs typeface="Times New Roman"/>
                        </a:rPr>
                        <a:t>Hosted by Jean Verseille and Stefano Alaimo</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FFFF"/>
                    </a:solidFill>
                  </a:tcPr>
                </a:tc>
                <a:tc hMerge="1">
                  <a:txBody>
                    <a:bodyPr/>
                    <a:lstStyle/>
                    <a:p>
                      <a:endParaRPr lang="de-DE"/>
                    </a:p>
                  </a:txBody>
                  <a:tcPr/>
                </a:tc>
              </a:tr>
              <a:tr h="200624">
                <a:tc>
                  <a:txBody>
                    <a:bodyPr/>
                    <a:lstStyle/>
                    <a:p>
                      <a:pPr>
                        <a:spcBef>
                          <a:spcPts val="0"/>
                        </a:spcBef>
                        <a:spcAft>
                          <a:spcPts val="0"/>
                        </a:spcAft>
                      </a:pPr>
                      <a:r>
                        <a:rPr lang="en-GB" sz="1200" b="0" kern="0">
                          <a:solidFill>
                            <a:srgbClr val="000000"/>
                          </a:solidFill>
                          <a:effectLst/>
                          <a:latin typeface="Arial"/>
                          <a:ea typeface="Times New Roman"/>
                          <a:cs typeface="Arial"/>
                        </a:rPr>
                        <a:t>16:00 – 17:00</a:t>
                      </a:r>
                      <a:endParaRPr lang="de-DE" sz="1200" b="1" kern="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E3CC"/>
                    </a:solidFill>
                  </a:tcPr>
                </a:tc>
                <a:tc gridSpan="2">
                  <a:txBody>
                    <a:bodyPr/>
                    <a:lstStyle/>
                    <a:p>
                      <a:pPr>
                        <a:spcBef>
                          <a:spcPts val="0"/>
                        </a:spcBef>
                        <a:spcAft>
                          <a:spcPts val="0"/>
                        </a:spcAft>
                      </a:pPr>
                      <a:r>
                        <a:rPr lang="en-GB" sz="1200" b="0" kern="0" dirty="0">
                          <a:solidFill>
                            <a:srgbClr val="000000"/>
                          </a:solidFill>
                          <a:effectLst/>
                          <a:latin typeface="Arial"/>
                          <a:ea typeface="Times New Roman"/>
                          <a:cs typeface="Arial"/>
                        </a:rPr>
                        <a:t>Get together – drinks will be served </a:t>
                      </a:r>
                      <a:endParaRPr lang="de-DE" sz="1200" b="1" kern="0" dirty="0">
                        <a:solidFill>
                          <a:srgbClr val="000000"/>
                        </a:solidFill>
                        <a:effectLst/>
                        <a:latin typeface="Arial"/>
                        <a:ea typeface="Times New Roman"/>
                        <a:cs typeface="Times New Roman"/>
                      </a:endParaRPr>
                    </a:p>
                  </a:txBody>
                  <a:tcPr marL="48800" marR="48800" marT="0" marB="0">
                    <a:lnL w="12700" cap="flat" cmpd="sng" algn="ctr">
                      <a:solidFill>
                        <a:srgbClr val="FF9640"/>
                      </a:solidFill>
                      <a:prstDash val="solid"/>
                      <a:round/>
                      <a:headEnd type="none" w="med" len="med"/>
                      <a:tailEnd type="none" w="med" len="med"/>
                    </a:lnL>
                    <a:lnR w="12700" cap="flat" cmpd="sng" algn="ctr">
                      <a:solidFill>
                        <a:srgbClr val="FF9640"/>
                      </a:solidFill>
                      <a:prstDash val="solid"/>
                      <a:round/>
                      <a:headEnd type="none" w="med" len="med"/>
                      <a:tailEnd type="none" w="med" len="med"/>
                    </a:lnR>
                    <a:lnT w="12700" cap="flat" cmpd="sng" algn="ctr">
                      <a:solidFill>
                        <a:srgbClr val="FF9640"/>
                      </a:solidFill>
                      <a:prstDash val="solid"/>
                      <a:round/>
                      <a:headEnd type="none" w="med" len="med"/>
                      <a:tailEnd type="none" w="med" len="med"/>
                    </a:lnT>
                    <a:lnB w="12700" cap="flat" cmpd="sng" algn="ctr">
                      <a:solidFill>
                        <a:srgbClr val="FF9640"/>
                      </a:solidFill>
                      <a:prstDash val="solid"/>
                      <a:round/>
                      <a:headEnd type="none" w="med" len="med"/>
                      <a:tailEnd type="none" w="med" len="med"/>
                    </a:lnB>
                    <a:solidFill>
                      <a:srgbClr val="FFE3CC"/>
                    </a:solidFill>
                  </a:tcPr>
                </a:tc>
                <a:tc hMerge="1">
                  <a:txBody>
                    <a:bodyPr/>
                    <a:lstStyle/>
                    <a:p>
                      <a:endParaRPr lang="de-DE"/>
                    </a:p>
                  </a:txBody>
                  <a:tcPr/>
                </a:tc>
              </a:tr>
            </a:tbl>
          </a:graphicData>
        </a:graphic>
      </p:graphicFrame>
    </p:spTree>
    <p:extLst>
      <p:ext uri="{BB962C8B-B14F-4D97-AF65-F5344CB8AC3E}">
        <p14:creationId xmlns:p14="http://schemas.microsoft.com/office/powerpoint/2010/main" val="17934512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smtClean="0"/>
              <a:t>XBID </a:t>
            </a:r>
            <a:r>
              <a:rPr lang="en-GB" dirty="0"/>
              <a:t>– SOB</a:t>
            </a:r>
            <a:endParaRPr lang="es-ES"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30</a:t>
            </a:fld>
            <a:endParaRPr lang="de-DE" dirty="0"/>
          </a:p>
        </p:txBody>
      </p:sp>
      <p:sp>
        <p:nvSpPr>
          <p:cNvPr id="4" name="Marcador de texto 3"/>
          <p:cNvSpPr>
            <a:spLocks noGrp="1"/>
          </p:cNvSpPr>
          <p:nvPr>
            <p:ph type="body" sz="quarter" idx="13"/>
          </p:nvPr>
        </p:nvSpPr>
        <p:spPr/>
        <p:txBody>
          <a:bodyPr>
            <a:normAutofit fontScale="92500" lnSpcReduction="20000"/>
          </a:bodyPr>
          <a:lstStyle/>
          <a:p>
            <a:pPr marL="0" indent="0" algn="just">
              <a:buNone/>
            </a:pPr>
            <a:r>
              <a:rPr lang="en-GB" sz="1900" b="1" dirty="0" smtClean="0">
                <a:solidFill>
                  <a:schemeClr val="accent1"/>
                </a:solidFill>
                <a:cs typeface="Arial" panose="020B0604020202020204" pitchFamily="34" charset="0"/>
              </a:rPr>
              <a:t>SOB</a:t>
            </a:r>
            <a:endParaRPr lang="en-GB" sz="1900" dirty="0">
              <a:solidFill>
                <a:schemeClr val="accent1"/>
              </a:solidFill>
              <a:cs typeface="Arial" panose="020B0604020202020204" pitchFamily="34" charset="0"/>
            </a:endParaRPr>
          </a:p>
          <a:p>
            <a:pPr marL="285750" indent="-285750" algn="just">
              <a:buFont typeface="Arial"/>
              <a:buChar char="•"/>
            </a:pPr>
            <a:r>
              <a:rPr lang="en-GB" sz="1900" dirty="0"/>
              <a:t>Enters orders coming from LTS into a public order book </a:t>
            </a:r>
          </a:p>
          <a:p>
            <a:pPr marL="285750" indent="-285750">
              <a:buFont typeface="Arial"/>
              <a:buChar char="•"/>
            </a:pPr>
            <a:r>
              <a:rPr lang="en-GB" sz="1900" dirty="0"/>
              <a:t>Matches orders against the most suitable counter-orders  (following price-time-capacity priority criteria)</a:t>
            </a:r>
          </a:p>
          <a:p>
            <a:pPr marL="285750" indent="-285750" algn="just">
              <a:buFont typeface="Arial"/>
              <a:buChar char="•"/>
            </a:pPr>
            <a:r>
              <a:rPr lang="en-GB" sz="1900" dirty="0"/>
              <a:t>Initiates implicit capacity allocation</a:t>
            </a:r>
          </a:p>
          <a:p>
            <a:pPr algn="just"/>
            <a:endParaRPr lang="de-DE" sz="1900" dirty="0">
              <a:solidFill>
                <a:srgbClr val="000000"/>
              </a:solidFill>
              <a:cs typeface="Arial" panose="020B0604020202020204" pitchFamily="34" charset="0"/>
            </a:endParaRPr>
          </a:p>
          <a:p>
            <a:pPr marL="0" indent="0" algn="just">
              <a:buNone/>
            </a:pPr>
            <a:r>
              <a:rPr lang="en-GB" sz="1900" b="1" dirty="0">
                <a:solidFill>
                  <a:schemeClr val="accent1"/>
                </a:solidFill>
                <a:cs typeface="Arial" panose="020B0604020202020204" pitchFamily="34" charset="0"/>
              </a:rPr>
              <a:t>Price-time-capacity</a:t>
            </a:r>
            <a:r>
              <a:rPr lang="en-GB" sz="1900" dirty="0">
                <a:solidFill>
                  <a:schemeClr val="accent1">
                    <a:lumMod val="75000"/>
                  </a:schemeClr>
                </a:solidFill>
                <a:cs typeface="Arial" panose="020B0604020202020204" pitchFamily="34" charset="0"/>
              </a:rPr>
              <a:t> </a:t>
            </a:r>
            <a:r>
              <a:rPr lang="en-GB" sz="1900" dirty="0"/>
              <a:t>priority criteria</a:t>
            </a:r>
            <a:endParaRPr lang="de-DE" sz="1900" dirty="0"/>
          </a:p>
          <a:p>
            <a:pPr marL="342900" lvl="1" indent="-342900" algn="just">
              <a:buSzPct val="100000"/>
              <a:buFont typeface="Arial" panose="020B0604020202020204" pitchFamily="34" charset="0"/>
              <a:buChar char="•"/>
            </a:pPr>
            <a:r>
              <a:rPr lang="en-GB" sz="1900" dirty="0"/>
              <a:t>Price: Orders are always executed at the best price</a:t>
            </a:r>
          </a:p>
          <a:p>
            <a:pPr marL="342900" lvl="1" indent="-342900" algn="just">
              <a:buSzPct val="100000"/>
              <a:buFont typeface="Arial" panose="020B0604020202020204" pitchFamily="34" charset="0"/>
              <a:buChar char="•"/>
            </a:pPr>
            <a:r>
              <a:rPr lang="en-GB" sz="1900" dirty="0"/>
              <a:t>Time: A timestamp (assigned at entry into SOB) is used to prioritize orders with the same price limit (earlier means higher priority)</a:t>
            </a:r>
          </a:p>
          <a:p>
            <a:pPr marL="342900" lvl="1" indent="-342900" algn="just">
              <a:buSzPct val="100000"/>
              <a:buFont typeface="Arial" panose="020B0604020202020204" pitchFamily="34" charset="0"/>
              <a:buChar char="•"/>
            </a:pPr>
            <a:r>
              <a:rPr lang="en-GB" sz="1900" dirty="0"/>
              <a:t>Capacity: Capacity should be available to make order execution possible</a:t>
            </a:r>
          </a:p>
          <a:p>
            <a:pPr marL="180975" lvl="1" indent="0" algn="just">
              <a:buClr>
                <a:srgbClr val="000099"/>
              </a:buClr>
              <a:buSzPct val="120000"/>
              <a:buNone/>
            </a:pPr>
            <a:endParaRPr lang="de-DE" sz="1900" dirty="0">
              <a:solidFill>
                <a:srgbClr val="000000"/>
              </a:solidFill>
              <a:cs typeface="Arial" panose="020B0604020202020204" pitchFamily="34" charset="0"/>
            </a:endParaRPr>
          </a:p>
          <a:p>
            <a:pPr marL="0" indent="0" algn="just">
              <a:buNone/>
            </a:pPr>
            <a:r>
              <a:rPr lang="de-DE" sz="1900" b="1" dirty="0">
                <a:solidFill>
                  <a:schemeClr val="accent1"/>
                </a:solidFill>
                <a:cs typeface="Arial" panose="020B0604020202020204" pitchFamily="34" charset="0"/>
              </a:rPr>
              <a:t>Order Book Views</a:t>
            </a:r>
          </a:p>
          <a:p>
            <a:pPr marL="285750" indent="-285750">
              <a:buFont typeface="Arial"/>
              <a:buChar char="•"/>
            </a:pPr>
            <a:r>
              <a:rPr lang="nl-NL" sz="1900" dirty="0"/>
              <a:t>The </a:t>
            </a:r>
            <a:r>
              <a:rPr lang="en-GB" sz="1900" dirty="0"/>
              <a:t>SOB maintains a single </a:t>
            </a:r>
            <a:r>
              <a:rPr lang="en-GB" sz="1900" b="1" dirty="0">
                <a:solidFill>
                  <a:schemeClr val="accent1"/>
                </a:solidFill>
                <a:cs typeface="Arial" panose="020B0604020202020204" pitchFamily="34" charset="0"/>
              </a:rPr>
              <a:t>consolidated order book </a:t>
            </a:r>
            <a:r>
              <a:rPr lang="en-GB" sz="1900" dirty="0"/>
              <a:t>for all orders that are entered for a contract</a:t>
            </a:r>
          </a:p>
          <a:p>
            <a:pPr marL="285750" indent="-285750">
              <a:buFont typeface="Arial"/>
              <a:buChar char="•"/>
            </a:pPr>
            <a:r>
              <a:rPr lang="en-US" sz="1900" dirty="0"/>
              <a:t>CMM maintains two ATC values, one for each direction in that power could flow. Based on these two values the SOB module can calculate a </a:t>
            </a:r>
            <a:r>
              <a:rPr lang="en-US" sz="1900" dirty="0" err="1"/>
              <a:t>customised</a:t>
            </a:r>
            <a:r>
              <a:rPr lang="en-US" sz="1900" dirty="0"/>
              <a:t> </a:t>
            </a:r>
            <a:r>
              <a:rPr lang="en-US" sz="1900" b="1" dirty="0">
                <a:solidFill>
                  <a:schemeClr val="accent1"/>
                </a:solidFill>
                <a:cs typeface="Arial" panose="020B0604020202020204" pitchFamily="34" charset="0"/>
              </a:rPr>
              <a:t>local view </a:t>
            </a:r>
            <a:r>
              <a:rPr lang="en-US" sz="1900" dirty="0"/>
              <a:t>for each contract and delivery area, which contains all the executable orders for the concerned area.</a:t>
            </a:r>
            <a:endParaRPr lang="en-GB" sz="1900" dirty="0"/>
          </a:p>
          <a:p>
            <a:pPr marL="0" indent="0">
              <a:buNone/>
            </a:pPr>
            <a:endParaRPr lang="en-US" dirty="0"/>
          </a:p>
          <a:p>
            <a:endParaRPr lang="en-US" dirty="0"/>
          </a:p>
          <a:p>
            <a:endParaRPr lang="es-ES" dirty="0"/>
          </a:p>
        </p:txBody>
      </p:sp>
    </p:spTree>
    <p:extLst>
      <p:ext uri="{BB962C8B-B14F-4D97-AF65-F5344CB8AC3E}">
        <p14:creationId xmlns:p14="http://schemas.microsoft.com/office/powerpoint/2010/main" val="41399035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smtClean="0"/>
              <a:t>XBID </a:t>
            </a:r>
            <a:r>
              <a:rPr lang="en-GB" dirty="0"/>
              <a:t>– SOB. Order Book Update</a:t>
            </a:r>
            <a:endParaRPr lang="es-ES"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31</a:t>
            </a:fld>
            <a:endParaRPr lang="de-DE" dirty="0"/>
          </a:p>
        </p:txBody>
      </p:sp>
      <p:sp>
        <p:nvSpPr>
          <p:cNvPr id="4" name="Marcador de texto 3"/>
          <p:cNvSpPr>
            <a:spLocks noGrp="1"/>
          </p:cNvSpPr>
          <p:nvPr>
            <p:ph type="body" sz="quarter" idx="13"/>
          </p:nvPr>
        </p:nvSpPr>
        <p:spPr>
          <a:xfrm>
            <a:off x="4699221" y="1426865"/>
            <a:ext cx="4073700" cy="1650290"/>
          </a:xfrm>
        </p:spPr>
        <p:txBody>
          <a:bodyPr>
            <a:normAutofit fontScale="92500" lnSpcReduction="10000"/>
          </a:bodyPr>
          <a:lstStyle/>
          <a:p>
            <a:pPr marL="0" indent="0">
              <a:buNone/>
            </a:pPr>
            <a:endParaRPr lang="en-GB" dirty="0"/>
          </a:p>
          <a:p>
            <a:pPr marL="0" indent="0">
              <a:buNone/>
            </a:pPr>
            <a:r>
              <a:rPr lang="en-GB" dirty="0"/>
              <a:t>Calculation of the local view of an order book is based on the following factors:</a:t>
            </a:r>
          </a:p>
          <a:p>
            <a:pPr marL="0" indent="0">
              <a:buNone/>
            </a:pPr>
            <a:endParaRPr lang="en-US" dirty="0"/>
          </a:p>
          <a:p>
            <a:pPr lvl="1">
              <a:buFont typeface="Arial" panose="020B0604020202020204" pitchFamily="34" charset="0"/>
              <a:buChar char="•"/>
            </a:pPr>
            <a:r>
              <a:rPr lang="en-GB" dirty="0"/>
              <a:t>The available transmission capacity. </a:t>
            </a:r>
          </a:p>
          <a:p>
            <a:pPr lvl="1">
              <a:buFont typeface="Arial" panose="020B0604020202020204" pitchFamily="34" charset="0"/>
              <a:buChar char="•"/>
            </a:pPr>
            <a:r>
              <a:rPr lang="en-GB" dirty="0"/>
              <a:t>Orders entered for the contract.</a:t>
            </a:r>
          </a:p>
          <a:p>
            <a:pPr lvl="1">
              <a:buFont typeface="Arial" panose="020B0604020202020204" pitchFamily="34" charset="0"/>
              <a:buChar char="•"/>
            </a:pPr>
            <a:endParaRPr lang="en-GB" dirty="0"/>
          </a:p>
          <a:p>
            <a:pPr lvl="2"/>
            <a:endParaRPr lang="es-ES" dirty="0"/>
          </a:p>
        </p:txBody>
      </p:sp>
      <p:sp>
        <p:nvSpPr>
          <p:cNvPr id="8" name="CuadroTexto 7"/>
          <p:cNvSpPr txBox="1"/>
          <p:nvPr/>
        </p:nvSpPr>
        <p:spPr>
          <a:xfrm>
            <a:off x="3739178" y="3316896"/>
            <a:ext cx="4721010" cy="3000821"/>
          </a:xfrm>
          <a:prstGeom prst="rect">
            <a:avLst/>
          </a:prstGeom>
          <a:noFill/>
        </p:spPr>
        <p:txBody>
          <a:bodyPr wrap="square" lIns="0" tIns="0" rIns="0" bIns="0" rtlCol="0">
            <a:spAutoFit/>
          </a:bodyPr>
          <a:lstStyle/>
          <a:p>
            <a:r>
              <a:rPr lang="en-US" sz="1500" b="1" dirty="0">
                <a:solidFill>
                  <a:srgbClr val="FF0000"/>
                </a:solidFill>
                <a:latin typeface="+mj-lt"/>
              </a:rPr>
              <a:t>1. </a:t>
            </a:r>
            <a:r>
              <a:rPr lang="en-US" sz="1500" dirty="0">
                <a:latin typeface="+mj-lt"/>
              </a:rPr>
              <a:t>New order entered </a:t>
            </a:r>
          </a:p>
          <a:p>
            <a:r>
              <a:rPr lang="en-US" sz="1500" b="1" dirty="0">
                <a:solidFill>
                  <a:srgbClr val="FF0000"/>
                </a:solidFill>
                <a:latin typeface="+mj-lt"/>
              </a:rPr>
              <a:t>2-A. </a:t>
            </a:r>
            <a:r>
              <a:rPr lang="en-US" sz="1500" dirty="0">
                <a:latin typeface="+mj-lt"/>
              </a:rPr>
              <a:t>Trading Solution anonymized the order and forward to SOB</a:t>
            </a:r>
          </a:p>
          <a:p>
            <a:r>
              <a:rPr lang="en-US" sz="1500" b="1" dirty="0">
                <a:solidFill>
                  <a:srgbClr val="7030A0"/>
                </a:solidFill>
                <a:latin typeface="+mj-lt"/>
              </a:rPr>
              <a:t>2-B. </a:t>
            </a:r>
            <a:r>
              <a:rPr lang="en-US" sz="1500" dirty="0">
                <a:latin typeface="+mj-lt"/>
              </a:rPr>
              <a:t>Update available capacity.</a:t>
            </a:r>
          </a:p>
          <a:p>
            <a:endParaRPr lang="en-US" sz="1500" dirty="0">
              <a:latin typeface="+mj-lt"/>
            </a:endParaRPr>
          </a:p>
          <a:p>
            <a:r>
              <a:rPr lang="en-US" sz="1500" dirty="0">
                <a:latin typeface="+mj-lt"/>
              </a:rPr>
              <a:t>SOB validates if any orders in the local view of the order book can match and calculate the Local View for each DA</a:t>
            </a:r>
          </a:p>
          <a:p>
            <a:endParaRPr lang="en-US" sz="1500" dirty="0">
              <a:latin typeface="+mj-lt"/>
            </a:endParaRPr>
          </a:p>
          <a:p>
            <a:r>
              <a:rPr lang="en-GB" sz="1500" b="1" dirty="0">
                <a:solidFill>
                  <a:srgbClr val="83A644"/>
                </a:solidFill>
                <a:latin typeface="+mj-lt"/>
              </a:rPr>
              <a:t>3. </a:t>
            </a:r>
            <a:r>
              <a:rPr lang="en-GB" sz="1500" dirty="0">
                <a:latin typeface="+mj-lt"/>
              </a:rPr>
              <a:t>SOB send the result of order entry to trading solution </a:t>
            </a:r>
          </a:p>
          <a:p>
            <a:r>
              <a:rPr lang="en-GB" sz="1500" b="1" dirty="0">
                <a:solidFill>
                  <a:schemeClr val="accent2">
                    <a:lumMod val="75000"/>
                  </a:schemeClr>
                </a:solidFill>
                <a:latin typeface="+mj-lt"/>
              </a:rPr>
              <a:t>4. </a:t>
            </a:r>
            <a:r>
              <a:rPr lang="en-GB" sz="1500" dirty="0">
                <a:latin typeface="+mj-lt"/>
              </a:rPr>
              <a:t>Local view of the updated order book is published via the PMI to the Trading Solution</a:t>
            </a:r>
          </a:p>
          <a:p>
            <a:r>
              <a:rPr lang="en-GB" sz="1500" b="1" dirty="0">
                <a:solidFill>
                  <a:srgbClr val="4F81BD"/>
                </a:solidFill>
                <a:latin typeface="+mj-lt"/>
              </a:rPr>
              <a:t>5. </a:t>
            </a:r>
            <a:r>
              <a:rPr lang="en-GB" sz="1500" dirty="0">
                <a:latin typeface="+mj-lt"/>
              </a:rPr>
              <a:t>Trading Solution publish new local view</a:t>
            </a:r>
            <a:endParaRPr lang="es-ES" sz="1500" dirty="0">
              <a:latin typeface="+mj-lt"/>
            </a:endParaRPr>
          </a:p>
        </p:txBody>
      </p:sp>
      <p:pic>
        <p:nvPicPr>
          <p:cNvPr id="10" name="Imagen 9"/>
          <p:cNvPicPr>
            <a:picLocks noChangeAspect="1"/>
          </p:cNvPicPr>
          <p:nvPr/>
        </p:nvPicPr>
        <p:blipFill>
          <a:blip r:embed="rId3"/>
          <a:stretch>
            <a:fillRect/>
          </a:stretch>
        </p:blipFill>
        <p:spPr>
          <a:xfrm>
            <a:off x="213931" y="1426865"/>
            <a:ext cx="4321940" cy="4914601"/>
          </a:xfrm>
          <a:prstGeom prst="rect">
            <a:avLst/>
          </a:prstGeom>
        </p:spPr>
      </p:pic>
    </p:spTree>
    <p:extLst>
      <p:ext uri="{BB962C8B-B14F-4D97-AF65-F5344CB8AC3E}">
        <p14:creationId xmlns:p14="http://schemas.microsoft.com/office/powerpoint/2010/main" val="27852539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smtClean="0"/>
              <a:t>XBID </a:t>
            </a:r>
            <a:r>
              <a:rPr lang="en-GB" dirty="0"/>
              <a:t>– SOB. </a:t>
            </a:r>
            <a:r>
              <a:rPr lang="en-US" dirty="0"/>
              <a:t>Local View Calculation</a:t>
            </a:r>
            <a:endParaRPr lang="es-ES"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32</a:t>
            </a:fld>
            <a:endParaRPr lang="de-DE" dirty="0"/>
          </a:p>
        </p:txBody>
      </p:sp>
      <p:sp>
        <p:nvSpPr>
          <p:cNvPr id="4" name="Marcador de texto 3"/>
          <p:cNvSpPr>
            <a:spLocks noGrp="1"/>
          </p:cNvSpPr>
          <p:nvPr>
            <p:ph type="body" sz="quarter" idx="13"/>
          </p:nvPr>
        </p:nvSpPr>
        <p:spPr/>
        <p:txBody>
          <a:bodyPr>
            <a:normAutofit fontScale="85000" lnSpcReduction="20000"/>
          </a:bodyPr>
          <a:lstStyle/>
          <a:p>
            <a:pPr marL="0" indent="0" algn="just">
              <a:buClr>
                <a:srgbClr val="000099"/>
              </a:buClr>
              <a:buSzPct val="120000"/>
              <a:buNone/>
            </a:pPr>
            <a:r>
              <a:rPr lang="en-GB" sz="2100" b="1" dirty="0">
                <a:solidFill>
                  <a:schemeClr val="accent1"/>
                </a:solidFill>
                <a:cs typeface="Arial" panose="020B0604020202020204" pitchFamily="34" charset="0"/>
              </a:rPr>
              <a:t>Order Book Calculation</a:t>
            </a:r>
            <a:endParaRPr lang="en-GB" sz="2100" dirty="0">
              <a:solidFill>
                <a:schemeClr val="accent1"/>
              </a:solidFill>
              <a:cs typeface="Arial" panose="020B0604020202020204" pitchFamily="34" charset="0"/>
            </a:endParaRPr>
          </a:p>
          <a:p>
            <a:pPr marL="285750" indent="-285750" algn="just">
              <a:lnSpc>
                <a:spcPct val="90000"/>
              </a:lnSpc>
              <a:buSzPct val="100000"/>
              <a:buFont typeface="Arial"/>
              <a:buChar char="•"/>
            </a:pPr>
            <a:r>
              <a:rPr lang="en-GB" sz="2100" dirty="0"/>
              <a:t>Local views will be enriched with cross-border orders if sufficient transmission capacity is available</a:t>
            </a:r>
          </a:p>
          <a:p>
            <a:pPr marL="285750" indent="-285750" algn="just">
              <a:lnSpc>
                <a:spcPct val="90000"/>
              </a:lnSpc>
              <a:buSzPct val="100000"/>
              <a:buFont typeface="Arial"/>
              <a:buChar char="•"/>
            </a:pPr>
            <a:r>
              <a:rPr lang="en-GB" sz="2100" dirty="0"/>
              <a:t>The same order can be displayed in multiple local views (depending on available transmission capacity)</a:t>
            </a:r>
          </a:p>
          <a:p>
            <a:pPr marL="285750" indent="-285750" algn="just">
              <a:lnSpc>
                <a:spcPct val="90000"/>
              </a:lnSpc>
              <a:buSzPct val="100000"/>
              <a:buFont typeface="Arial"/>
              <a:buChar char="•"/>
            </a:pPr>
            <a:r>
              <a:rPr lang="en-GB" sz="2100" dirty="0"/>
              <a:t>Cross-border orders in the local views will be displayed up to the available capacity; hence orders can be shown with partial volume</a:t>
            </a:r>
          </a:p>
          <a:p>
            <a:pPr marL="285750" indent="-285750" algn="just">
              <a:lnSpc>
                <a:spcPct val="90000"/>
              </a:lnSpc>
              <a:buSzPct val="100000"/>
              <a:buFont typeface="Arial"/>
              <a:buChar char="•"/>
            </a:pPr>
            <a:r>
              <a:rPr lang="en-GB" sz="2100" dirty="0"/>
              <a:t>An order is removed from all local views after full execution, deactivation or deletion </a:t>
            </a:r>
          </a:p>
          <a:p>
            <a:pPr marL="285750" indent="-285750" algn="just">
              <a:lnSpc>
                <a:spcPct val="90000"/>
              </a:lnSpc>
              <a:buSzPct val="100000"/>
              <a:buFont typeface="Arial"/>
              <a:buChar char="•"/>
            </a:pPr>
            <a:r>
              <a:rPr lang="en-GB" sz="2100" dirty="0"/>
              <a:t>Orders that cannot be executed in the selected area because of a PX dispute are not displayed</a:t>
            </a:r>
          </a:p>
          <a:p>
            <a:pPr marL="171450" indent="-171450" algn="just">
              <a:buClr>
                <a:srgbClr val="000099"/>
              </a:buClr>
              <a:buSzPct val="120000"/>
            </a:pPr>
            <a:endParaRPr lang="en-GB" dirty="0">
              <a:solidFill>
                <a:srgbClr val="000000"/>
              </a:solidFill>
              <a:cs typeface="Arial" panose="020B0604020202020204" pitchFamily="34" charset="0"/>
            </a:endParaRPr>
          </a:p>
          <a:p>
            <a:pPr marL="0" indent="0" algn="just">
              <a:buClr>
                <a:srgbClr val="000099"/>
              </a:buClr>
              <a:buSzPct val="120000"/>
              <a:buNone/>
            </a:pPr>
            <a:r>
              <a:rPr lang="en-GB" sz="2100" b="1" dirty="0">
                <a:solidFill>
                  <a:schemeClr val="accent1"/>
                </a:solidFill>
                <a:cs typeface="Arial" panose="020B0604020202020204" pitchFamily="34" charset="0"/>
              </a:rPr>
              <a:t>Rules for Order Book Calculation</a:t>
            </a:r>
            <a:endParaRPr lang="en-GB" sz="2100" dirty="0">
              <a:solidFill>
                <a:schemeClr val="accent1"/>
              </a:solidFill>
              <a:cs typeface="Arial" panose="020B0604020202020204" pitchFamily="34" charset="0"/>
            </a:endParaRPr>
          </a:p>
          <a:p>
            <a:pPr marL="285750" indent="-285750" algn="just">
              <a:lnSpc>
                <a:spcPct val="90000"/>
              </a:lnSpc>
              <a:buSzPct val="100000"/>
              <a:buFont typeface="Arial"/>
              <a:buChar char="•"/>
            </a:pPr>
            <a:r>
              <a:rPr lang="en-GB" sz="2100" dirty="0"/>
              <a:t>Orders from other markets are selected based on available capacity and price-time-priority</a:t>
            </a:r>
          </a:p>
          <a:p>
            <a:pPr marL="285750" indent="-285750" algn="just">
              <a:lnSpc>
                <a:spcPct val="90000"/>
              </a:lnSpc>
              <a:buSzPct val="100000"/>
              <a:buFont typeface="Arial"/>
              <a:buChar char="•"/>
            </a:pPr>
            <a:r>
              <a:rPr lang="en-GB" sz="2100" dirty="0"/>
              <a:t>Iceberg orders are displayed with their visible quantity and not with their total quantity</a:t>
            </a:r>
          </a:p>
          <a:p>
            <a:pPr marL="285750" indent="-285750" algn="just">
              <a:lnSpc>
                <a:spcPct val="90000"/>
              </a:lnSpc>
              <a:buSzPct val="100000"/>
              <a:buFont typeface="Arial"/>
              <a:buChar char="•"/>
            </a:pPr>
            <a:r>
              <a:rPr lang="en-GB" sz="2100" dirty="0"/>
              <a:t>AON orders can only be displayed with full quantity</a:t>
            </a:r>
          </a:p>
          <a:p>
            <a:pPr algn="just">
              <a:buClr>
                <a:srgbClr val="000099"/>
              </a:buClr>
            </a:pPr>
            <a:endParaRPr lang="en-GB" dirty="0">
              <a:solidFill>
                <a:srgbClr val="000000"/>
              </a:solidFill>
              <a:cs typeface="Arial" panose="020B0604020202020204" pitchFamily="34" charset="0"/>
            </a:endParaRPr>
          </a:p>
          <a:p>
            <a:pPr marL="0" indent="0" algn="just">
              <a:buClr>
                <a:srgbClr val="000099"/>
              </a:buClr>
              <a:buNone/>
            </a:pPr>
            <a:r>
              <a:rPr lang="en-GB" b="1" dirty="0">
                <a:solidFill>
                  <a:srgbClr val="7F7F7F"/>
                </a:solidFill>
                <a:cs typeface="Arial" panose="020B0604020202020204" pitchFamily="34" charset="0"/>
              </a:rPr>
              <a:t>	</a:t>
            </a:r>
            <a:r>
              <a:rPr lang="en-GB" sz="1900" b="1" dirty="0">
                <a:cs typeface="Arial" panose="020B0604020202020204" pitchFamily="34" charset="0"/>
              </a:rPr>
              <a:t>Traders cannot see in which area the orders that they see in their local</a:t>
            </a:r>
          </a:p>
          <a:p>
            <a:pPr marL="0" indent="0" algn="just">
              <a:buClr>
                <a:srgbClr val="000099"/>
              </a:buClr>
              <a:buNone/>
            </a:pPr>
            <a:r>
              <a:rPr lang="en-GB" sz="1900" b="1" dirty="0">
                <a:cs typeface="Arial" panose="020B0604020202020204" pitchFamily="34" charset="0"/>
              </a:rPr>
              <a:t>	order book were entered</a:t>
            </a:r>
          </a:p>
          <a:p>
            <a:endParaRPr lang="es-ES" dirty="0"/>
          </a:p>
        </p:txBody>
      </p:sp>
      <p:sp>
        <p:nvSpPr>
          <p:cNvPr id="6" name="Pfeil nach rechts 4"/>
          <p:cNvSpPr/>
          <p:nvPr/>
        </p:nvSpPr>
        <p:spPr>
          <a:xfrm>
            <a:off x="539999" y="5581653"/>
            <a:ext cx="829340" cy="64858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GB"/>
          </a:p>
        </p:txBody>
      </p:sp>
    </p:spTree>
    <p:extLst>
      <p:ext uri="{BB962C8B-B14F-4D97-AF65-F5344CB8AC3E}">
        <p14:creationId xmlns:p14="http://schemas.microsoft.com/office/powerpoint/2010/main" val="2907326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smtClean="0"/>
              <a:t>XBID </a:t>
            </a:r>
            <a:r>
              <a:rPr lang="en-GB" dirty="0"/>
              <a:t>– SOB. </a:t>
            </a:r>
            <a:r>
              <a:rPr lang="en-US" dirty="0"/>
              <a:t>Cross Border Routing</a:t>
            </a:r>
            <a:endParaRPr lang="es-ES"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33</a:t>
            </a:fld>
            <a:endParaRPr lang="de-DE" dirty="0"/>
          </a:p>
        </p:txBody>
      </p:sp>
      <p:sp>
        <p:nvSpPr>
          <p:cNvPr id="4" name="Marcador de texto 3"/>
          <p:cNvSpPr>
            <a:spLocks noGrp="1"/>
          </p:cNvSpPr>
          <p:nvPr>
            <p:ph type="body" sz="quarter" idx="13"/>
          </p:nvPr>
        </p:nvSpPr>
        <p:spPr/>
        <p:txBody>
          <a:bodyPr>
            <a:normAutofit fontScale="92500" lnSpcReduction="10000"/>
          </a:bodyPr>
          <a:lstStyle/>
          <a:p>
            <a:pPr marL="0" indent="0" algn="just">
              <a:buNone/>
            </a:pPr>
            <a:r>
              <a:rPr lang="en-GB" b="1" dirty="0">
                <a:solidFill>
                  <a:schemeClr val="accent1"/>
                </a:solidFill>
                <a:cs typeface="Arial" panose="020B0604020202020204" pitchFamily="34" charset="0"/>
              </a:rPr>
              <a:t>Routing</a:t>
            </a:r>
          </a:p>
          <a:p>
            <a:pPr lvl="1" algn="just">
              <a:buClrTx/>
              <a:buSzPct val="100000"/>
              <a:buFont typeface="Arial" panose="020B0604020202020204" pitchFamily="34" charset="0"/>
              <a:buChar char="•"/>
            </a:pPr>
            <a:r>
              <a:rPr lang="en-GB" dirty="0">
                <a:cs typeface="Arial" panose="020B0604020202020204" pitchFamily="34" charset="0"/>
              </a:rPr>
              <a:t>Transportation of power via the delivery grid requires a calculation of a route (sequence of delivery areas) through the power network</a:t>
            </a:r>
          </a:p>
          <a:p>
            <a:pPr lvl="1" algn="just">
              <a:buClrTx/>
              <a:buSzPct val="100000"/>
              <a:buFont typeface="Arial" panose="020B0604020202020204" pitchFamily="34" charset="0"/>
              <a:buChar char="•"/>
            </a:pPr>
            <a:r>
              <a:rPr lang="en-GB" dirty="0">
                <a:cs typeface="Arial" panose="020B0604020202020204" pitchFamily="34" charset="0"/>
              </a:rPr>
              <a:t>Whenever multiple routes exist, the shortest path rule is applied to define the outcome of the routing process</a:t>
            </a:r>
          </a:p>
          <a:p>
            <a:pPr algn="just"/>
            <a:endParaRPr lang="en-GB" b="1" dirty="0">
              <a:cs typeface="Arial" panose="020B0604020202020204" pitchFamily="34" charset="0"/>
            </a:endParaRPr>
          </a:p>
          <a:p>
            <a:pPr marL="0" indent="0" algn="just">
              <a:buNone/>
            </a:pPr>
            <a:r>
              <a:rPr lang="en-GB" b="1" dirty="0">
                <a:solidFill>
                  <a:schemeClr val="accent1"/>
                </a:solidFill>
                <a:cs typeface="Arial" panose="020B0604020202020204" pitchFamily="34" charset="0"/>
              </a:rPr>
              <a:t>Routing calculation </a:t>
            </a:r>
            <a:r>
              <a:rPr lang="en-GB" dirty="0">
                <a:cs typeface="Arial" panose="020B0604020202020204" pitchFamily="34" charset="0"/>
              </a:rPr>
              <a:t>is done for:</a:t>
            </a:r>
          </a:p>
          <a:p>
            <a:pPr lvl="1" algn="just">
              <a:buClrTx/>
              <a:buSzPct val="100000"/>
              <a:buFont typeface="Arial" panose="020B0604020202020204" pitchFamily="34" charset="0"/>
              <a:buChar char="•"/>
            </a:pPr>
            <a:r>
              <a:rPr lang="en-GB" dirty="0">
                <a:cs typeface="Arial" panose="020B0604020202020204" pitchFamily="34" charset="0"/>
              </a:rPr>
              <a:t>Order Book Calculation </a:t>
            </a:r>
          </a:p>
          <a:p>
            <a:pPr lvl="1" algn="just">
              <a:buClrTx/>
              <a:buSzPct val="100000"/>
              <a:buFont typeface="Arial" panose="020B0604020202020204" pitchFamily="34" charset="0"/>
              <a:buChar char="•"/>
            </a:pPr>
            <a:r>
              <a:rPr lang="en-GB" dirty="0">
                <a:cs typeface="Arial" panose="020B0604020202020204" pitchFamily="34" charset="0"/>
              </a:rPr>
              <a:t>Trade Flow Calculation</a:t>
            </a:r>
          </a:p>
          <a:p>
            <a:pPr algn="just">
              <a:buClr>
                <a:srgbClr val="000099"/>
              </a:buClr>
            </a:pPr>
            <a:endParaRPr lang="de-DE" dirty="0">
              <a:solidFill>
                <a:srgbClr val="000000"/>
              </a:solidFill>
              <a:cs typeface="Arial" panose="020B0604020202020204" pitchFamily="34" charset="0"/>
            </a:endParaRPr>
          </a:p>
          <a:p>
            <a:pPr marL="0" indent="0" algn="just">
              <a:buClr>
                <a:srgbClr val="000099"/>
              </a:buClr>
              <a:buNone/>
            </a:pPr>
            <a:r>
              <a:rPr lang="en-GB" b="1" dirty="0">
                <a:solidFill>
                  <a:schemeClr val="accent1"/>
                </a:solidFill>
                <a:cs typeface="Arial" panose="020B0604020202020204" pitchFamily="34" charset="0"/>
              </a:rPr>
              <a:t>Shortest path rule</a:t>
            </a:r>
            <a:r>
              <a:rPr lang="en-GB" dirty="0">
                <a:cs typeface="Arial" panose="020B0604020202020204" pitchFamily="34" charset="0"/>
              </a:rPr>
              <a:t>:</a:t>
            </a:r>
          </a:p>
          <a:p>
            <a:pPr lvl="1" algn="just">
              <a:buSzPct val="100000"/>
              <a:buFont typeface="Arial" panose="020B0604020202020204" pitchFamily="34" charset="0"/>
              <a:buChar char="•"/>
            </a:pPr>
            <a:r>
              <a:rPr lang="en-GB" dirty="0">
                <a:cs typeface="Arial" panose="020B0604020202020204" pitchFamily="34" charset="0"/>
              </a:rPr>
              <a:t>If more than one route with sufficient ATC is available, the shortest route (smallest number of delivery areas) is selected</a:t>
            </a:r>
          </a:p>
          <a:p>
            <a:pPr lvl="1" algn="just">
              <a:buSzPct val="100000"/>
              <a:buFont typeface="Arial" panose="020B0604020202020204" pitchFamily="34" charset="0"/>
              <a:buChar char="•"/>
            </a:pPr>
            <a:r>
              <a:rPr lang="en-GB" dirty="0">
                <a:cs typeface="Arial" panose="020B0604020202020204" pitchFamily="34" charset="0"/>
              </a:rPr>
              <a:t>When the capacity of the first best route is depleted, the remaining quantity will be routed via the next best until either the full quantity has been transferred or no more routes with a positive ATC are available</a:t>
            </a:r>
          </a:p>
          <a:p>
            <a:pPr lvl="1" algn="just">
              <a:buSzPct val="100000"/>
              <a:buFont typeface="Arial" panose="020B0604020202020204" pitchFamily="34" charset="0"/>
              <a:buChar char="•"/>
            </a:pPr>
            <a:r>
              <a:rPr lang="en-US" dirty="0">
                <a:cs typeface="Arial" panose="020B0604020202020204" pitchFamily="34" charset="0"/>
              </a:rPr>
              <a:t>If more than one route fulfils the shortest path criteria, the system will select one of them in a deterministic manner</a:t>
            </a:r>
            <a:endParaRPr lang="es-ES" dirty="0"/>
          </a:p>
        </p:txBody>
      </p:sp>
    </p:spTree>
    <p:extLst>
      <p:ext uri="{BB962C8B-B14F-4D97-AF65-F5344CB8AC3E}">
        <p14:creationId xmlns:p14="http://schemas.microsoft.com/office/powerpoint/2010/main" val="6982217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ángulo 30"/>
          <p:cNvSpPr/>
          <p:nvPr/>
        </p:nvSpPr>
        <p:spPr>
          <a:xfrm>
            <a:off x="934243" y="4382118"/>
            <a:ext cx="6883200" cy="1978926"/>
          </a:xfrm>
          <a:prstGeom prst="rect">
            <a:avLst/>
          </a:prstGeom>
          <a:solidFill>
            <a:schemeClr val="bg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32" name="CuadroTexto 31"/>
          <p:cNvSpPr txBox="1"/>
          <p:nvPr/>
        </p:nvSpPr>
        <p:spPr>
          <a:xfrm rot="16200000">
            <a:off x="597411" y="5324349"/>
            <a:ext cx="1663163" cy="276999"/>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r>
              <a:rPr lang="es-ES" dirty="0"/>
              <a:t>CONTRACT    A</a:t>
            </a:r>
          </a:p>
        </p:txBody>
      </p:sp>
      <p:sp>
        <p:nvSpPr>
          <p:cNvPr id="30" name="Rectángulo 29"/>
          <p:cNvSpPr/>
          <p:nvPr/>
        </p:nvSpPr>
        <p:spPr>
          <a:xfrm>
            <a:off x="904947" y="1222057"/>
            <a:ext cx="6883200" cy="1998221"/>
          </a:xfrm>
          <a:prstGeom prst="rect">
            <a:avLst/>
          </a:prstGeom>
          <a:solidFill>
            <a:schemeClr val="bg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 name="Titel 1"/>
          <p:cNvSpPr>
            <a:spLocks noGrp="1"/>
          </p:cNvSpPr>
          <p:nvPr>
            <p:ph type="title"/>
          </p:nvPr>
        </p:nvSpPr>
        <p:spPr/>
        <p:txBody>
          <a:bodyPr/>
          <a:lstStyle/>
          <a:p>
            <a:r>
              <a:rPr lang="en-GB" dirty="0" smtClean="0"/>
              <a:t>XBID </a:t>
            </a:r>
            <a:r>
              <a:rPr lang="en-GB" dirty="0"/>
              <a:t>– SOB. Local View Update based on ATC</a:t>
            </a:r>
          </a:p>
        </p:txBody>
      </p:sp>
      <p:sp>
        <p:nvSpPr>
          <p:cNvPr id="3" name="Foliennummernplatzhalter 2"/>
          <p:cNvSpPr>
            <a:spLocks noGrp="1"/>
          </p:cNvSpPr>
          <p:nvPr>
            <p:ph type="sldNum" sz="quarter" idx="11"/>
          </p:nvPr>
        </p:nvSpPr>
        <p:spPr/>
        <p:txBody>
          <a:bodyPr/>
          <a:lstStyle/>
          <a:p>
            <a:fld id="{AD89DE65-C7D9-40CE-B96E-B8C3E7B233C5}" type="slidenum">
              <a:rPr lang="de-DE" smtClean="0"/>
              <a:pPr/>
              <a:t>34</a:t>
            </a:fld>
            <a:endParaRPr lang="de-DE" dirty="0"/>
          </a:p>
        </p:txBody>
      </p:sp>
      <p:graphicFrame>
        <p:nvGraphicFramePr>
          <p:cNvPr id="7" name="Tabla 6"/>
          <p:cNvGraphicFramePr>
            <a:graphicFrameLocks noGrp="1"/>
          </p:cNvGraphicFramePr>
          <p:nvPr>
            <p:extLst>
              <p:ext uri="{D42A27DB-BD31-4B8C-83A1-F6EECF244321}">
                <p14:modId xmlns:p14="http://schemas.microsoft.com/office/powerpoint/2010/main" val="419998163"/>
              </p:ext>
            </p:extLst>
          </p:nvPr>
        </p:nvGraphicFramePr>
        <p:xfrm>
          <a:off x="2050650" y="1333356"/>
          <a:ext cx="1336675" cy="1653544"/>
        </p:xfrm>
        <a:graphic>
          <a:graphicData uri="http://schemas.openxmlformats.org/drawingml/2006/table">
            <a:tbl>
              <a:tblPr firstRow="1" firstCol="1" bandRow="1">
                <a:tableStyleId>{5C22544A-7EE6-4342-B048-85BDC9FD1C3A}</a:tableStyleId>
              </a:tblPr>
              <a:tblGrid>
                <a:gridCol w="477520">
                  <a:extLst>
                    <a:ext uri="{9D8B030D-6E8A-4147-A177-3AD203B41FA5}">
                      <a16:colId xmlns="" xmlns:a16="http://schemas.microsoft.com/office/drawing/2014/main" val="20000"/>
                    </a:ext>
                  </a:extLst>
                </a:gridCol>
                <a:gridCol w="381635">
                  <a:extLst>
                    <a:ext uri="{9D8B030D-6E8A-4147-A177-3AD203B41FA5}">
                      <a16:colId xmlns="" xmlns:a16="http://schemas.microsoft.com/office/drawing/2014/main" val="20001"/>
                    </a:ext>
                  </a:extLst>
                </a:gridCol>
                <a:gridCol w="477520">
                  <a:extLst>
                    <a:ext uri="{9D8B030D-6E8A-4147-A177-3AD203B41FA5}">
                      <a16:colId xmlns="" xmlns:a16="http://schemas.microsoft.com/office/drawing/2014/main" val="20002"/>
                    </a:ext>
                  </a:extLst>
                </a:gridCol>
              </a:tblGrid>
              <a:tr h="0">
                <a:tc gridSpan="3">
                  <a:txBody>
                    <a:bodyPr/>
                    <a:lstStyle/>
                    <a:p>
                      <a:pPr algn="ctr">
                        <a:lnSpc>
                          <a:spcPts val="1350"/>
                        </a:lnSpc>
                        <a:spcBef>
                          <a:spcPts val="300"/>
                        </a:spcBef>
                        <a:spcAft>
                          <a:spcPts val="400"/>
                        </a:spcAft>
                      </a:pPr>
                      <a:r>
                        <a:rPr lang="en-GB" sz="1000" dirty="0">
                          <a:effectLst/>
                        </a:rPr>
                        <a:t>Delivery</a:t>
                      </a:r>
                      <a:r>
                        <a:rPr lang="en-GB" sz="1000" baseline="0" dirty="0">
                          <a:effectLst/>
                        </a:rPr>
                        <a:t> </a:t>
                      </a:r>
                      <a:r>
                        <a:rPr lang="en-GB" sz="1000" dirty="0">
                          <a:effectLst/>
                        </a:rPr>
                        <a:t>Area 1</a:t>
                      </a:r>
                      <a:endParaRPr lang="es-ES" sz="1000" dirty="0">
                        <a:effectLst/>
                        <a:latin typeface="News Gothic GDB"/>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s-ES"/>
                    </a:p>
                  </a:txBody>
                  <a:tcPr/>
                </a:tc>
                <a:tc hMerge="1">
                  <a:txBody>
                    <a:bodyPr/>
                    <a:lstStyle/>
                    <a:p>
                      <a:endParaRPr lang="es-ES"/>
                    </a:p>
                  </a:txBody>
                  <a:tcPr/>
                </a:tc>
                <a:extLst>
                  <a:ext uri="{0D108BD9-81ED-4DB2-BD59-A6C34878D82A}">
                    <a16:rowId xmlns="" xmlns:a16="http://schemas.microsoft.com/office/drawing/2014/main" val="10000"/>
                  </a:ext>
                </a:extLst>
              </a:tr>
              <a:tr h="0">
                <a:tc>
                  <a:txBody>
                    <a:bodyPr/>
                    <a:lstStyle/>
                    <a:p>
                      <a:pPr algn="ctr">
                        <a:lnSpc>
                          <a:spcPts val="1350"/>
                        </a:lnSpc>
                        <a:spcBef>
                          <a:spcPts val="200"/>
                        </a:spcBef>
                        <a:spcAft>
                          <a:spcPts val="200"/>
                        </a:spcAft>
                      </a:pPr>
                      <a:r>
                        <a:rPr lang="en-GB" sz="1000">
                          <a:effectLst/>
                        </a:rPr>
                        <a:t>Price</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tc>
                  <a:txBody>
                    <a:bodyPr/>
                    <a:lstStyle/>
                    <a:p>
                      <a:pPr algn="ctr">
                        <a:lnSpc>
                          <a:spcPts val="1350"/>
                        </a:lnSpc>
                        <a:spcBef>
                          <a:spcPts val="200"/>
                        </a:spcBef>
                        <a:spcAft>
                          <a:spcPts val="200"/>
                        </a:spcAft>
                      </a:pPr>
                      <a:r>
                        <a:rPr lang="en-GB" sz="1000">
                          <a:effectLst/>
                        </a:rPr>
                        <a:t>Bid</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tc>
                  <a:txBody>
                    <a:bodyPr/>
                    <a:lstStyle/>
                    <a:p>
                      <a:pPr algn="ctr">
                        <a:lnSpc>
                          <a:spcPts val="1350"/>
                        </a:lnSpc>
                        <a:spcBef>
                          <a:spcPts val="200"/>
                        </a:spcBef>
                        <a:spcAft>
                          <a:spcPts val="200"/>
                        </a:spcAft>
                      </a:pPr>
                      <a:r>
                        <a:rPr lang="en-GB" sz="1000">
                          <a:effectLst/>
                        </a:rPr>
                        <a:t>Ask</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extLst>
                  <a:ext uri="{0D108BD9-81ED-4DB2-BD59-A6C34878D82A}">
                    <a16:rowId xmlns="" xmlns:a16="http://schemas.microsoft.com/office/drawing/2014/main" val="10001"/>
                  </a:ext>
                </a:extLst>
              </a:tr>
              <a:tr h="0">
                <a:tc>
                  <a:txBody>
                    <a:bodyPr/>
                    <a:lstStyle/>
                    <a:p>
                      <a:pPr algn="ctr">
                        <a:lnSpc>
                          <a:spcPts val="1350"/>
                        </a:lnSpc>
                        <a:spcBef>
                          <a:spcPts val="100"/>
                        </a:spcBef>
                        <a:spcAft>
                          <a:spcPts val="100"/>
                        </a:spcAft>
                      </a:pPr>
                      <a:r>
                        <a:rPr lang="en-GB" sz="1000" dirty="0">
                          <a:effectLst/>
                        </a:rPr>
                        <a:t>25</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10</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2"/>
                  </a:ext>
                </a:extLst>
              </a:tr>
              <a:tr h="0">
                <a:tc>
                  <a:txBody>
                    <a:bodyPr/>
                    <a:lstStyle/>
                    <a:p>
                      <a:pPr algn="ctr">
                        <a:lnSpc>
                          <a:spcPts val="1350"/>
                        </a:lnSpc>
                        <a:spcBef>
                          <a:spcPts val="100"/>
                        </a:spcBef>
                        <a:spcAft>
                          <a:spcPts val="100"/>
                        </a:spcAft>
                      </a:pPr>
                      <a:r>
                        <a:rPr lang="en-GB" sz="1000" dirty="0">
                          <a:effectLst/>
                        </a:rPr>
                        <a:t>24</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50</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3"/>
                  </a:ext>
                </a:extLst>
              </a:tr>
              <a:tr h="0">
                <a:tc>
                  <a:txBody>
                    <a:bodyPr/>
                    <a:lstStyle/>
                    <a:p>
                      <a:pPr algn="ctr">
                        <a:lnSpc>
                          <a:spcPts val="1350"/>
                        </a:lnSpc>
                        <a:spcBef>
                          <a:spcPts val="100"/>
                        </a:spcBef>
                        <a:spcAft>
                          <a:spcPts val="100"/>
                        </a:spcAft>
                      </a:pPr>
                      <a:r>
                        <a:rPr lang="en-GB" sz="1000" dirty="0">
                          <a:effectLst/>
                        </a:rPr>
                        <a:t>23</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4"/>
                  </a:ext>
                </a:extLst>
              </a:tr>
              <a:tr h="0">
                <a:tc>
                  <a:txBody>
                    <a:bodyPr/>
                    <a:lstStyle/>
                    <a:p>
                      <a:pPr algn="ctr">
                        <a:lnSpc>
                          <a:spcPts val="1350"/>
                        </a:lnSpc>
                        <a:spcBef>
                          <a:spcPts val="100"/>
                        </a:spcBef>
                        <a:spcAft>
                          <a:spcPts val="100"/>
                        </a:spcAft>
                      </a:pPr>
                      <a:r>
                        <a:rPr lang="en-GB" sz="1000" dirty="0">
                          <a:effectLst/>
                        </a:rPr>
                        <a:t>22</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5"/>
                  </a:ext>
                </a:extLst>
              </a:tr>
              <a:tr h="0">
                <a:tc>
                  <a:txBody>
                    <a:bodyPr/>
                    <a:lstStyle/>
                    <a:p>
                      <a:pPr algn="ctr">
                        <a:lnSpc>
                          <a:spcPts val="1350"/>
                        </a:lnSpc>
                        <a:spcBef>
                          <a:spcPts val="100"/>
                        </a:spcBef>
                        <a:spcAft>
                          <a:spcPts val="100"/>
                        </a:spcAft>
                      </a:pPr>
                      <a:r>
                        <a:rPr lang="en-GB" sz="1000" dirty="0">
                          <a:effectLst/>
                        </a:rPr>
                        <a:t>19</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6"/>
                  </a:ext>
                </a:extLst>
              </a:tr>
              <a:tr h="0">
                <a:tc>
                  <a:txBody>
                    <a:bodyPr/>
                    <a:lstStyle/>
                    <a:p>
                      <a:pPr algn="ctr">
                        <a:lnSpc>
                          <a:spcPts val="1350"/>
                        </a:lnSpc>
                        <a:spcBef>
                          <a:spcPts val="100"/>
                        </a:spcBef>
                        <a:spcAft>
                          <a:spcPts val="100"/>
                        </a:spcAft>
                      </a:pPr>
                      <a:r>
                        <a:rPr lang="en-GB" sz="1000" dirty="0">
                          <a:effectLst/>
                        </a:rPr>
                        <a:t>18</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7"/>
                  </a:ext>
                </a:extLst>
              </a:tr>
              <a:tr h="0">
                <a:tc>
                  <a:txBody>
                    <a:bodyPr/>
                    <a:lstStyle/>
                    <a:p>
                      <a:pPr algn="ctr">
                        <a:lnSpc>
                          <a:spcPts val="1350"/>
                        </a:lnSpc>
                        <a:spcBef>
                          <a:spcPts val="100"/>
                        </a:spcBef>
                        <a:spcAft>
                          <a:spcPts val="100"/>
                        </a:spcAft>
                      </a:pPr>
                      <a:r>
                        <a:rPr lang="en-GB" sz="1000" dirty="0">
                          <a:effectLst/>
                        </a:rPr>
                        <a:t>17</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40</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8"/>
                  </a:ext>
                </a:extLst>
              </a:tr>
              <a:tr h="0">
                <a:tc>
                  <a:txBody>
                    <a:bodyPr/>
                    <a:lstStyle/>
                    <a:p>
                      <a:pPr algn="ctr">
                        <a:lnSpc>
                          <a:spcPts val="1350"/>
                        </a:lnSpc>
                        <a:spcBef>
                          <a:spcPts val="100"/>
                        </a:spcBef>
                        <a:spcAft>
                          <a:spcPts val="100"/>
                        </a:spcAft>
                      </a:pPr>
                      <a:r>
                        <a:rPr lang="en-GB" sz="1000" dirty="0">
                          <a:effectLst/>
                          <a:latin typeface="+mn-lt"/>
                          <a:ea typeface="+mn-ea"/>
                          <a:cs typeface="+mn-cs"/>
                        </a:rPr>
                        <a:t>16</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s-ES" sz="1000" dirty="0">
                          <a:effectLst/>
                          <a:latin typeface="News Gothic GDB"/>
                          <a:ea typeface="Times New Roman" panose="02020603050405020304" pitchFamily="18" charset="0"/>
                          <a:cs typeface="Times New Roman" panose="02020603050405020304" pitchFamily="18" charset="0"/>
                        </a:rPr>
                        <a:t>7</a:t>
                      </a:r>
                    </a:p>
                  </a:txBody>
                  <a:tcPr marL="68580" marR="68580" marT="0" marB="0"/>
                </a:tc>
                <a:tc>
                  <a:txBody>
                    <a:bodyPr/>
                    <a:lstStyle/>
                    <a:p>
                      <a:pPr algn="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9"/>
                  </a:ext>
                </a:extLst>
              </a:tr>
            </a:tbl>
          </a:graphicData>
        </a:graphic>
      </p:graphicFrame>
      <p:graphicFrame>
        <p:nvGraphicFramePr>
          <p:cNvPr id="11" name="Tabla 10"/>
          <p:cNvGraphicFramePr>
            <a:graphicFrameLocks noGrp="1"/>
          </p:cNvGraphicFramePr>
          <p:nvPr>
            <p:extLst>
              <p:ext uri="{D42A27DB-BD31-4B8C-83A1-F6EECF244321}">
                <p14:modId xmlns:p14="http://schemas.microsoft.com/office/powerpoint/2010/main" val="2806208439"/>
              </p:ext>
            </p:extLst>
          </p:nvPr>
        </p:nvGraphicFramePr>
        <p:xfrm>
          <a:off x="5561011" y="1333356"/>
          <a:ext cx="1336675" cy="1637987"/>
        </p:xfrm>
        <a:graphic>
          <a:graphicData uri="http://schemas.openxmlformats.org/drawingml/2006/table">
            <a:tbl>
              <a:tblPr firstRow="1" firstCol="1" bandRow="1">
                <a:tableStyleId>{5C22544A-7EE6-4342-B048-85BDC9FD1C3A}</a:tableStyleId>
              </a:tblPr>
              <a:tblGrid>
                <a:gridCol w="477520">
                  <a:extLst>
                    <a:ext uri="{9D8B030D-6E8A-4147-A177-3AD203B41FA5}">
                      <a16:colId xmlns="" xmlns:a16="http://schemas.microsoft.com/office/drawing/2014/main" val="20000"/>
                    </a:ext>
                  </a:extLst>
                </a:gridCol>
                <a:gridCol w="381635">
                  <a:extLst>
                    <a:ext uri="{9D8B030D-6E8A-4147-A177-3AD203B41FA5}">
                      <a16:colId xmlns="" xmlns:a16="http://schemas.microsoft.com/office/drawing/2014/main" val="20001"/>
                    </a:ext>
                  </a:extLst>
                </a:gridCol>
                <a:gridCol w="477520">
                  <a:extLst>
                    <a:ext uri="{9D8B030D-6E8A-4147-A177-3AD203B41FA5}">
                      <a16:colId xmlns="" xmlns:a16="http://schemas.microsoft.com/office/drawing/2014/main" val="20002"/>
                    </a:ext>
                  </a:extLst>
                </a:gridCol>
              </a:tblGrid>
              <a:tr h="0">
                <a:tc gridSpan="3">
                  <a:txBody>
                    <a:bodyPr/>
                    <a:lstStyle/>
                    <a:p>
                      <a:pPr algn="ctr">
                        <a:lnSpc>
                          <a:spcPts val="1350"/>
                        </a:lnSpc>
                        <a:spcBef>
                          <a:spcPts val="300"/>
                        </a:spcBef>
                        <a:spcAft>
                          <a:spcPts val="400"/>
                        </a:spcAft>
                      </a:pPr>
                      <a:r>
                        <a:rPr lang="en-GB" sz="1000" dirty="0">
                          <a:effectLst/>
                        </a:rPr>
                        <a:t>Delivery Area 2</a:t>
                      </a:r>
                      <a:endParaRPr lang="es-ES" sz="1000" dirty="0">
                        <a:effectLst/>
                        <a:latin typeface="News Gothic GDB"/>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s-ES"/>
                    </a:p>
                  </a:txBody>
                  <a:tcPr/>
                </a:tc>
                <a:tc hMerge="1">
                  <a:txBody>
                    <a:bodyPr/>
                    <a:lstStyle/>
                    <a:p>
                      <a:endParaRPr lang="es-ES"/>
                    </a:p>
                  </a:txBody>
                  <a:tcPr/>
                </a:tc>
                <a:extLst>
                  <a:ext uri="{0D108BD9-81ED-4DB2-BD59-A6C34878D82A}">
                    <a16:rowId xmlns="" xmlns:a16="http://schemas.microsoft.com/office/drawing/2014/main" val="10000"/>
                  </a:ext>
                </a:extLst>
              </a:tr>
              <a:tr h="0">
                <a:tc>
                  <a:txBody>
                    <a:bodyPr/>
                    <a:lstStyle/>
                    <a:p>
                      <a:pPr algn="ctr">
                        <a:lnSpc>
                          <a:spcPts val="1350"/>
                        </a:lnSpc>
                        <a:spcBef>
                          <a:spcPts val="200"/>
                        </a:spcBef>
                        <a:spcAft>
                          <a:spcPts val="200"/>
                        </a:spcAft>
                      </a:pPr>
                      <a:r>
                        <a:rPr lang="en-GB" sz="1000">
                          <a:effectLst/>
                        </a:rPr>
                        <a:t>Price</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tc>
                  <a:txBody>
                    <a:bodyPr/>
                    <a:lstStyle/>
                    <a:p>
                      <a:pPr algn="ctr">
                        <a:lnSpc>
                          <a:spcPts val="1350"/>
                        </a:lnSpc>
                        <a:spcBef>
                          <a:spcPts val="200"/>
                        </a:spcBef>
                        <a:spcAft>
                          <a:spcPts val="200"/>
                        </a:spcAft>
                      </a:pPr>
                      <a:r>
                        <a:rPr lang="en-GB" sz="1000">
                          <a:effectLst/>
                        </a:rPr>
                        <a:t>Bid</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tc>
                  <a:txBody>
                    <a:bodyPr/>
                    <a:lstStyle/>
                    <a:p>
                      <a:pPr algn="ctr">
                        <a:lnSpc>
                          <a:spcPts val="1350"/>
                        </a:lnSpc>
                        <a:spcBef>
                          <a:spcPts val="200"/>
                        </a:spcBef>
                        <a:spcAft>
                          <a:spcPts val="200"/>
                        </a:spcAft>
                      </a:pPr>
                      <a:r>
                        <a:rPr lang="en-GB" sz="1000">
                          <a:effectLst/>
                        </a:rPr>
                        <a:t>Ask</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extLst>
                  <a:ext uri="{0D108BD9-81ED-4DB2-BD59-A6C34878D82A}">
                    <a16:rowId xmlns="" xmlns:a16="http://schemas.microsoft.com/office/drawing/2014/main" val="10001"/>
                  </a:ext>
                </a:extLst>
              </a:tr>
              <a:tr h="0">
                <a:tc>
                  <a:txBody>
                    <a:bodyPr/>
                    <a:lstStyle/>
                    <a:p>
                      <a:pPr algn="ctr">
                        <a:lnSpc>
                          <a:spcPts val="1350"/>
                        </a:lnSpc>
                        <a:spcBef>
                          <a:spcPts val="100"/>
                        </a:spcBef>
                        <a:spcAft>
                          <a:spcPts val="100"/>
                        </a:spcAft>
                      </a:pPr>
                      <a:r>
                        <a:rPr lang="en-GB" sz="1000" dirty="0">
                          <a:effectLst/>
                        </a:rPr>
                        <a:t>25</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l">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2"/>
                  </a:ext>
                </a:extLst>
              </a:tr>
              <a:tr h="0">
                <a:tc>
                  <a:txBody>
                    <a:bodyPr/>
                    <a:lstStyle/>
                    <a:p>
                      <a:pPr algn="ctr">
                        <a:lnSpc>
                          <a:spcPts val="1350"/>
                        </a:lnSpc>
                        <a:spcBef>
                          <a:spcPts val="100"/>
                        </a:spcBef>
                        <a:spcAft>
                          <a:spcPts val="100"/>
                        </a:spcAft>
                      </a:pPr>
                      <a:r>
                        <a:rPr lang="en-GB" sz="1000" dirty="0">
                          <a:effectLst/>
                        </a:rPr>
                        <a:t>24</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l">
                        <a:lnSpc>
                          <a:spcPts val="1350"/>
                        </a:lnSpc>
                        <a:spcBef>
                          <a:spcPts val="100"/>
                        </a:spcBef>
                        <a:spcAft>
                          <a:spcPts val="100"/>
                        </a:spcAft>
                      </a:pPr>
                      <a:r>
                        <a:rPr lang="en-GB" sz="1000" dirty="0">
                          <a:effectLst/>
                        </a:rPr>
                        <a:t>35</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3"/>
                  </a:ext>
                </a:extLst>
              </a:tr>
              <a:tr h="0">
                <a:tc>
                  <a:txBody>
                    <a:bodyPr/>
                    <a:lstStyle/>
                    <a:p>
                      <a:pPr algn="ctr">
                        <a:lnSpc>
                          <a:spcPts val="1350"/>
                        </a:lnSpc>
                        <a:spcBef>
                          <a:spcPts val="100"/>
                        </a:spcBef>
                        <a:spcAft>
                          <a:spcPts val="100"/>
                        </a:spcAft>
                      </a:pPr>
                      <a:r>
                        <a:rPr lang="en-GB" sz="1000" dirty="0">
                          <a:effectLst/>
                        </a:rPr>
                        <a:t>23</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10</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4"/>
                  </a:ext>
                </a:extLst>
              </a:tr>
              <a:tr h="0">
                <a:tc>
                  <a:txBody>
                    <a:bodyPr/>
                    <a:lstStyle/>
                    <a:p>
                      <a:pPr algn="ctr">
                        <a:lnSpc>
                          <a:spcPts val="1350"/>
                        </a:lnSpc>
                        <a:spcBef>
                          <a:spcPts val="100"/>
                        </a:spcBef>
                        <a:spcAft>
                          <a:spcPts val="100"/>
                        </a:spcAft>
                      </a:pPr>
                      <a:r>
                        <a:rPr lang="en-GB" sz="1000" dirty="0">
                          <a:effectLst/>
                        </a:rPr>
                        <a:t>22</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50</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5"/>
                  </a:ext>
                </a:extLst>
              </a:tr>
              <a:tr h="0">
                <a:tc>
                  <a:txBody>
                    <a:bodyPr/>
                    <a:lstStyle/>
                    <a:p>
                      <a:pPr algn="ctr">
                        <a:lnSpc>
                          <a:spcPts val="1350"/>
                        </a:lnSpc>
                        <a:spcBef>
                          <a:spcPts val="100"/>
                        </a:spcBef>
                        <a:spcAft>
                          <a:spcPts val="100"/>
                        </a:spcAft>
                      </a:pPr>
                      <a:r>
                        <a:rPr lang="en-GB" sz="1000" dirty="0">
                          <a:effectLst/>
                        </a:rPr>
                        <a:t>19</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40</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6"/>
                  </a:ext>
                </a:extLst>
              </a:tr>
              <a:tr h="0">
                <a:tc>
                  <a:txBody>
                    <a:bodyPr/>
                    <a:lstStyle/>
                    <a:p>
                      <a:pPr algn="ctr">
                        <a:lnSpc>
                          <a:spcPts val="1350"/>
                        </a:lnSpc>
                        <a:spcBef>
                          <a:spcPts val="100"/>
                        </a:spcBef>
                        <a:spcAft>
                          <a:spcPts val="100"/>
                        </a:spcAft>
                      </a:pPr>
                      <a:r>
                        <a:rPr lang="en-GB" sz="1000" dirty="0">
                          <a:effectLst/>
                        </a:rPr>
                        <a:t>18</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5</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7"/>
                  </a:ext>
                </a:extLst>
              </a:tr>
              <a:tr h="0">
                <a:tc>
                  <a:txBody>
                    <a:bodyPr/>
                    <a:lstStyle/>
                    <a:p>
                      <a:pPr algn="ctr">
                        <a:lnSpc>
                          <a:spcPts val="1350"/>
                        </a:lnSpc>
                        <a:spcBef>
                          <a:spcPts val="100"/>
                        </a:spcBef>
                        <a:spcAft>
                          <a:spcPts val="100"/>
                        </a:spcAft>
                      </a:pPr>
                      <a:r>
                        <a:rPr lang="en-GB" sz="1000" dirty="0">
                          <a:effectLst/>
                        </a:rPr>
                        <a:t>17</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8"/>
                  </a:ext>
                </a:extLst>
              </a:tr>
              <a:tr h="0">
                <a:tc>
                  <a:txBody>
                    <a:bodyPr/>
                    <a:lstStyle/>
                    <a:p>
                      <a:pPr algn="ctr">
                        <a:lnSpc>
                          <a:spcPts val="1350"/>
                        </a:lnSpc>
                        <a:spcBef>
                          <a:spcPts val="100"/>
                        </a:spcBef>
                        <a:spcAft>
                          <a:spcPts val="100"/>
                        </a:spcAft>
                      </a:pPr>
                      <a:r>
                        <a:rPr lang="en-GB" sz="1000" dirty="0">
                          <a:effectLst/>
                          <a:latin typeface="+mn-lt"/>
                          <a:ea typeface="+mn-ea"/>
                          <a:cs typeface="+mn-cs"/>
                        </a:rPr>
                        <a:t>16</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9"/>
                  </a:ext>
                </a:extLst>
              </a:tr>
            </a:tbl>
          </a:graphicData>
        </a:graphic>
      </p:graphicFrame>
      <p:graphicFrame>
        <p:nvGraphicFramePr>
          <p:cNvPr id="12" name="Tabla 11"/>
          <p:cNvGraphicFramePr>
            <a:graphicFrameLocks noGrp="1"/>
          </p:cNvGraphicFramePr>
          <p:nvPr>
            <p:extLst>
              <p:ext uri="{D42A27DB-BD31-4B8C-83A1-F6EECF244321}">
                <p14:modId xmlns:p14="http://schemas.microsoft.com/office/powerpoint/2010/main" val="2066754462"/>
              </p:ext>
            </p:extLst>
          </p:nvPr>
        </p:nvGraphicFramePr>
        <p:xfrm>
          <a:off x="2050650" y="4439626"/>
          <a:ext cx="1432560" cy="1622430"/>
        </p:xfrm>
        <a:graphic>
          <a:graphicData uri="http://schemas.openxmlformats.org/drawingml/2006/table">
            <a:tbl>
              <a:tblPr firstRow="1" firstCol="1" bandRow="1">
                <a:tableStyleId>{5C22544A-7EE6-4342-B048-85BDC9FD1C3A}</a:tableStyleId>
              </a:tblPr>
              <a:tblGrid>
                <a:gridCol w="477520">
                  <a:extLst>
                    <a:ext uri="{9D8B030D-6E8A-4147-A177-3AD203B41FA5}">
                      <a16:colId xmlns="" xmlns:a16="http://schemas.microsoft.com/office/drawing/2014/main" val="20000"/>
                    </a:ext>
                  </a:extLst>
                </a:gridCol>
                <a:gridCol w="477520">
                  <a:extLst>
                    <a:ext uri="{9D8B030D-6E8A-4147-A177-3AD203B41FA5}">
                      <a16:colId xmlns="" xmlns:a16="http://schemas.microsoft.com/office/drawing/2014/main" val="20001"/>
                    </a:ext>
                  </a:extLst>
                </a:gridCol>
                <a:gridCol w="477520">
                  <a:extLst>
                    <a:ext uri="{9D8B030D-6E8A-4147-A177-3AD203B41FA5}">
                      <a16:colId xmlns="" xmlns:a16="http://schemas.microsoft.com/office/drawing/2014/main" val="20002"/>
                    </a:ext>
                  </a:extLst>
                </a:gridCol>
              </a:tblGrid>
              <a:tr h="88831">
                <a:tc gridSpan="3">
                  <a:txBody>
                    <a:bodyPr/>
                    <a:lstStyle/>
                    <a:p>
                      <a:pPr algn="ctr">
                        <a:lnSpc>
                          <a:spcPts val="1350"/>
                        </a:lnSpc>
                        <a:spcBef>
                          <a:spcPts val="300"/>
                        </a:spcBef>
                        <a:spcAft>
                          <a:spcPts val="400"/>
                        </a:spcAft>
                      </a:pPr>
                      <a:r>
                        <a:rPr lang="en-GB" sz="1000" dirty="0">
                          <a:effectLst/>
                        </a:rPr>
                        <a:t>Delivery Area </a:t>
                      </a:r>
                      <a:r>
                        <a:rPr lang="es-ES" sz="1000" dirty="0">
                          <a:effectLst/>
                          <a:latin typeface="News Gothic GDB"/>
                          <a:cs typeface="Times New Roman" panose="02020603050405020304" pitchFamily="18" charset="0"/>
                        </a:rPr>
                        <a:t>1</a:t>
                      </a:r>
                      <a:endParaRPr lang="es-ES" sz="1000" dirty="0">
                        <a:effectLst/>
                        <a:latin typeface="News Gothic GDB"/>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s-ES"/>
                    </a:p>
                  </a:txBody>
                  <a:tcPr/>
                </a:tc>
                <a:tc hMerge="1">
                  <a:txBody>
                    <a:bodyPr/>
                    <a:lstStyle/>
                    <a:p>
                      <a:endParaRPr lang="es-ES"/>
                    </a:p>
                  </a:txBody>
                  <a:tcPr/>
                </a:tc>
                <a:extLst>
                  <a:ext uri="{0D108BD9-81ED-4DB2-BD59-A6C34878D82A}">
                    <a16:rowId xmlns="" xmlns:a16="http://schemas.microsoft.com/office/drawing/2014/main" val="10000"/>
                  </a:ext>
                </a:extLst>
              </a:tr>
              <a:tr h="0">
                <a:tc>
                  <a:txBody>
                    <a:bodyPr/>
                    <a:lstStyle/>
                    <a:p>
                      <a:pPr algn="ctr">
                        <a:lnSpc>
                          <a:spcPts val="1350"/>
                        </a:lnSpc>
                        <a:spcBef>
                          <a:spcPts val="200"/>
                        </a:spcBef>
                        <a:spcAft>
                          <a:spcPts val="200"/>
                        </a:spcAft>
                      </a:pPr>
                      <a:r>
                        <a:rPr lang="en-GB" sz="1000" dirty="0">
                          <a:effectLst/>
                        </a:rPr>
                        <a:t>Price</a:t>
                      </a:r>
                      <a:endParaRPr lang="es-ES" sz="1000" dirty="0">
                        <a:effectLst/>
                        <a:latin typeface="News Gothic GDB"/>
                        <a:ea typeface="Calibri" panose="020F0502020204030204" pitchFamily="34" charset="0"/>
                        <a:cs typeface="Times New Roman" panose="02020603050405020304" pitchFamily="18" charset="0"/>
                      </a:endParaRPr>
                    </a:p>
                  </a:txBody>
                  <a:tcPr marL="68580" marR="68580" marT="0" marB="0"/>
                </a:tc>
                <a:tc>
                  <a:txBody>
                    <a:bodyPr/>
                    <a:lstStyle/>
                    <a:p>
                      <a:pPr algn="ctr">
                        <a:lnSpc>
                          <a:spcPts val="1350"/>
                        </a:lnSpc>
                        <a:spcBef>
                          <a:spcPts val="200"/>
                        </a:spcBef>
                        <a:spcAft>
                          <a:spcPts val="200"/>
                        </a:spcAft>
                      </a:pPr>
                      <a:r>
                        <a:rPr lang="en-GB" sz="1000">
                          <a:effectLst/>
                        </a:rPr>
                        <a:t>Bid</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tc>
                  <a:txBody>
                    <a:bodyPr/>
                    <a:lstStyle/>
                    <a:p>
                      <a:pPr algn="ctr">
                        <a:lnSpc>
                          <a:spcPts val="1350"/>
                        </a:lnSpc>
                        <a:spcBef>
                          <a:spcPts val="200"/>
                        </a:spcBef>
                        <a:spcAft>
                          <a:spcPts val="200"/>
                        </a:spcAft>
                      </a:pPr>
                      <a:r>
                        <a:rPr lang="en-GB" sz="1000">
                          <a:effectLst/>
                        </a:rPr>
                        <a:t>Ask</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extLst>
                  <a:ext uri="{0D108BD9-81ED-4DB2-BD59-A6C34878D82A}">
                    <a16:rowId xmlns="" xmlns:a16="http://schemas.microsoft.com/office/drawing/2014/main" val="10001"/>
                  </a:ext>
                </a:extLst>
              </a:tr>
              <a:tr h="0">
                <a:tc>
                  <a:txBody>
                    <a:bodyPr/>
                    <a:lstStyle/>
                    <a:p>
                      <a:pPr algn="ctr">
                        <a:lnSpc>
                          <a:spcPts val="1350"/>
                        </a:lnSpc>
                        <a:spcBef>
                          <a:spcPts val="100"/>
                        </a:spcBef>
                        <a:spcAft>
                          <a:spcPts val="100"/>
                        </a:spcAft>
                      </a:pPr>
                      <a:r>
                        <a:rPr lang="en-GB" sz="1000" dirty="0">
                          <a:effectLst/>
                        </a:rPr>
                        <a:t>25</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10</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2"/>
                  </a:ext>
                </a:extLst>
              </a:tr>
              <a:tr h="0">
                <a:tc>
                  <a:txBody>
                    <a:bodyPr/>
                    <a:lstStyle/>
                    <a:p>
                      <a:pPr algn="ctr">
                        <a:lnSpc>
                          <a:spcPts val="1350"/>
                        </a:lnSpc>
                        <a:spcBef>
                          <a:spcPts val="100"/>
                        </a:spcBef>
                        <a:spcAft>
                          <a:spcPts val="100"/>
                        </a:spcAft>
                      </a:pPr>
                      <a:r>
                        <a:rPr lang="en-GB" sz="1000" dirty="0">
                          <a:effectLst/>
                        </a:rPr>
                        <a:t>24</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b="1" dirty="0">
                          <a:solidFill>
                            <a:srgbClr val="FF0000"/>
                          </a:solidFill>
                          <a:effectLst/>
                        </a:rPr>
                        <a:t>50</a:t>
                      </a:r>
                      <a:endParaRPr lang="es-ES" sz="1000" b="1" dirty="0">
                        <a:solidFill>
                          <a:srgbClr val="FF0000"/>
                        </a:solidFill>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3"/>
                  </a:ext>
                </a:extLst>
              </a:tr>
              <a:tr h="0">
                <a:tc>
                  <a:txBody>
                    <a:bodyPr/>
                    <a:lstStyle/>
                    <a:p>
                      <a:pPr algn="ctr">
                        <a:lnSpc>
                          <a:spcPts val="1350"/>
                        </a:lnSpc>
                        <a:spcBef>
                          <a:spcPts val="100"/>
                        </a:spcBef>
                        <a:spcAft>
                          <a:spcPts val="100"/>
                        </a:spcAft>
                      </a:pPr>
                      <a:r>
                        <a:rPr lang="en-GB" sz="1000" dirty="0">
                          <a:effectLst/>
                        </a:rPr>
                        <a:t>23</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4"/>
                  </a:ext>
                </a:extLst>
              </a:tr>
              <a:tr h="0">
                <a:tc>
                  <a:txBody>
                    <a:bodyPr/>
                    <a:lstStyle/>
                    <a:p>
                      <a:pPr algn="ctr">
                        <a:lnSpc>
                          <a:spcPts val="1350"/>
                        </a:lnSpc>
                        <a:spcBef>
                          <a:spcPts val="100"/>
                        </a:spcBef>
                        <a:spcAft>
                          <a:spcPts val="100"/>
                        </a:spcAft>
                      </a:pPr>
                      <a:r>
                        <a:rPr lang="en-GB" sz="1000" dirty="0">
                          <a:effectLst/>
                        </a:rPr>
                        <a:t>22</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b="1" dirty="0">
                          <a:solidFill>
                            <a:srgbClr val="00B050"/>
                          </a:solidFill>
                          <a:effectLst/>
                          <a:latin typeface="+mn-lt"/>
                          <a:ea typeface="+mn-ea"/>
                          <a:cs typeface="+mn-cs"/>
                        </a:rPr>
                        <a:t>29</a:t>
                      </a:r>
                      <a:endParaRPr lang="es-ES" sz="1000" b="1" dirty="0">
                        <a:solidFill>
                          <a:srgbClr val="00B050"/>
                        </a:solidFill>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5"/>
                  </a:ext>
                </a:extLst>
              </a:tr>
              <a:tr h="0">
                <a:tc>
                  <a:txBody>
                    <a:bodyPr/>
                    <a:lstStyle/>
                    <a:p>
                      <a:pPr algn="ctr">
                        <a:lnSpc>
                          <a:spcPts val="1350"/>
                        </a:lnSpc>
                        <a:spcBef>
                          <a:spcPts val="100"/>
                        </a:spcBef>
                        <a:spcAft>
                          <a:spcPts val="100"/>
                        </a:spcAft>
                      </a:pPr>
                      <a:r>
                        <a:rPr lang="en-GB" sz="1000" dirty="0">
                          <a:effectLst/>
                        </a:rPr>
                        <a:t>19</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b="1" dirty="0">
                          <a:solidFill>
                            <a:srgbClr val="FF0000"/>
                          </a:solidFill>
                          <a:effectLst/>
                        </a:rPr>
                        <a:t>25</a:t>
                      </a:r>
                      <a:endParaRPr lang="es-ES" sz="1000" b="1" dirty="0">
                        <a:solidFill>
                          <a:srgbClr val="FF0000"/>
                        </a:solidFill>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6"/>
                  </a:ext>
                </a:extLst>
              </a:tr>
              <a:tr h="0">
                <a:tc>
                  <a:txBody>
                    <a:bodyPr/>
                    <a:lstStyle/>
                    <a:p>
                      <a:pPr algn="ctr">
                        <a:lnSpc>
                          <a:spcPts val="1350"/>
                        </a:lnSpc>
                        <a:spcBef>
                          <a:spcPts val="100"/>
                        </a:spcBef>
                        <a:spcAft>
                          <a:spcPts val="100"/>
                        </a:spcAft>
                      </a:pPr>
                      <a:r>
                        <a:rPr lang="en-GB" sz="1000" dirty="0">
                          <a:effectLst/>
                        </a:rPr>
                        <a:t>18</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7"/>
                  </a:ext>
                </a:extLst>
              </a:tr>
              <a:tr h="0">
                <a:tc>
                  <a:txBody>
                    <a:bodyPr/>
                    <a:lstStyle/>
                    <a:p>
                      <a:pPr algn="ctr">
                        <a:lnSpc>
                          <a:spcPts val="1350"/>
                        </a:lnSpc>
                        <a:spcBef>
                          <a:spcPts val="100"/>
                        </a:spcBef>
                        <a:spcAft>
                          <a:spcPts val="100"/>
                        </a:spcAft>
                      </a:pPr>
                      <a:r>
                        <a:rPr lang="en-GB" sz="1000" dirty="0">
                          <a:effectLst/>
                        </a:rPr>
                        <a:t>17</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b="1" kern="1200" dirty="0">
                          <a:solidFill>
                            <a:srgbClr val="00B050"/>
                          </a:solidFill>
                          <a:effectLst/>
                          <a:latin typeface="+mn-lt"/>
                          <a:ea typeface="+mn-ea"/>
                          <a:cs typeface="+mn-cs"/>
                        </a:rPr>
                        <a:t>40</a:t>
                      </a:r>
                      <a:endParaRPr lang="es-ES" sz="1000" b="1" kern="1200" dirty="0">
                        <a:solidFill>
                          <a:srgbClr val="00B050"/>
                        </a:solidFill>
                        <a:effectLst/>
                        <a:latin typeface="+mn-lt"/>
                        <a:ea typeface="+mn-ea"/>
                        <a:cs typeface="+mn-cs"/>
                      </a:endParaRPr>
                    </a:p>
                  </a:txBody>
                  <a:tcPr marL="68580" marR="68580" marT="0" marB="0"/>
                </a:tc>
                <a:tc>
                  <a:txBody>
                    <a:bodyPr/>
                    <a:lstStyle/>
                    <a:p>
                      <a:pPr algn="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8"/>
                  </a:ext>
                </a:extLst>
              </a:tr>
              <a:tr h="0">
                <a:tc>
                  <a:txBody>
                    <a:bodyPr/>
                    <a:lstStyle/>
                    <a:p>
                      <a:pPr algn="ctr">
                        <a:lnSpc>
                          <a:spcPts val="1350"/>
                        </a:lnSpc>
                        <a:spcBef>
                          <a:spcPts val="100"/>
                        </a:spcBef>
                        <a:spcAft>
                          <a:spcPts val="100"/>
                        </a:spcAft>
                      </a:pPr>
                      <a:r>
                        <a:rPr lang="en-GB" sz="1000" dirty="0">
                          <a:effectLst/>
                          <a:latin typeface="+mn-lt"/>
                          <a:ea typeface="+mn-ea"/>
                          <a:cs typeface="+mn-cs"/>
                        </a:rPr>
                        <a:t>16</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7</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9"/>
                  </a:ext>
                </a:extLst>
              </a:tr>
            </a:tbl>
          </a:graphicData>
        </a:graphic>
      </p:graphicFrame>
      <p:graphicFrame>
        <p:nvGraphicFramePr>
          <p:cNvPr id="13" name="Tabla 12"/>
          <p:cNvGraphicFramePr>
            <a:graphicFrameLocks noGrp="1"/>
          </p:cNvGraphicFramePr>
          <p:nvPr>
            <p:extLst>
              <p:ext uri="{D42A27DB-BD31-4B8C-83A1-F6EECF244321}">
                <p14:modId xmlns:p14="http://schemas.microsoft.com/office/powerpoint/2010/main" val="1463218129"/>
              </p:ext>
            </p:extLst>
          </p:nvPr>
        </p:nvGraphicFramePr>
        <p:xfrm>
          <a:off x="5477081" y="4439626"/>
          <a:ext cx="1504537" cy="1646197"/>
        </p:xfrm>
        <a:graphic>
          <a:graphicData uri="http://schemas.openxmlformats.org/drawingml/2006/table">
            <a:tbl>
              <a:tblPr firstRow="1" firstCol="1" bandRow="1">
                <a:tableStyleId>{5C22544A-7EE6-4342-B048-85BDC9FD1C3A}</a:tableStyleId>
              </a:tblPr>
              <a:tblGrid>
                <a:gridCol w="477520">
                  <a:extLst>
                    <a:ext uri="{9D8B030D-6E8A-4147-A177-3AD203B41FA5}">
                      <a16:colId xmlns="" xmlns:a16="http://schemas.microsoft.com/office/drawing/2014/main" val="20000"/>
                    </a:ext>
                  </a:extLst>
                </a:gridCol>
                <a:gridCol w="477520">
                  <a:extLst>
                    <a:ext uri="{9D8B030D-6E8A-4147-A177-3AD203B41FA5}">
                      <a16:colId xmlns="" xmlns:a16="http://schemas.microsoft.com/office/drawing/2014/main" val="20001"/>
                    </a:ext>
                  </a:extLst>
                </a:gridCol>
                <a:gridCol w="549497">
                  <a:extLst>
                    <a:ext uri="{9D8B030D-6E8A-4147-A177-3AD203B41FA5}">
                      <a16:colId xmlns="" xmlns:a16="http://schemas.microsoft.com/office/drawing/2014/main" val="20002"/>
                    </a:ext>
                  </a:extLst>
                </a:gridCol>
              </a:tblGrid>
              <a:tr h="0">
                <a:tc gridSpan="3">
                  <a:txBody>
                    <a:bodyPr/>
                    <a:lstStyle/>
                    <a:p>
                      <a:pPr algn="ctr">
                        <a:lnSpc>
                          <a:spcPts val="1350"/>
                        </a:lnSpc>
                        <a:spcBef>
                          <a:spcPts val="300"/>
                        </a:spcBef>
                        <a:spcAft>
                          <a:spcPts val="400"/>
                        </a:spcAft>
                      </a:pPr>
                      <a:r>
                        <a:rPr lang="en-GB" sz="1000" dirty="0">
                          <a:effectLst/>
                        </a:rPr>
                        <a:t>Delivery Area 2</a:t>
                      </a:r>
                      <a:endParaRPr lang="es-ES" sz="1000" dirty="0">
                        <a:effectLst/>
                        <a:latin typeface="News Gothic GDB"/>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s-ES"/>
                    </a:p>
                  </a:txBody>
                  <a:tcPr/>
                </a:tc>
                <a:tc hMerge="1">
                  <a:txBody>
                    <a:bodyPr/>
                    <a:lstStyle/>
                    <a:p>
                      <a:endParaRPr lang="es-ES"/>
                    </a:p>
                  </a:txBody>
                  <a:tcPr/>
                </a:tc>
                <a:extLst>
                  <a:ext uri="{0D108BD9-81ED-4DB2-BD59-A6C34878D82A}">
                    <a16:rowId xmlns="" xmlns:a16="http://schemas.microsoft.com/office/drawing/2014/main" val="10000"/>
                  </a:ext>
                </a:extLst>
              </a:tr>
              <a:tr h="0">
                <a:tc>
                  <a:txBody>
                    <a:bodyPr/>
                    <a:lstStyle/>
                    <a:p>
                      <a:pPr marL="0" algn="ctr" defTabSz="914400" rtl="0" eaLnBrk="1" latinLnBrk="0" hangingPunct="1">
                        <a:lnSpc>
                          <a:spcPts val="1350"/>
                        </a:lnSpc>
                        <a:spcBef>
                          <a:spcPts val="100"/>
                        </a:spcBef>
                        <a:spcAft>
                          <a:spcPts val="100"/>
                        </a:spcAft>
                      </a:pPr>
                      <a:r>
                        <a:rPr lang="en-GB" sz="1000" b="1" kern="1200" dirty="0">
                          <a:solidFill>
                            <a:schemeClr val="lt1"/>
                          </a:solidFill>
                          <a:effectLst/>
                          <a:latin typeface="+mn-lt"/>
                          <a:ea typeface="+mn-ea"/>
                          <a:cs typeface="+mn-cs"/>
                        </a:rPr>
                        <a:t>Price</a:t>
                      </a:r>
                      <a:endParaRPr lang="es-ES" sz="1000" b="1" kern="1200" dirty="0">
                        <a:solidFill>
                          <a:schemeClr val="lt1"/>
                        </a:solidFill>
                        <a:effectLst/>
                        <a:latin typeface="+mn-lt"/>
                        <a:ea typeface="+mn-ea"/>
                        <a:cs typeface="+mn-cs"/>
                      </a:endParaRPr>
                    </a:p>
                  </a:txBody>
                  <a:tcPr marL="68580" marR="68580" marT="0" marB="0"/>
                </a:tc>
                <a:tc>
                  <a:txBody>
                    <a:bodyPr/>
                    <a:lstStyle/>
                    <a:p>
                      <a:pPr algn="ctr">
                        <a:lnSpc>
                          <a:spcPts val="1350"/>
                        </a:lnSpc>
                        <a:spcBef>
                          <a:spcPts val="200"/>
                        </a:spcBef>
                        <a:spcAft>
                          <a:spcPts val="200"/>
                        </a:spcAft>
                      </a:pPr>
                      <a:r>
                        <a:rPr lang="en-GB" sz="1000">
                          <a:effectLst/>
                        </a:rPr>
                        <a:t>Bid</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tc>
                  <a:txBody>
                    <a:bodyPr/>
                    <a:lstStyle/>
                    <a:p>
                      <a:pPr algn="ctr">
                        <a:lnSpc>
                          <a:spcPts val="1350"/>
                        </a:lnSpc>
                        <a:spcBef>
                          <a:spcPts val="200"/>
                        </a:spcBef>
                        <a:spcAft>
                          <a:spcPts val="200"/>
                        </a:spcAft>
                      </a:pPr>
                      <a:r>
                        <a:rPr lang="en-GB" sz="1000">
                          <a:effectLst/>
                        </a:rPr>
                        <a:t>Ask</a:t>
                      </a:r>
                      <a:endParaRPr lang="es-ES" sz="1000">
                        <a:effectLst/>
                        <a:latin typeface="News Gothic GDB"/>
                        <a:ea typeface="Calibri" panose="020F0502020204030204" pitchFamily="34" charset="0"/>
                        <a:cs typeface="Times New Roman" panose="02020603050405020304" pitchFamily="18" charset="0"/>
                      </a:endParaRPr>
                    </a:p>
                  </a:txBody>
                  <a:tcPr marL="68580" marR="68580" marT="0" marB="0"/>
                </a:tc>
                <a:extLst>
                  <a:ext uri="{0D108BD9-81ED-4DB2-BD59-A6C34878D82A}">
                    <a16:rowId xmlns="" xmlns:a16="http://schemas.microsoft.com/office/drawing/2014/main" val="10001"/>
                  </a:ext>
                </a:extLst>
              </a:tr>
              <a:tr h="0">
                <a:tc>
                  <a:txBody>
                    <a:bodyPr/>
                    <a:lstStyle/>
                    <a:p>
                      <a:pPr algn="ctr">
                        <a:lnSpc>
                          <a:spcPts val="1350"/>
                        </a:lnSpc>
                        <a:spcBef>
                          <a:spcPts val="100"/>
                        </a:spcBef>
                        <a:spcAft>
                          <a:spcPts val="100"/>
                        </a:spcAft>
                      </a:pPr>
                      <a:r>
                        <a:rPr lang="en-GB" sz="1000" dirty="0">
                          <a:effectLst/>
                        </a:rPr>
                        <a:t>25</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l">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2"/>
                  </a:ext>
                </a:extLst>
              </a:tr>
              <a:tr h="0">
                <a:tc>
                  <a:txBody>
                    <a:bodyPr/>
                    <a:lstStyle/>
                    <a:p>
                      <a:pPr algn="ctr">
                        <a:lnSpc>
                          <a:spcPts val="1350"/>
                        </a:lnSpc>
                        <a:spcBef>
                          <a:spcPts val="100"/>
                        </a:spcBef>
                        <a:spcAft>
                          <a:spcPts val="100"/>
                        </a:spcAft>
                      </a:pPr>
                      <a:r>
                        <a:rPr lang="en-GB" sz="1000" dirty="0">
                          <a:effectLst/>
                        </a:rPr>
                        <a:t>24</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l">
                        <a:lnSpc>
                          <a:spcPts val="1350"/>
                        </a:lnSpc>
                        <a:spcBef>
                          <a:spcPts val="100"/>
                        </a:spcBef>
                        <a:spcAft>
                          <a:spcPts val="100"/>
                        </a:spcAft>
                      </a:pPr>
                      <a:r>
                        <a:rPr lang="en-GB" sz="1000" dirty="0">
                          <a:effectLst/>
                        </a:rPr>
                        <a:t>35,</a:t>
                      </a:r>
                      <a:r>
                        <a:rPr lang="en-GB" sz="1000" b="1" dirty="0">
                          <a:solidFill>
                            <a:srgbClr val="FF0000"/>
                          </a:solidFill>
                          <a:effectLst/>
                        </a:rPr>
                        <a:t>25</a:t>
                      </a:r>
                      <a:endParaRPr lang="es-ES" sz="1000" b="1" dirty="0">
                        <a:solidFill>
                          <a:srgbClr val="FF0000"/>
                        </a:solidFill>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3"/>
                  </a:ext>
                </a:extLst>
              </a:tr>
              <a:tr h="0">
                <a:tc>
                  <a:txBody>
                    <a:bodyPr/>
                    <a:lstStyle/>
                    <a:p>
                      <a:pPr algn="ctr">
                        <a:lnSpc>
                          <a:spcPts val="1350"/>
                        </a:lnSpc>
                        <a:spcBef>
                          <a:spcPts val="100"/>
                        </a:spcBef>
                        <a:spcAft>
                          <a:spcPts val="100"/>
                        </a:spcAft>
                      </a:pPr>
                      <a:r>
                        <a:rPr lang="en-GB" sz="1000" dirty="0">
                          <a:effectLst/>
                        </a:rPr>
                        <a:t>23</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10</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4"/>
                  </a:ext>
                </a:extLst>
              </a:tr>
              <a:tr h="0">
                <a:tc>
                  <a:txBody>
                    <a:bodyPr/>
                    <a:lstStyle/>
                    <a:p>
                      <a:pPr algn="ctr">
                        <a:lnSpc>
                          <a:spcPts val="1350"/>
                        </a:lnSpc>
                        <a:spcBef>
                          <a:spcPts val="100"/>
                        </a:spcBef>
                        <a:spcAft>
                          <a:spcPts val="100"/>
                        </a:spcAft>
                      </a:pPr>
                      <a:r>
                        <a:rPr lang="en-GB" sz="1000" dirty="0">
                          <a:effectLst/>
                        </a:rPr>
                        <a:t>22</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b="1" dirty="0">
                          <a:solidFill>
                            <a:srgbClr val="00B050"/>
                          </a:solidFill>
                          <a:effectLst/>
                        </a:rPr>
                        <a:t>50</a:t>
                      </a:r>
                      <a:endParaRPr lang="es-ES" sz="1000" b="1" dirty="0">
                        <a:solidFill>
                          <a:srgbClr val="00B050"/>
                        </a:solidFill>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5"/>
                  </a:ext>
                </a:extLst>
              </a:tr>
              <a:tr h="186010">
                <a:tc>
                  <a:txBody>
                    <a:bodyPr/>
                    <a:lstStyle/>
                    <a:p>
                      <a:pPr algn="ctr">
                        <a:lnSpc>
                          <a:spcPts val="1350"/>
                        </a:lnSpc>
                        <a:spcBef>
                          <a:spcPts val="100"/>
                        </a:spcBef>
                        <a:spcAft>
                          <a:spcPts val="100"/>
                        </a:spcAft>
                      </a:pPr>
                      <a:r>
                        <a:rPr lang="en-GB" sz="1000" dirty="0">
                          <a:effectLst/>
                        </a:rPr>
                        <a:t>19</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b="1" dirty="0">
                          <a:solidFill>
                            <a:srgbClr val="FF0000"/>
                          </a:solidFill>
                          <a:effectLst/>
                        </a:rPr>
                        <a:t>40</a:t>
                      </a:r>
                      <a:endParaRPr lang="es-ES" sz="1000" b="1" dirty="0">
                        <a:solidFill>
                          <a:srgbClr val="FF0000"/>
                        </a:solidFill>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a:effectLst/>
                        </a:rPr>
                        <a:t> </a:t>
                      </a:r>
                      <a:endParaRPr lang="es-ES" sz="100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6"/>
                  </a:ext>
                </a:extLst>
              </a:tr>
              <a:tr h="0">
                <a:tc>
                  <a:txBody>
                    <a:bodyPr/>
                    <a:lstStyle/>
                    <a:p>
                      <a:pPr algn="ctr">
                        <a:lnSpc>
                          <a:spcPts val="1350"/>
                        </a:lnSpc>
                        <a:spcBef>
                          <a:spcPts val="100"/>
                        </a:spcBef>
                        <a:spcAft>
                          <a:spcPts val="100"/>
                        </a:spcAft>
                      </a:pPr>
                      <a:r>
                        <a:rPr lang="en-GB" sz="1000" dirty="0">
                          <a:effectLst/>
                        </a:rPr>
                        <a:t>18</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dirty="0">
                          <a:effectLst/>
                        </a:rPr>
                        <a:t>5</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7"/>
                  </a:ext>
                </a:extLst>
              </a:tr>
              <a:tr h="0">
                <a:tc>
                  <a:txBody>
                    <a:bodyPr/>
                    <a:lstStyle/>
                    <a:p>
                      <a:pPr algn="ctr">
                        <a:lnSpc>
                          <a:spcPts val="1350"/>
                        </a:lnSpc>
                        <a:spcBef>
                          <a:spcPts val="100"/>
                        </a:spcBef>
                        <a:spcAft>
                          <a:spcPts val="100"/>
                        </a:spcAft>
                      </a:pPr>
                      <a:r>
                        <a:rPr lang="en-GB" sz="1000" dirty="0">
                          <a:effectLst/>
                        </a:rPr>
                        <a:t>17</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gn="r">
                        <a:lnSpc>
                          <a:spcPts val="1350"/>
                        </a:lnSpc>
                        <a:spcBef>
                          <a:spcPts val="100"/>
                        </a:spcBef>
                        <a:spcAft>
                          <a:spcPts val="100"/>
                        </a:spcAft>
                      </a:pPr>
                      <a:r>
                        <a:rPr lang="en-GB" sz="1000" b="1" dirty="0">
                          <a:solidFill>
                            <a:srgbClr val="00B050"/>
                          </a:solidFill>
                          <a:effectLst/>
                        </a:rPr>
                        <a:t>29</a:t>
                      </a:r>
                      <a:endParaRPr lang="es-ES" sz="1000" b="1" dirty="0">
                        <a:solidFill>
                          <a:srgbClr val="00B050"/>
                        </a:solidFill>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8"/>
                  </a:ext>
                </a:extLst>
              </a:tr>
              <a:tr h="0">
                <a:tc>
                  <a:txBody>
                    <a:bodyPr/>
                    <a:lstStyle/>
                    <a:p>
                      <a:pPr algn="ctr">
                        <a:lnSpc>
                          <a:spcPts val="1350"/>
                        </a:lnSpc>
                        <a:spcBef>
                          <a:spcPts val="100"/>
                        </a:spcBef>
                        <a:spcAft>
                          <a:spcPts val="100"/>
                        </a:spcAft>
                      </a:pPr>
                      <a:r>
                        <a:rPr lang="en-GB" sz="1000" dirty="0">
                          <a:effectLst/>
                          <a:latin typeface="+mn-lt"/>
                          <a:ea typeface="+mn-ea"/>
                          <a:cs typeface="+mn-cs"/>
                        </a:rPr>
                        <a:t>16</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tc>
                  <a:txBody>
                    <a:bodyPr/>
                    <a:lstStyle/>
                    <a:p>
                      <a:pPr>
                        <a:lnSpc>
                          <a:spcPts val="1350"/>
                        </a:lnSpc>
                        <a:spcBef>
                          <a:spcPts val="100"/>
                        </a:spcBef>
                        <a:spcAft>
                          <a:spcPts val="100"/>
                        </a:spcAft>
                      </a:pPr>
                      <a:r>
                        <a:rPr lang="en-GB" sz="1000" dirty="0">
                          <a:effectLst/>
                        </a:rPr>
                        <a:t> </a:t>
                      </a:r>
                      <a:endParaRPr lang="es-ES" sz="1000" dirty="0">
                        <a:effectLst/>
                        <a:latin typeface="News Gothic GDB"/>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 xmlns:a16="http://schemas.microsoft.com/office/drawing/2014/main" val="10009"/>
                  </a:ext>
                </a:extLst>
              </a:tr>
            </a:tbl>
          </a:graphicData>
        </a:graphic>
      </p:graphicFrame>
      <p:pic>
        <p:nvPicPr>
          <p:cNvPr id="16" name="Imagen 15"/>
          <p:cNvPicPr>
            <a:picLocks noChangeAspect="1"/>
          </p:cNvPicPr>
          <p:nvPr/>
        </p:nvPicPr>
        <p:blipFill>
          <a:blip r:embed="rId3"/>
          <a:stretch>
            <a:fillRect/>
          </a:stretch>
        </p:blipFill>
        <p:spPr>
          <a:xfrm>
            <a:off x="1486485" y="3474161"/>
            <a:ext cx="6040261" cy="722333"/>
          </a:xfrm>
          <a:prstGeom prst="rect">
            <a:avLst/>
          </a:prstGeom>
        </p:spPr>
      </p:pic>
      <p:sp>
        <p:nvSpPr>
          <p:cNvPr id="17" name="CuadroTexto 16"/>
          <p:cNvSpPr txBox="1"/>
          <p:nvPr/>
        </p:nvSpPr>
        <p:spPr>
          <a:xfrm>
            <a:off x="4324372" y="3368611"/>
            <a:ext cx="424800" cy="276999"/>
          </a:xfrm>
          <a:prstGeom prst="rect">
            <a:avLst/>
          </a:prstGeom>
          <a:noFill/>
        </p:spPr>
        <p:txBody>
          <a:bodyPr wrap="square" lIns="0" tIns="0" rIns="0" bIns="0" rtlCol="0">
            <a:spAutoFit/>
          </a:bodyPr>
          <a:lstStyle/>
          <a:p>
            <a:r>
              <a:rPr lang="es-ES" b="1" dirty="0">
                <a:solidFill>
                  <a:srgbClr val="FF0000"/>
                </a:solidFill>
              </a:rPr>
              <a:t>25</a:t>
            </a:r>
          </a:p>
        </p:txBody>
      </p:sp>
      <p:sp>
        <p:nvSpPr>
          <p:cNvPr id="18" name="CuadroTexto 17"/>
          <p:cNvSpPr txBox="1"/>
          <p:nvPr/>
        </p:nvSpPr>
        <p:spPr>
          <a:xfrm>
            <a:off x="4350986" y="3978794"/>
            <a:ext cx="424800" cy="276999"/>
          </a:xfrm>
          <a:prstGeom prst="rect">
            <a:avLst/>
          </a:prstGeom>
          <a:noFill/>
        </p:spPr>
        <p:txBody>
          <a:bodyPr wrap="square" lIns="0" tIns="0" rIns="0" bIns="0" rtlCol="0">
            <a:spAutoFit/>
          </a:bodyPr>
          <a:lstStyle/>
          <a:p>
            <a:r>
              <a:rPr lang="es-ES" b="1" dirty="0">
                <a:solidFill>
                  <a:srgbClr val="00B050"/>
                </a:solidFill>
              </a:rPr>
              <a:t>29</a:t>
            </a:r>
          </a:p>
        </p:txBody>
      </p:sp>
      <p:sp>
        <p:nvSpPr>
          <p:cNvPr id="25" name="Flecha derecha 24"/>
          <p:cNvSpPr/>
          <p:nvPr/>
        </p:nvSpPr>
        <p:spPr>
          <a:xfrm>
            <a:off x="3522950" y="4956926"/>
            <a:ext cx="1887990" cy="13466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6" name="Flecha izquierda 25"/>
          <p:cNvSpPr/>
          <p:nvPr/>
        </p:nvSpPr>
        <p:spPr>
          <a:xfrm>
            <a:off x="3562621" y="5487592"/>
            <a:ext cx="1887990" cy="151200"/>
          </a:xfrm>
          <a:prstGeom prst="lef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7" name="Flecha derecha 26"/>
          <p:cNvSpPr/>
          <p:nvPr/>
        </p:nvSpPr>
        <p:spPr>
          <a:xfrm>
            <a:off x="3522950" y="5930126"/>
            <a:ext cx="1887990" cy="134666"/>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8" name="Flecha izquierda 27"/>
          <p:cNvSpPr/>
          <p:nvPr/>
        </p:nvSpPr>
        <p:spPr>
          <a:xfrm>
            <a:off x="3522950" y="5301592"/>
            <a:ext cx="1887990" cy="151200"/>
          </a:xfrm>
          <a:prstGeom prst="lef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ES"/>
          </a:p>
        </p:txBody>
      </p:sp>
      <p:sp>
        <p:nvSpPr>
          <p:cNvPr id="29" name="CuadroTexto 28"/>
          <p:cNvSpPr txBox="1"/>
          <p:nvPr/>
        </p:nvSpPr>
        <p:spPr>
          <a:xfrm rot="16200000">
            <a:off x="591968" y="2108632"/>
            <a:ext cx="1663163" cy="276999"/>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r>
              <a:rPr lang="es-ES" dirty="0"/>
              <a:t>CONTRACT    A</a:t>
            </a:r>
          </a:p>
        </p:txBody>
      </p:sp>
    </p:spTree>
    <p:extLst>
      <p:ext uri="{BB962C8B-B14F-4D97-AF65-F5344CB8AC3E}">
        <p14:creationId xmlns:p14="http://schemas.microsoft.com/office/powerpoint/2010/main" val="1879406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XBID </a:t>
            </a:r>
            <a:r>
              <a:rPr lang="en-GB" dirty="0"/>
              <a:t>– SOB. Matching Process</a:t>
            </a:r>
          </a:p>
        </p:txBody>
      </p:sp>
      <p:sp>
        <p:nvSpPr>
          <p:cNvPr id="3" name="Foliennummernplatzhalter 2"/>
          <p:cNvSpPr>
            <a:spLocks noGrp="1"/>
          </p:cNvSpPr>
          <p:nvPr>
            <p:ph type="sldNum" sz="quarter" idx="11"/>
          </p:nvPr>
        </p:nvSpPr>
        <p:spPr/>
        <p:txBody>
          <a:bodyPr/>
          <a:lstStyle/>
          <a:p>
            <a:fld id="{AD89DE65-C7D9-40CE-B96E-B8C3E7B233C5}" type="slidenum">
              <a:rPr lang="de-DE" smtClean="0"/>
              <a:pPr/>
              <a:t>35</a:t>
            </a:fld>
            <a:endParaRPr lang="de-DE" dirty="0"/>
          </a:p>
        </p:txBody>
      </p:sp>
      <p:sp>
        <p:nvSpPr>
          <p:cNvPr id="5" name="Rectángulo 4"/>
          <p:cNvSpPr/>
          <p:nvPr/>
        </p:nvSpPr>
        <p:spPr>
          <a:xfrm>
            <a:off x="469557" y="1518221"/>
            <a:ext cx="8435546" cy="4724370"/>
          </a:xfrm>
          <a:prstGeom prst="rect">
            <a:avLst/>
          </a:prstGeom>
        </p:spPr>
        <p:txBody>
          <a:bodyPr wrap="square">
            <a:spAutoFit/>
          </a:bodyPr>
          <a:lstStyle/>
          <a:p>
            <a:pPr marL="285750" indent="-285750" algn="just">
              <a:spcAft>
                <a:spcPts val="1000"/>
              </a:spcAft>
              <a:buFont typeface="Arial" panose="020B0604020202020204" pitchFamily="34" charset="0"/>
              <a:buChar char="•"/>
            </a:pPr>
            <a:r>
              <a:rPr lang="en-US" dirty="0">
                <a:latin typeface="+mj-lt"/>
                <a:ea typeface="Calibri" panose="020F0502020204030204" pitchFamily="34" charset="0"/>
                <a:cs typeface="Times New Roman" panose="02020603050405020304" pitchFamily="18" charset="0"/>
              </a:rPr>
              <a:t>The XBID solution enables the trading of contracts between market areas only if there is capacity available.</a:t>
            </a:r>
          </a:p>
          <a:p>
            <a:pPr marL="285750" indent="-285750" algn="just">
              <a:spcAft>
                <a:spcPts val="1000"/>
              </a:spcAft>
              <a:buFont typeface="Arial" panose="020B0604020202020204" pitchFamily="34" charset="0"/>
              <a:buChar char="•"/>
            </a:pPr>
            <a:r>
              <a:rPr lang="en-US" dirty="0">
                <a:latin typeface="+mj-lt"/>
                <a:ea typeface="Calibri" panose="020F0502020204030204" pitchFamily="34" charset="0"/>
                <a:cs typeface="Times New Roman" panose="02020603050405020304" pitchFamily="18" charset="0"/>
              </a:rPr>
              <a:t>Matching of contracts either locally or cross border is always performed in compliance with the </a:t>
            </a:r>
            <a:r>
              <a:rPr lang="en-GB" dirty="0">
                <a:latin typeface="+mj-lt"/>
                <a:ea typeface="Calibri" panose="020F0502020204030204" pitchFamily="34" charset="0"/>
                <a:cs typeface="Times New Roman" panose="02020603050405020304" pitchFamily="18" charset="0"/>
              </a:rPr>
              <a:t>price-time-priority principle</a:t>
            </a:r>
            <a:endParaRPr lang="en-US" strike="sngStrike" dirty="0">
              <a:latin typeface="+mj-lt"/>
              <a:ea typeface="Calibri" panose="020F0502020204030204" pitchFamily="34" charset="0"/>
              <a:cs typeface="Times New Roman" panose="02020603050405020304" pitchFamily="18" charset="0"/>
            </a:endParaRPr>
          </a:p>
          <a:p>
            <a:pPr marL="285750" indent="-285750" algn="just">
              <a:spcAft>
                <a:spcPts val="1000"/>
              </a:spcAft>
              <a:buFont typeface="Arial" panose="020B0604020202020204" pitchFamily="34" charset="0"/>
              <a:buChar char="•"/>
            </a:pPr>
            <a:r>
              <a:rPr lang="en-US" dirty="0">
                <a:latin typeface="+mj-lt"/>
                <a:cs typeface="Times New Roman" panose="02020603050405020304" pitchFamily="18" charset="0"/>
              </a:rPr>
              <a:t>ICB matching example:</a:t>
            </a:r>
          </a:p>
          <a:p>
            <a:pPr algn="just">
              <a:spcBef>
                <a:spcPts val="1200"/>
              </a:spcBef>
              <a:spcAft>
                <a:spcPts val="1000"/>
              </a:spcAft>
            </a:pPr>
            <a:r>
              <a:rPr lang="en-GB" dirty="0">
                <a:latin typeface="+mj-lt"/>
              </a:rPr>
              <a:t>	Orders in the order book:</a:t>
            </a:r>
          </a:p>
          <a:p>
            <a:pPr algn="just">
              <a:spcAft>
                <a:spcPts val="1000"/>
              </a:spcAft>
            </a:pPr>
            <a:endParaRPr lang="en-GB" dirty="0"/>
          </a:p>
          <a:p>
            <a:pPr algn="just">
              <a:spcAft>
                <a:spcPts val="1000"/>
              </a:spcAft>
            </a:pPr>
            <a:endParaRPr lang="en-GB" dirty="0"/>
          </a:p>
          <a:p>
            <a:pPr algn="just">
              <a:spcAft>
                <a:spcPts val="1000"/>
              </a:spcAft>
            </a:pPr>
            <a:r>
              <a:rPr lang="en-GB" dirty="0"/>
              <a:t>	</a:t>
            </a:r>
          </a:p>
          <a:p>
            <a:pPr algn="just">
              <a:spcAft>
                <a:spcPts val="1000"/>
              </a:spcAft>
            </a:pPr>
            <a:r>
              <a:rPr lang="en-GB" dirty="0"/>
              <a:t>	</a:t>
            </a:r>
            <a:r>
              <a:rPr lang="en-GB" dirty="0">
                <a:latin typeface="+mj-lt"/>
              </a:rPr>
              <a:t>Buy order is entered:</a:t>
            </a:r>
            <a:endParaRPr lang="es-ES" dirty="0">
              <a:latin typeface="+mj-lt"/>
            </a:endParaRPr>
          </a:p>
          <a:p>
            <a:pPr marL="285750" indent="-285750" algn="just">
              <a:spcAft>
                <a:spcPts val="1000"/>
              </a:spcAft>
              <a:buFont typeface="Arial" panose="020B0604020202020204" pitchFamily="34" charset="0"/>
              <a:buChar char="•"/>
            </a:pPr>
            <a:endParaRPr lang="en-US" dirty="0">
              <a:latin typeface="News Gothic GDB"/>
              <a:cs typeface="Times New Roman" panose="02020603050405020304" pitchFamily="18" charset="0"/>
            </a:endParaRPr>
          </a:p>
          <a:p>
            <a:pPr marL="285750" indent="-285750" algn="just">
              <a:spcAft>
                <a:spcPts val="1000"/>
              </a:spcAft>
              <a:buFont typeface="Arial" panose="020B0604020202020204" pitchFamily="34" charset="0"/>
              <a:buChar char="•"/>
            </a:pPr>
            <a:endParaRPr lang="es-ES" dirty="0"/>
          </a:p>
        </p:txBody>
      </p:sp>
      <p:graphicFrame>
        <p:nvGraphicFramePr>
          <p:cNvPr id="6" name="Tabla 5"/>
          <p:cNvGraphicFramePr>
            <a:graphicFrameLocks noGrp="1"/>
          </p:cNvGraphicFramePr>
          <p:nvPr>
            <p:extLst>
              <p:ext uri="{D42A27DB-BD31-4B8C-83A1-F6EECF244321}">
                <p14:modId xmlns:p14="http://schemas.microsoft.com/office/powerpoint/2010/main" val="1121477242"/>
              </p:ext>
            </p:extLst>
          </p:nvPr>
        </p:nvGraphicFramePr>
        <p:xfrm>
          <a:off x="811599" y="3854602"/>
          <a:ext cx="4032250" cy="980188"/>
        </p:xfrm>
        <a:graphic>
          <a:graphicData uri="http://schemas.openxmlformats.org/drawingml/2006/table">
            <a:tbl>
              <a:tblPr firstRow="1" firstCol="1" bandRow="1">
                <a:tableStyleId>{7DF18680-E054-41AD-8BC1-D1AEF772440D}</a:tableStyleId>
              </a:tblPr>
              <a:tblGrid>
                <a:gridCol w="540385">
                  <a:extLst>
                    <a:ext uri="{9D8B030D-6E8A-4147-A177-3AD203B41FA5}">
                      <a16:colId xmlns="" xmlns:a16="http://schemas.microsoft.com/office/drawing/2014/main" val="1537318746"/>
                    </a:ext>
                  </a:extLst>
                </a:gridCol>
                <a:gridCol w="518160">
                  <a:extLst>
                    <a:ext uri="{9D8B030D-6E8A-4147-A177-3AD203B41FA5}">
                      <a16:colId xmlns="" xmlns:a16="http://schemas.microsoft.com/office/drawing/2014/main" val="4042255897"/>
                    </a:ext>
                  </a:extLst>
                </a:gridCol>
                <a:gridCol w="503555">
                  <a:extLst>
                    <a:ext uri="{9D8B030D-6E8A-4147-A177-3AD203B41FA5}">
                      <a16:colId xmlns="" xmlns:a16="http://schemas.microsoft.com/office/drawing/2014/main" val="740571646"/>
                    </a:ext>
                  </a:extLst>
                </a:gridCol>
                <a:gridCol w="487045">
                  <a:extLst>
                    <a:ext uri="{9D8B030D-6E8A-4147-A177-3AD203B41FA5}">
                      <a16:colId xmlns="" xmlns:a16="http://schemas.microsoft.com/office/drawing/2014/main" val="1055948222"/>
                    </a:ext>
                  </a:extLst>
                </a:gridCol>
                <a:gridCol w="489585">
                  <a:extLst>
                    <a:ext uri="{9D8B030D-6E8A-4147-A177-3AD203B41FA5}">
                      <a16:colId xmlns="" xmlns:a16="http://schemas.microsoft.com/office/drawing/2014/main" val="1832005319"/>
                    </a:ext>
                  </a:extLst>
                </a:gridCol>
                <a:gridCol w="490220">
                  <a:extLst>
                    <a:ext uri="{9D8B030D-6E8A-4147-A177-3AD203B41FA5}">
                      <a16:colId xmlns="" xmlns:a16="http://schemas.microsoft.com/office/drawing/2014/main" val="3023298406"/>
                    </a:ext>
                  </a:extLst>
                </a:gridCol>
                <a:gridCol w="505460">
                  <a:extLst>
                    <a:ext uri="{9D8B030D-6E8A-4147-A177-3AD203B41FA5}">
                      <a16:colId xmlns="" xmlns:a16="http://schemas.microsoft.com/office/drawing/2014/main" val="588014966"/>
                    </a:ext>
                  </a:extLst>
                </a:gridCol>
                <a:gridCol w="497840">
                  <a:extLst>
                    <a:ext uri="{9D8B030D-6E8A-4147-A177-3AD203B41FA5}">
                      <a16:colId xmlns="" xmlns:a16="http://schemas.microsoft.com/office/drawing/2014/main" val="973937977"/>
                    </a:ext>
                  </a:extLst>
                </a:gridCol>
              </a:tblGrid>
              <a:tr h="0">
                <a:tc>
                  <a:txBody>
                    <a:bodyPr/>
                    <a:lstStyle/>
                    <a:p>
                      <a:pPr algn="ctr">
                        <a:lnSpc>
                          <a:spcPct val="115000"/>
                        </a:lnSpc>
                        <a:spcAft>
                          <a:spcPts val="0"/>
                        </a:spcAft>
                      </a:pPr>
                      <a:r>
                        <a:rPr lang="en-GB" sz="1200" dirty="0">
                          <a:effectLst/>
                        </a:rPr>
                        <a:t>times- tamp</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name</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type</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b/s</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qty</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prc</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pqty</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ppd</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3278501853"/>
                  </a:ext>
                </a:extLst>
              </a:tr>
              <a:tr h="0">
                <a:tc>
                  <a:txBody>
                    <a:bodyPr/>
                    <a:lstStyle/>
                    <a:p>
                      <a:pPr algn="ctr">
                        <a:lnSpc>
                          <a:spcPct val="115000"/>
                        </a:lnSpc>
                        <a:spcAft>
                          <a:spcPts val="0"/>
                        </a:spcAft>
                      </a:pPr>
                      <a:r>
                        <a:rPr lang="en-GB" sz="1200">
                          <a:effectLst/>
                        </a:rPr>
                        <a:t>1</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I</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ICB</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sell</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200</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15€</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50</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1</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1313428437"/>
                  </a:ext>
                </a:extLst>
              </a:tr>
              <a:tr h="0">
                <a:tc>
                  <a:txBody>
                    <a:bodyPr/>
                    <a:lstStyle/>
                    <a:p>
                      <a:pPr algn="ctr">
                        <a:lnSpc>
                          <a:spcPct val="115000"/>
                        </a:lnSpc>
                        <a:spcAft>
                          <a:spcPts val="0"/>
                        </a:spcAft>
                      </a:pPr>
                      <a:r>
                        <a:rPr lang="en-GB" sz="1200">
                          <a:effectLst/>
                        </a:rPr>
                        <a:t>2</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Z</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REG</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sell</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25</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15€</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 </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 </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1998411498"/>
                  </a:ext>
                </a:extLst>
              </a:tr>
              <a:tr h="0">
                <a:tc>
                  <a:txBody>
                    <a:bodyPr/>
                    <a:lstStyle/>
                    <a:p>
                      <a:pPr algn="ctr">
                        <a:lnSpc>
                          <a:spcPct val="115000"/>
                        </a:lnSpc>
                        <a:spcAft>
                          <a:spcPts val="0"/>
                        </a:spcAft>
                      </a:pPr>
                      <a:r>
                        <a:rPr lang="en-GB" sz="1200" dirty="0">
                          <a:effectLst/>
                        </a:rPr>
                        <a:t>3</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Y</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REG</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sell</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25</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16€</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 </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 </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2853797889"/>
                  </a:ext>
                </a:extLst>
              </a:tr>
            </a:tbl>
          </a:graphicData>
        </a:graphic>
      </p:graphicFrame>
      <p:graphicFrame>
        <p:nvGraphicFramePr>
          <p:cNvPr id="7" name="Tabla 6"/>
          <p:cNvGraphicFramePr>
            <a:graphicFrameLocks noGrp="1"/>
          </p:cNvGraphicFramePr>
          <p:nvPr>
            <p:extLst>
              <p:ext uri="{D42A27DB-BD31-4B8C-83A1-F6EECF244321}">
                <p14:modId xmlns:p14="http://schemas.microsoft.com/office/powerpoint/2010/main" val="3349556717"/>
              </p:ext>
            </p:extLst>
          </p:nvPr>
        </p:nvGraphicFramePr>
        <p:xfrm>
          <a:off x="851355" y="5596541"/>
          <a:ext cx="4032250" cy="595250"/>
        </p:xfrm>
        <a:graphic>
          <a:graphicData uri="http://schemas.openxmlformats.org/drawingml/2006/table">
            <a:tbl>
              <a:tblPr firstRow="1" firstCol="1" bandRow="1">
                <a:tableStyleId>{7DF18680-E054-41AD-8BC1-D1AEF772440D}</a:tableStyleId>
              </a:tblPr>
              <a:tblGrid>
                <a:gridCol w="540385">
                  <a:extLst>
                    <a:ext uri="{9D8B030D-6E8A-4147-A177-3AD203B41FA5}">
                      <a16:colId xmlns="" xmlns:a16="http://schemas.microsoft.com/office/drawing/2014/main" val="1269384093"/>
                    </a:ext>
                  </a:extLst>
                </a:gridCol>
                <a:gridCol w="518160">
                  <a:extLst>
                    <a:ext uri="{9D8B030D-6E8A-4147-A177-3AD203B41FA5}">
                      <a16:colId xmlns="" xmlns:a16="http://schemas.microsoft.com/office/drawing/2014/main" val="124512831"/>
                    </a:ext>
                  </a:extLst>
                </a:gridCol>
                <a:gridCol w="503555">
                  <a:extLst>
                    <a:ext uri="{9D8B030D-6E8A-4147-A177-3AD203B41FA5}">
                      <a16:colId xmlns="" xmlns:a16="http://schemas.microsoft.com/office/drawing/2014/main" val="1805796133"/>
                    </a:ext>
                  </a:extLst>
                </a:gridCol>
                <a:gridCol w="487045">
                  <a:extLst>
                    <a:ext uri="{9D8B030D-6E8A-4147-A177-3AD203B41FA5}">
                      <a16:colId xmlns="" xmlns:a16="http://schemas.microsoft.com/office/drawing/2014/main" val="3170278785"/>
                    </a:ext>
                  </a:extLst>
                </a:gridCol>
                <a:gridCol w="489585">
                  <a:extLst>
                    <a:ext uri="{9D8B030D-6E8A-4147-A177-3AD203B41FA5}">
                      <a16:colId xmlns="" xmlns:a16="http://schemas.microsoft.com/office/drawing/2014/main" val="1709802099"/>
                    </a:ext>
                  </a:extLst>
                </a:gridCol>
                <a:gridCol w="490220">
                  <a:extLst>
                    <a:ext uri="{9D8B030D-6E8A-4147-A177-3AD203B41FA5}">
                      <a16:colId xmlns="" xmlns:a16="http://schemas.microsoft.com/office/drawing/2014/main" val="351786194"/>
                    </a:ext>
                  </a:extLst>
                </a:gridCol>
                <a:gridCol w="505460">
                  <a:extLst>
                    <a:ext uri="{9D8B030D-6E8A-4147-A177-3AD203B41FA5}">
                      <a16:colId xmlns="" xmlns:a16="http://schemas.microsoft.com/office/drawing/2014/main" val="1950442385"/>
                    </a:ext>
                  </a:extLst>
                </a:gridCol>
                <a:gridCol w="497840">
                  <a:extLst>
                    <a:ext uri="{9D8B030D-6E8A-4147-A177-3AD203B41FA5}">
                      <a16:colId xmlns="" xmlns:a16="http://schemas.microsoft.com/office/drawing/2014/main" val="1848853476"/>
                    </a:ext>
                  </a:extLst>
                </a:gridCol>
              </a:tblGrid>
              <a:tr h="0">
                <a:tc>
                  <a:txBody>
                    <a:bodyPr/>
                    <a:lstStyle/>
                    <a:p>
                      <a:pPr algn="ctr">
                        <a:lnSpc>
                          <a:spcPct val="115000"/>
                        </a:lnSpc>
                        <a:spcAft>
                          <a:spcPts val="0"/>
                        </a:spcAft>
                      </a:pPr>
                      <a:r>
                        <a:rPr lang="en-GB" sz="1200" dirty="0">
                          <a:effectLst/>
                        </a:rPr>
                        <a:t>time-stamp</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name</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type</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b/s</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err="1">
                          <a:effectLst/>
                        </a:rPr>
                        <a:t>qty</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err="1">
                          <a:effectLst/>
                        </a:rPr>
                        <a:t>prc</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err="1">
                          <a:effectLst/>
                        </a:rPr>
                        <a:t>pqty</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ppd</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2426129511"/>
                  </a:ext>
                </a:extLst>
              </a:tr>
              <a:tr h="0">
                <a:tc>
                  <a:txBody>
                    <a:bodyPr/>
                    <a:lstStyle/>
                    <a:p>
                      <a:pPr algn="ctr">
                        <a:lnSpc>
                          <a:spcPct val="115000"/>
                        </a:lnSpc>
                        <a:spcAft>
                          <a:spcPts val="0"/>
                        </a:spcAft>
                      </a:pPr>
                      <a:r>
                        <a:rPr lang="en-GB" sz="1200">
                          <a:effectLst/>
                        </a:rPr>
                        <a:t>4</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B</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REG</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buy</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225</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99€</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 </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 </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2479118957"/>
                  </a:ext>
                </a:extLst>
              </a:tr>
            </a:tbl>
          </a:graphicData>
        </a:graphic>
      </p:graphicFrame>
      <p:graphicFrame>
        <p:nvGraphicFramePr>
          <p:cNvPr id="10" name="Tabla 9"/>
          <p:cNvGraphicFramePr>
            <a:graphicFrameLocks noGrp="1"/>
          </p:cNvGraphicFramePr>
          <p:nvPr>
            <p:extLst>
              <p:ext uri="{D42A27DB-BD31-4B8C-83A1-F6EECF244321}">
                <p14:modId xmlns:p14="http://schemas.microsoft.com/office/powerpoint/2010/main" val="1439184775"/>
              </p:ext>
            </p:extLst>
          </p:nvPr>
        </p:nvGraphicFramePr>
        <p:xfrm>
          <a:off x="6137826" y="4399653"/>
          <a:ext cx="2448560" cy="1557595"/>
        </p:xfrm>
        <a:graphic>
          <a:graphicData uri="http://schemas.openxmlformats.org/drawingml/2006/table">
            <a:tbl>
              <a:tblPr firstRow="1" firstCol="1" bandRow="1">
                <a:tableStyleId>{7DF18680-E054-41AD-8BC1-D1AEF772440D}</a:tableStyleId>
              </a:tblPr>
              <a:tblGrid>
                <a:gridCol w="450215">
                  <a:extLst>
                    <a:ext uri="{9D8B030D-6E8A-4147-A177-3AD203B41FA5}">
                      <a16:colId xmlns="" xmlns:a16="http://schemas.microsoft.com/office/drawing/2014/main" val="2890802195"/>
                    </a:ext>
                  </a:extLst>
                </a:gridCol>
                <a:gridCol w="518160">
                  <a:extLst>
                    <a:ext uri="{9D8B030D-6E8A-4147-A177-3AD203B41FA5}">
                      <a16:colId xmlns="" xmlns:a16="http://schemas.microsoft.com/office/drawing/2014/main" val="2502201988"/>
                    </a:ext>
                  </a:extLst>
                </a:gridCol>
                <a:gridCol w="503555">
                  <a:extLst>
                    <a:ext uri="{9D8B030D-6E8A-4147-A177-3AD203B41FA5}">
                      <a16:colId xmlns="" xmlns:a16="http://schemas.microsoft.com/office/drawing/2014/main" val="1064959495"/>
                    </a:ext>
                  </a:extLst>
                </a:gridCol>
                <a:gridCol w="487045">
                  <a:extLst>
                    <a:ext uri="{9D8B030D-6E8A-4147-A177-3AD203B41FA5}">
                      <a16:colId xmlns="" xmlns:a16="http://schemas.microsoft.com/office/drawing/2014/main" val="3645706145"/>
                    </a:ext>
                  </a:extLst>
                </a:gridCol>
                <a:gridCol w="489585">
                  <a:extLst>
                    <a:ext uri="{9D8B030D-6E8A-4147-A177-3AD203B41FA5}">
                      <a16:colId xmlns="" xmlns:a16="http://schemas.microsoft.com/office/drawing/2014/main" val="927189051"/>
                    </a:ext>
                  </a:extLst>
                </a:gridCol>
              </a:tblGrid>
              <a:tr h="0">
                <a:tc>
                  <a:txBody>
                    <a:bodyPr/>
                    <a:lstStyle/>
                    <a:p>
                      <a:pPr algn="ctr">
                        <a:lnSpc>
                          <a:spcPct val="115000"/>
                        </a:lnSpc>
                        <a:spcAft>
                          <a:spcPts val="0"/>
                        </a:spcAft>
                      </a:pPr>
                      <a:r>
                        <a:rPr lang="en-GB" sz="1200" dirty="0">
                          <a:effectLst/>
                        </a:rPr>
                        <a:t>trade </a:t>
                      </a:r>
                      <a:endParaRPr lang="es-ES" sz="1200" dirty="0">
                        <a:effectLst/>
                      </a:endParaRPr>
                    </a:p>
                    <a:p>
                      <a:pPr algn="ctr">
                        <a:lnSpc>
                          <a:spcPct val="115000"/>
                        </a:lnSpc>
                        <a:spcAft>
                          <a:spcPts val="0"/>
                        </a:spcAft>
                      </a:pPr>
                      <a:r>
                        <a:rPr lang="en-GB" sz="1200" dirty="0">
                          <a:effectLst/>
                        </a:rPr>
                        <a:t>no.</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en-GB" sz="1200" dirty="0">
                          <a:effectLst/>
                        </a:rPr>
                        <a:t>buy order</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en-GB" sz="1200" dirty="0">
                          <a:effectLst/>
                        </a:rPr>
                        <a:t>sell order</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en-GB" sz="1200">
                          <a:effectLst/>
                        </a:rPr>
                        <a:t>qty</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nchor="ctr"/>
                </a:tc>
                <a:tc>
                  <a:txBody>
                    <a:bodyPr/>
                    <a:lstStyle/>
                    <a:p>
                      <a:pPr algn="ctr">
                        <a:lnSpc>
                          <a:spcPct val="115000"/>
                        </a:lnSpc>
                        <a:spcAft>
                          <a:spcPts val="0"/>
                        </a:spcAft>
                      </a:pPr>
                      <a:r>
                        <a:rPr lang="en-GB" sz="1200">
                          <a:effectLst/>
                        </a:rPr>
                        <a:t>prc</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nchor="ctr"/>
                </a:tc>
                <a:extLst>
                  <a:ext uri="{0D108BD9-81ED-4DB2-BD59-A6C34878D82A}">
                    <a16:rowId xmlns="" xmlns:a16="http://schemas.microsoft.com/office/drawing/2014/main" val="2565250282"/>
                  </a:ext>
                </a:extLst>
              </a:tr>
              <a:tr h="0">
                <a:tc>
                  <a:txBody>
                    <a:bodyPr/>
                    <a:lstStyle/>
                    <a:p>
                      <a:pPr algn="ctr">
                        <a:lnSpc>
                          <a:spcPct val="115000"/>
                        </a:lnSpc>
                        <a:spcAft>
                          <a:spcPts val="0"/>
                        </a:spcAft>
                      </a:pPr>
                      <a:r>
                        <a:rPr lang="en-GB" sz="1200">
                          <a:effectLst/>
                        </a:rPr>
                        <a:t>1</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B</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I</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50</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15</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4083125001"/>
                  </a:ext>
                </a:extLst>
              </a:tr>
              <a:tr h="0">
                <a:tc>
                  <a:txBody>
                    <a:bodyPr/>
                    <a:lstStyle/>
                    <a:p>
                      <a:pPr algn="ctr">
                        <a:lnSpc>
                          <a:spcPct val="115000"/>
                        </a:lnSpc>
                        <a:spcAft>
                          <a:spcPts val="0"/>
                        </a:spcAft>
                      </a:pPr>
                      <a:r>
                        <a:rPr lang="en-GB" sz="1200">
                          <a:effectLst/>
                        </a:rPr>
                        <a:t>2</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B</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Z</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25</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15</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1476414578"/>
                  </a:ext>
                </a:extLst>
              </a:tr>
              <a:tr h="0">
                <a:tc>
                  <a:txBody>
                    <a:bodyPr/>
                    <a:lstStyle/>
                    <a:p>
                      <a:pPr algn="ctr">
                        <a:lnSpc>
                          <a:spcPct val="115000"/>
                        </a:lnSpc>
                        <a:spcAft>
                          <a:spcPts val="0"/>
                        </a:spcAft>
                      </a:pPr>
                      <a:r>
                        <a:rPr lang="en-GB" sz="1200">
                          <a:effectLst/>
                        </a:rPr>
                        <a:t>3</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B</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Y</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25</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16</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3786704478"/>
                  </a:ext>
                </a:extLst>
              </a:tr>
              <a:tr h="0">
                <a:tc>
                  <a:txBody>
                    <a:bodyPr/>
                    <a:lstStyle/>
                    <a:p>
                      <a:pPr algn="ctr">
                        <a:lnSpc>
                          <a:spcPct val="115000"/>
                        </a:lnSpc>
                        <a:spcAft>
                          <a:spcPts val="0"/>
                        </a:spcAft>
                      </a:pPr>
                      <a:r>
                        <a:rPr lang="en-GB" sz="1200">
                          <a:effectLst/>
                        </a:rPr>
                        <a:t>4</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B</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I</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50</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16</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2464394950"/>
                  </a:ext>
                </a:extLst>
              </a:tr>
              <a:tr h="0">
                <a:tc>
                  <a:txBody>
                    <a:bodyPr/>
                    <a:lstStyle/>
                    <a:p>
                      <a:pPr algn="ctr">
                        <a:lnSpc>
                          <a:spcPct val="115000"/>
                        </a:lnSpc>
                        <a:spcAft>
                          <a:spcPts val="0"/>
                        </a:spcAft>
                      </a:pPr>
                      <a:r>
                        <a:rPr lang="en-GB" sz="1200" dirty="0">
                          <a:effectLst/>
                        </a:rPr>
                        <a:t>5</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B</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I</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50</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17</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2824579600"/>
                  </a:ext>
                </a:extLst>
              </a:tr>
              <a:tr h="0">
                <a:tc>
                  <a:txBody>
                    <a:bodyPr/>
                    <a:lstStyle/>
                    <a:p>
                      <a:pPr algn="ctr">
                        <a:lnSpc>
                          <a:spcPct val="115000"/>
                        </a:lnSpc>
                        <a:spcAft>
                          <a:spcPts val="0"/>
                        </a:spcAft>
                      </a:pPr>
                      <a:r>
                        <a:rPr lang="en-GB" sz="1200">
                          <a:effectLst/>
                        </a:rPr>
                        <a:t>6</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B</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I</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a:effectLst/>
                        </a:rPr>
                        <a:t>25</a:t>
                      </a:r>
                      <a:endParaRPr lang="es-ES" sz="1200">
                        <a:effectLst/>
                        <a:latin typeface="News Gothic GDB"/>
                        <a:ea typeface="Calibri" panose="020F0502020204030204" pitchFamily="34" charset="0"/>
                        <a:cs typeface="Times New Roman" panose="02020603050405020304" pitchFamily="18" charset="0"/>
                      </a:endParaRPr>
                    </a:p>
                  </a:txBody>
                  <a:tcPr marL="36000" marR="36000" marT="0" marB="0"/>
                </a:tc>
                <a:tc>
                  <a:txBody>
                    <a:bodyPr/>
                    <a:lstStyle/>
                    <a:p>
                      <a:pPr algn="ctr">
                        <a:lnSpc>
                          <a:spcPct val="115000"/>
                        </a:lnSpc>
                        <a:spcAft>
                          <a:spcPts val="0"/>
                        </a:spcAft>
                      </a:pPr>
                      <a:r>
                        <a:rPr lang="en-GB" sz="1200" dirty="0">
                          <a:effectLst/>
                        </a:rPr>
                        <a:t>18</a:t>
                      </a:r>
                      <a:endParaRPr lang="es-ES" sz="1200" dirty="0">
                        <a:effectLst/>
                        <a:latin typeface="News Gothic GDB"/>
                        <a:ea typeface="Calibri" panose="020F0502020204030204" pitchFamily="34" charset="0"/>
                        <a:cs typeface="Times New Roman" panose="02020603050405020304" pitchFamily="18" charset="0"/>
                      </a:endParaRPr>
                    </a:p>
                  </a:txBody>
                  <a:tcPr marL="36000" marR="36000" marT="0" marB="0"/>
                </a:tc>
                <a:extLst>
                  <a:ext uri="{0D108BD9-81ED-4DB2-BD59-A6C34878D82A}">
                    <a16:rowId xmlns="" xmlns:a16="http://schemas.microsoft.com/office/drawing/2014/main" val="3294506257"/>
                  </a:ext>
                </a:extLst>
              </a:tr>
            </a:tbl>
          </a:graphicData>
        </a:graphic>
      </p:graphicFrame>
      <p:sp>
        <p:nvSpPr>
          <p:cNvPr id="14" name="Flecha derecha 13"/>
          <p:cNvSpPr/>
          <p:nvPr/>
        </p:nvSpPr>
        <p:spPr>
          <a:xfrm>
            <a:off x="4824292" y="4906892"/>
            <a:ext cx="1170410" cy="62607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smtClean="0"/>
              <a:t>Trades</a:t>
            </a:r>
            <a:endParaRPr lang="en-GB" dirty="0"/>
          </a:p>
        </p:txBody>
      </p:sp>
    </p:spTree>
    <p:extLst>
      <p:ext uri="{BB962C8B-B14F-4D97-AF65-F5344CB8AC3E}">
        <p14:creationId xmlns:p14="http://schemas.microsoft.com/office/powerpoint/2010/main" val="25683716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smtClean="0"/>
              <a:t>XBID </a:t>
            </a:r>
            <a:r>
              <a:rPr lang="en-GB" dirty="0"/>
              <a:t>- Shipping Module</a:t>
            </a:r>
            <a:endParaRPr lang="es-ES"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36</a:t>
            </a:fld>
            <a:endParaRPr lang="de-DE" dirty="0"/>
          </a:p>
        </p:txBody>
      </p:sp>
      <p:sp>
        <p:nvSpPr>
          <p:cNvPr id="4" name="Marcador de texto 3"/>
          <p:cNvSpPr>
            <a:spLocks noGrp="1"/>
          </p:cNvSpPr>
          <p:nvPr>
            <p:ph type="body" sz="quarter" idx="13"/>
          </p:nvPr>
        </p:nvSpPr>
        <p:spPr/>
        <p:txBody>
          <a:bodyPr/>
          <a:lstStyle/>
          <a:p>
            <a:endParaRPr lang="en-US" dirty="0"/>
          </a:p>
          <a:p>
            <a:pPr marL="400050">
              <a:spcBef>
                <a:spcPts val="0"/>
              </a:spcBef>
              <a:tabLst>
                <a:tab pos="534988" algn="l"/>
              </a:tabLst>
            </a:pPr>
            <a:r>
              <a:rPr lang="en-US" dirty="0"/>
              <a:t>SM is responsible for data provisioning with regards to the financial settlement and physical shipping of XBID transactions </a:t>
            </a:r>
            <a:r>
              <a:rPr lang="en-GB" dirty="0"/>
              <a:t>to all relevant parties defined in the SM: CCPs, SAs, TSOs</a:t>
            </a:r>
            <a:r>
              <a:rPr lang="en-US" dirty="0"/>
              <a:t>.</a:t>
            </a:r>
          </a:p>
          <a:p>
            <a:pPr marL="400050">
              <a:spcBef>
                <a:spcPts val="0"/>
              </a:spcBef>
              <a:tabLst>
                <a:tab pos="534988" algn="l"/>
              </a:tabLst>
            </a:pPr>
            <a:endParaRPr lang="en-US" dirty="0"/>
          </a:p>
          <a:p>
            <a:pPr marL="981075" lvl="2">
              <a:spcBef>
                <a:spcPts val="0"/>
              </a:spcBef>
              <a:tabLst>
                <a:tab pos="534988" algn="l"/>
              </a:tabLst>
            </a:pPr>
            <a:r>
              <a:rPr lang="en-US" dirty="0"/>
              <a:t>The </a:t>
            </a:r>
            <a:r>
              <a:rPr lang="en-US" i="1" dirty="0"/>
              <a:t>Central Counterparties </a:t>
            </a:r>
            <a:r>
              <a:rPr lang="en-US" dirty="0"/>
              <a:t>(CCP) are entities with the task of entering into contracts with market participants, by novation of the contracts resulting from the matching process, and of organizing the transfer of net positions resulting from capacity allocation with other central counter parties or Shipping Agents</a:t>
            </a:r>
            <a:r>
              <a:rPr lang="es-ES" dirty="0"/>
              <a:t> </a:t>
            </a:r>
            <a:r>
              <a:rPr lang="en-GB" dirty="0"/>
              <a:t>Definition by CACM.</a:t>
            </a:r>
            <a:endParaRPr lang="es-ES" dirty="0"/>
          </a:p>
          <a:p>
            <a:pPr marL="981075" lvl="2">
              <a:spcBef>
                <a:spcPts val="0"/>
              </a:spcBef>
              <a:tabLst>
                <a:tab pos="534988" algn="l"/>
              </a:tabLst>
            </a:pPr>
            <a:r>
              <a:rPr lang="en-US" dirty="0"/>
              <a:t>The </a:t>
            </a:r>
            <a:r>
              <a:rPr lang="en-US" i="1" dirty="0"/>
              <a:t>Shipping Agents</a:t>
            </a:r>
            <a:r>
              <a:rPr lang="en-US" dirty="0"/>
              <a:t> (SA) are the entity or entities with the task of transferring net positions between different central counterparties.  </a:t>
            </a:r>
          </a:p>
          <a:p>
            <a:pPr marL="400050">
              <a:spcBef>
                <a:spcPts val="0"/>
              </a:spcBef>
              <a:tabLst>
                <a:tab pos="534988" algn="l"/>
              </a:tabLst>
            </a:pPr>
            <a:endParaRPr lang="en-US" dirty="0"/>
          </a:p>
          <a:p>
            <a:pPr marL="400050">
              <a:spcBef>
                <a:spcPts val="0"/>
              </a:spcBef>
              <a:tabLst>
                <a:tab pos="534988" algn="l"/>
              </a:tabLst>
            </a:pPr>
            <a:r>
              <a:rPr lang="en-US" dirty="0"/>
              <a:t>Each of these three entity groups receives only the shipping information, relevant for their own post-coupling operations.</a:t>
            </a:r>
            <a:endParaRPr lang="es-ES" dirty="0"/>
          </a:p>
        </p:txBody>
      </p:sp>
    </p:spTree>
    <p:extLst>
      <p:ext uri="{BB962C8B-B14F-4D97-AF65-F5344CB8AC3E}">
        <p14:creationId xmlns:p14="http://schemas.microsoft.com/office/powerpoint/2010/main" val="3433707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dirty="0" smtClean="0"/>
              <a:t>XBID </a:t>
            </a:r>
            <a:r>
              <a:rPr lang="en-GB" dirty="0"/>
              <a:t>- Shipping </a:t>
            </a:r>
            <a:r>
              <a:rPr lang="en-GB" dirty="0" smtClean="0"/>
              <a:t>Module </a:t>
            </a:r>
            <a:endParaRPr lang="es-ES" dirty="0"/>
          </a:p>
        </p:txBody>
      </p:sp>
      <p:sp>
        <p:nvSpPr>
          <p:cNvPr id="3" name="Marcador de número de diapositiva 2"/>
          <p:cNvSpPr>
            <a:spLocks noGrp="1"/>
          </p:cNvSpPr>
          <p:nvPr>
            <p:ph type="sldNum" sz="quarter" idx="11"/>
          </p:nvPr>
        </p:nvSpPr>
        <p:spPr/>
        <p:txBody>
          <a:bodyPr/>
          <a:lstStyle/>
          <a:p>
            <a:fld id="{AD89DE65-C7D9-40CE-B96E-B8C3E7B233C5}" type="slidenum">
              <a:rPr lang="de-DE" smtClean="0"/>
              <a:pPr/>
              <a:t>37</a:t>
            </a:fld>
            <a:endParaRPr lang="de-DE" dirty="0"/>
          </a:p>
        </p:txBody>
      </p:sp>
      <p:sp>
        <p:nvSpPr>
          <p:cNvPr id="5" name="Tijdelijke aanduiding voor inhoud 2"/>
          <p:cNvSpPr>
            <a:spLocks noGrp="1"/>
          </p:cNvSpPr>
          <p:nvPr/>
        </p:nvSpPr>
        <p:spPr bwMode="auto">
          <a:xfrm>
            <a:off x="555182" y="1411306"/>
            <a:ext cx="8437562" cy="375960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2000" b="0" kern="1200">
                <a:solidFill>
                  <a:schemeClr val="tx1">
                    <a:lumMod val="50000"/>
                    <a:lumOff val="50000"/>
                  </a:schemeClr>
                </a:solidFill>
                <a:latin typeface="Arial" pitchFamily="34" charset="0"/>
                <a:ea typeface="MS PGothic" pitchFamily="34" charset="-128"/>
                <a:cs typeface="Arial" pitchFamily="34" charset="0"/>
              </a:defRPr>
            </a:lvl1pPr>
            <a:lvl2pPr marL="742950" indent="-285750" algn="l" rtl="0" eaLnBrk="0" fontAlgn="base" hangingPunct="0">
              <a:spcBef>
                <a:spcPct val="20000"/>
              </a:spcBef>
              <a:spcAft>
                <a:spcPct val="0"/>
              </a:spcAft>
              <a:buFont typeface="Arial" charset="0"/>
              <a:buChar char="–"/>
              <a:defRPr sz="1800" b="0" kern="1200">
                <a:solidFill>
                  <a:schemeClr val="tx1">
                    <a:lumMod val="50000"/>
                    <a:lumOff val="50000"/>
                  </a:schemeClr>
                </a:solidFill>
                <a:latin typeface="Arial" pitchFamily="34" charset="0"/>
                <a:ea typeface="MS PGothic" pitchFamily="34" charset="-128"/>
                <a:cs typeface="Arial" pitchFamily="34" charset="0"/>
              </a:defRPr>
            </a:lvl2pPr>
            <a:lvl3pPr marL="1143000" indent="-228600" algn="l" rtl="0" eaLnBrk="0" fontAlgn="base" hangingPunct="0">
              <a:spcBef>
                <a:spcPct val="20000"/>
              </a:spcBef>
              <a:spcAft>
                <a:spcPct val="0"/>
              </a:spcAft>
              <a:buFont typeface="Arial" charset="0"/>
              <a:buChar char="•"/>
              <a:defRPr sz="1600" b="0" kern="1200">
                <a:solidFill>
                  <a:schemeClr val="tx1">
                    <a:lumMod val="50000"/>
                    <a:lumOff val="50000"/>
                  </a:schemeClr>
                </a:solidFill>
                <a:latin typeface="Arial" pitchFamily="34" charset="0"/>
                <a:ea typeface="MS PGothic" pitchFamily="34" charset="-128"/>
                <a:cs typeface="Arial" pitchFamily="34" charset="0"/>
              </a:defRPr>
            </a:lvl3pPr>
            <a:lvl4pPr marL="1600200" indent="-228600" algn="l" rtl="0" eaLnBrk="0" fontAlgn="base" hangingPunct="0">
              <a:spcBef>
                <a:spcPct val="20000"/>
              </a:spcBef>
              <a:spcAft>
                <a:spcPct val="0"/>
              </a:spcAft>
              <a:buFont typeface="Arial" charset="0"/>
              <a:buChar char="–"/>
              <a:defRPr sz="1400" b="0" kern="1200">
                <a:solidFill>
                  <a:schemeClr val="tx1">
                    <a:lumMod val="50000"/>
                    <a:lumOff val="50000"/>
                  </a:schemeClr>
                </a:solidFill>
                <a:latin typeface="Arial" pitchFamily="34" charset="0"/>
                <a:ea typeface="MS PGothic" pitchFamily="34" charset="-128"/>
                <a:cs typeface="Arial" pitchFamily="34" charset="0"/>
              </a:defRPr>
            </a:lvl4pPr>
            <a:lvl5pPr marL="2057400" indent="-228600" algn="l" rtl="0" eaLnBrk="0" fontAlgn="base" hangingPunct="0">
              <a:spcBef>
                <a:spcPct val="20000"/>
              </a:spcBef>
              <a:spcAft>
                <a:spcPct val="0"/>
              </a:spcAft>
              <a:buFont typeface="Arial" charset="0"/>
              <a:buChar char="»"/>
              <a:defRPr sz="1400" b="0" kern="1200">
                <a:solidFill>
                  <a:schemeClr val="tx1">
                    <a:lumMod val="50000"/>
                    <a:lumOff val="50000"/>
                  </a:schemeClr>
                </a:solidFill>
                <a:latin typeface="Arial" pitchFamily="34" charset="0"/>
                <a:ea typeface="MS PGothic" pitchFamily="34"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tx1"/>
                </a:solidFill>
                <a:latin typeface="+mj-lt"/>
              </a:rPr>
              <a:t>Shipping is the process of </a:t>
            </a:r>
            <a:r>
              <a:rPr lang="en-US" u="sng" dirty="0">
                <a:solidFill>
                  <a:schemeClr val="tx1"/>
                </a:solidFill>
                <a:latin typeface="+mj-lt"/>
              </a:rPr>
              <a:t>transferring energy between CCPs </a:t>
            </a:r>
            <a:r>
              <a:rPr lang="en-US" dirty="0">
                <a:solidFill>
                  <a:schemeClr val="tx1"/>
                </a:solidFill>
                <a:latin typeface="+mj-lt"/>
              </a:rPr>
              <a:t>within and across the delivery areas including the financial clearing. By definition, shipping does not apply to explicitly allocated capacities</a:t>
            </a:r>
          </a:p>
          <a:p>
            <a:r>
              <a:rPr lang="en-US" u="sng" dirty="0">
                <a:solidFill>
                  <a:schemeClr val="tx1"/>
                </a:solidFill>
                <a:latin typeface="+mj-lt"/>
              </a:rPr>
              <a:t>Physical shipping</a:t>
            </a:r>
            <a:r>
              <a:rPr lang="en-US" dirty="0">
                <a:solidFill>
                  <a:schemeClr val="tx1"/>
                </a:solidFill>
                <a:latin typeface="+mj-lt"/>
              </a:rPr>
              <a:t> is the process to transfer energy between CCPs by way of nomination, without the financial clearing for the change of energy ownership.</a:t>
            </a:r>
          </a:p>
          <a:p>
            <a:r>
              <a:rPr lang="en-US" u="sng" dirty="0">
                <a:solidFill>
                  <a:schemeClr val="tx1"/>
                </a:solidFill>
                <a:latin typeface="+mj-lt"/>
              </a:rPr>
              <a:t>Financial shipping</a:t>
            </a:r>
            <a:r>
              <a:rPr lang="en-US" dirty="0">
                <a:solidFill>
                  <a:schemeClr val="tx1"/>
                </a:solidFill>
                <a:latin typeface="+mj-lt"/>
              </a:rPr>
              <a:t> is the process of financial clearing for the change of ownership of the transferred energy between CCPs</a:t>
            </a:r>
            <a:r>
              <a:rPr lang="en-US" dirty="0">
                <a:latin typeface="+mj-lt"/>
              </a:rPr>
              <a:t>.</a:t>
            </a:r>
          </a:p>
          <a:p>
            <a:endParaRPr lang="en-US" dirty="0"/>
          </a:p>
          <a:p>
            <a:endParaRPr lang="en-US" dirty="0"/>
          </a:p>
          <a:p>
            <a:endParaRPr lang="en-US" dirty="0"/>
          </a:p>
          <a:p>
            <a:endParaRPr lang="en-US" dirty="0"/>
          </a:p>
          <a:p>
            <a:pPr algn="ctr"/>
            <a:endParaRPr lang="en-US" dirty="0"/>
          </a:p>
          <a:p>
            <a:endParaRPr lang="en-US" dirty="0"/>
          </a:p>
          <a:p>
            <a:endParaRPr lang="en-US" dirty="0"/>
          </a:p>
          <a:p>
            <a:endParaRPr lang="en-US" dirty="0"/>
          </a:p>
          <a:p>
            <a:endParaRPr lang="en-US" dirty="0"/>
          </a:p>
          <a:p>
            <a:endParaRPr lang="en-US" dirty="0"/>
          </a:p>
        </p:txBody>
      </p:sp>
      <p:sp>
        <p:nvSpPr>
          <p:cNvPr id="6" name="Afgeronde rechthoek 4"/>
          <p:cNvSpPr/>
          <p:nvPr/>
        </p:nvSpPr>
        <p:spPr>
          <a:xfrm>
            <a:off x="1398981" y="4777787"/>
            <a:ext cx="1376680" cy="9371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t>CCP A</a:t>
            </a:r>
          </a:p>
        </p:txBody>
      </p:sp>
      <p:sp>
        <p:nvSpPr>
          <p:cNvPr id="7" name="Afgeronde rechthoek 5"/>
          <p:cNvSpPr/>
          <p:nvPr/>
        </p:nvSpPr>
        <p:spPr>
          <a:xfrm>
            <a:off x="3769577" y="4359775"/>
            <a:ext cx="1376680" cy="623679"/>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t>Physical shipping</a:t>
            </a:r>
          </a:p>
        </p:txBody>
      </p:sp>
      <p:sp>
        <p:nvSpPr>
          <p:cNvPr id="8" name="Afgeronde rechthoek 6"/>
          <p:cNvSpPr/>
          <p:nvPr/>
        </p:nvSpPr>
        <p:spPr>
          <a:xfrm>
            <a:off x="6153667" y="4805654"/>
            <a:ext cx="1376680" cy="9093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t>CCP B</a:t>
            </a:r>
          </a:p>
        </p:txBody>
      </p:sp>
      <p:sp>
        <p:nvSpPr>
          <p:cNvPr id="9" name="Afgeronde rechthoek 7"/>
          <p:cNvSpPr/>
          <p:nvPr/>
        </p:nvSpPr>
        <p:spPr>
          <a:xfrm>
            <a:off x="3769577" y="5294471"/>
            <a:ext cx="1376680" cy="59393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a:t>Financial shipping</a:t>
            </a:r>
          </a:p>
        </p:txBody>
      </p:sp>
      <p:cxnSp>
        <p:nvCxnSpPr>
          <p:cNvPr id="10" name="Rechte verbindingslijn met pijl 9"/>
          <p:cNvCxnSpPr>
            <a:endCxn id="7" idx="1"/>
          </p:cNvCxnSpPr>
          <p:nvPr/>
        </p:nvCxnSpPr>
        <p:spPr>
          <a:xfrm flipV="1">
            <a:off x="2775661" y="4671615"/>
            <a:ext cx="993916" cy="38833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cxnSp>
        <p:nvCxnSpPr>
          <p:cNvPr id="11" name="Rechte verbindingslijn met pijl 10"/>
          <p:cNvCxnSpPr>
            <a:stCxn id="7" idx="3"/>
          </p:cNvCxnSpPr>
          <p:nvPr/>
        </p:nvCxnSpPr>
        <p:spPr>
          <a:xfrm>
            <a:off x="5146257" y="4671615"/>
            <a:ext cx="1007410" cy="388329"/>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12" name="PIJL-RECHTS 20"/>
          <p:cNvSpPr/>
          <p:nvPr/>
        </p:nvSpPr>
        <p:spPr>
          <a:xfrm rot="20706499" flipH="1">
            <a:off x="4956611" y="5467979"/>
            <a:ext cx="1373205" cy="175342"/>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p>
        </p:txBody>
      </p:sp>
      <p:sp>
        <p:nvSpPr>
          <p:cNvPr id="13" name="PIJL-RECHTS 21"/>
          <p:cNvSpPr/>
          <p:nvPr/>
        </p:nvSpPr>
        <p:spPr>
          <a:xfrm rot="695884" flipH="1">
            <a:off x="2590203" y="5445505"/>
            <a:ext cx="1276678" cy="166034"/>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p>
        </p:txBody>
      </p:sp>
      <p:sp>
        <p:nvSpPr>
          <p:cNvPr id="14" name="Tekstvak 24"/>
          <p:cNvSpPr txBox="1"/>
          <p:nvPr/>
        </p:nvSpPr>
        <p:spPr>
          <a:xfrm rot="1455029">
            <a:off x="5389527" y="4481883"/>
            <a:ext cx="723275" cy="369332"/>
          </a:xfrm>
          <a:prstGeom prst="rect">
            <a:avLst/>
          </a:prstGeom>
          <a:noFill/>
        </p:spPr>
        <p:txBody>
          <a:bodyPr wrap="non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r>
              <a:rPr lang="en-US" dirty="0"/>
              <a:t>MWh</a:t>
            </a:r>
          </a:p>
        </p:txBody>
      </p:sp>
      <p:sp>
        <p:nvSpPr>
          <p:cNvPr id="15" name="Tekstvak 25"/>
          <p:cNvSpPr txBox="1"/>
          <p:nvPr/>
        </p:nvSpPr>
        <p:spPr>
          <a:xfrm rot="20072644">
            <a:off x="2866905" y="4458014"/>
            <a:ext cx="723275" cy="369332"/>
          </a:xfrm>
          <a:prstGeom prst="rect">
            <a:avLst/>
          </a:prstGeom>
          <a:noFill/>
        </p:spPr>
        <p:txBody>
          <a:bodyPr wrap="non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r>
              <a:rPr lang="en-US" dirty="0"/>
              <a:t>MWh</a:t>
            </a:r>
          </a:p>
        </p:txBody>
      </p:sp>
      <p:sp>
        <p:nvSpPr>
          <p:cNvPr id="16" name="Tekstvak 26"/>
          <p:cNvSpPr txBox="1"/>
          <p:nvPr/>
        </p:nvSpPr>
        <p:spPr>
          <a:xfrm rot="1455029">
            <a:off x="3127824" y="5138354"/>
            <a:ext cx="312906" cy="369332"/>
          </a:xfrm>
          <a:prstGeom prst="rect">
            <a:avLst/>
          </a:prstGeom>
          <a:noFill/>
        </p:spPr>
        <p:txBody>
          <a:bodyPr wrap="non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r>
              <a:rPr lang="en-US" dirty="0"/>
              <a:t>€</a:t>
            </a:r>
          </a:p>
        </p:txBody>
      </p:sp>
      <p:sp>
        <p:nvSpPr>
          <p:cNvPr id="17" name="Tekstvak 27"/>
          <p:cNvSpPr txBox="1"/>
          <p:nvPr/>
        </p:nvSpPr>
        <p:spPr>
          <a:xfrm rot="20478006">
            <a:off x="5366614" y="5164399"/>
            <a:ext cx="312906" cy="369332"/>
          </a:xfrm>
          <a:prstGeom prst="rect">
            <a:avLst/>
          </a:prstGeom>
          <a:noFill/>
        </p:spPr>
        <p:txBody>
          <a:bodyPr wrap="non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r>
              <a:rPr lang="en-US" dirty="0"/>
              <a:t>€</a:t>
            </a:r>
          </a:p>
        </p:txBody>
      </p:sp>
    </p:spTree>
    <p:extLst>
      <p:ext uri="{BB962C8B-B14F-4D97-AF65-F5344CB8AC3E}">
        <p14:creationId xmlns:p14="http://schemas.microsoft.com/office/powerpoint/2010/main" val="71192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2:00-12:15</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ea typeface="Times New Roman"/>
                <a:cs typeface="Arial"/>
              </a:rPr>
              <a:t>Key note speech </a:t>
            </a:r>
            <a:endParaRPr lang="en-GB" sz="2000" kern="0" dirty="0" smtClean="0">
              <a:ea typeface="Times New Roman"/>
              <a:cs typeface="Times New Roman"/>
            </a:endParaRPr>
          </a:p>
          <a:p>
            <a:r>
              <a:rPr lang="en-GB" sz="2000" dirty="0" smtClean="0">
                <a:solidFill>
                  <a:srgbClr val="000000"/>
                </a:solidFill>
                <a:ea typeface="Times New Roman"/>
              </a:rPr>
              <a:t>Overview of XBID Project</a:t>
            </a:r>
          </a:p>
          <a:p>
            <a:r>
              <a:rPr lang="en-GB" sz="2000" dirty="0" smtClean="0">
                <a:solidFill>
                  <a:srgbClr val="000000"/>
                </a:solidFill>
                <a:ea typeface="Times New Roman"/>
              </a:rPr>
              <a:t>The XBID matching solution</a:t>
            </a:r>
          </a:p>
          <a:p>
            <a:r>
              <a:rPr lang="en-GB" sz="2000" dirty="0" smtClean="0">
                <a:solidFill>
                  <a:schemeClr val="accent2"/>
                </a:solidFill>
                <a:ea typeface="Times New Roman"/>
              </a:rPr>
              <a:t>Overview of borders, market areas &amp; products</a:t>
            </a:r>
          </a:p>
          <a:p>
            <a:r>
              <a:rPr lang="en-GB" sz="2000" kern="0" dirty="0" smtClean="0">
                <a:solidFill>
                  <a:srgbClr val="000000"/>
                </a:solidFill>
                <a:ea typeface="Times New Roman"/>
                <a:cs typeface="Times New Roman"/>
              </a:rPr>
              <a:t>Relevant information for market parties from LIPs</a:t>
            </a:r>
            <a:r>
              <a:rPr lang="en-GB" sz="2000" kern="0" dirty="0" smtClean="0">
                <a:solidFill>
                  <a:srgbClr val="000000"/>
                </a:solidFill>
                <a:ea typeface="Times New Roman"/>
                <a:cs typeface="Arial"/>
              </a:rPr>
              <a:t> </a:t>
            </a:r>
            <a:r>
              <a:rPr lang="en-GB" sz="2000" dirty="0" smtClean="0">
                <a:solidFill>
                  <a:srgbClr val="000000"/>
                </a:solidFill>
                <a:ea typeface="Times New Roman"/>
              </a:rPr>
              <a:t> </a:t>
            </a:r>
          </a:p>
          <a:p>
            <a:r>
              <a:rPr lang="en-US" sz="2000" kern="0" dirty="0">
                <a:solidFill>
                  <a:srgbClr val="000000"/>
                </a:solidFill>
                <a:ea typeface="Times New Roman"/>
                <a:cs typeface="Times New Roman"/>
              </a:rPr>
              <a:t>Explicit access on French-German border </a:t>
            </a:r>
            <a:endParaRPr lang="en-US" sz="2000" kern="0" dirty="0" smtClean="0">
              <a:solidFill>
                <a:srgbClr val="000000"/>
              </a:solidFill>
              <a:ea typeface="Times New Roman"/>
              <a:cs typeface="Times New Roman"/>
            </a:endParaRPr>
          </a:p>
          <a:p>
            <a:r>
              <a:rPr lang="en-GB" sz="2000" kern="0" dirty="0" smtClean="0">
                <a:solidFill>
                  <a:srgbClr val="000000"/>
                </a:solidFill>
                <a:ea typeface="Times New Roman"/>
                <a:cs typeface="Times New Roman"/>
              </a:rPr>
              <a:t>NRA overview</a:t>
            </a:r>
          </a:p>
          <a:p>
            <a:r>
              <a:rPr lang="en-GB" sz="2000" kern="0" dirty="0" smtClean="0">
                <a:solidFill>
                  <a:srgbClr val="000000"/>
                </a:solidFill>
                <a:ea typeface="Times New Roman"/>
                <a:cs typeface="Times New Roman"/>
              </a:rPr>
              <a:t>Deutsche </a:t>
            </a:r>
            <a:r>
              <a:rPr lang="en-GB" sz="2000" kern="0" dirty="0" err="1" smtClean="0">
                <a:solidFill>
                  <a:srgbClr val="000000"/>
                </a:solidFill>
                <a:ea typeface="Times New Roman"/>
                <a:cs typeface="Times New Roman"/>
              </a:rPr>
              <a:t>Börse</a:t>
            </a:r>
            <a:r>
              <a:rPr lang="en-GB" sz="2000" kern="0" dirty="0" smtClean="0">
                <a:solidFill>
                  <a:srgbClr val="000000"/>
                </a:solidFill>
                <a:ea typeface="Times New Roman"/>
                <a:cs typeface="Times New Roman"/>
              </a:rPr>
              <a:t>’ trading solution provider </a:t>
            </a:r>
            <a:r>
              <a:rPr lang="en-GB" sz="2000" kern="0" dirty="0" smtClean="0">
                <a:solidFill>
                  <a:srgbClr val="000000"/>
                </a:solidFill>
                <a:ea typeface="Times New Roman"/>
                <a:cs typeface="Arial"/>
              </a:rPr>
              <a:t> </a:t>
            </a:r>
            <a:endParaRPr lang="en-GB" sz="2000" kern="0" dirty="0" smtClean="0">
              <a:solidFill>
                <a:srgbClr val="000000"/>
              </a:solidFill>
              <a:ea typeface="Times New Roman"/>
              <a:cs typeface="Times New Roman"/>
            </a:endParaRPr>
          </a:p>
          <a:p>
            <a:r>
              <a:rPr lang="en-GB" sz="2000" dirty="0" smtClean="0">
                <a:solidFill>
                  <a:srgbClr val="000000"/>
                </a:solidFill>
                <a:ea typeface="Times New Roman"/>
              </a:rPr>
              <a:t>Members trial period, </a:t>
            </a:r>
            <a:r>
              <a:rPr lang="en-GB" sz="2000" dirty="0" err="1" smtClean="0">
                <a:solidFill>
                  <a:srgbClr val="000000"/>
                </a:solidFill>
                <a:ea typeface="Times New Roman"/>
              </a:rPr>
              <a:t>go-live</a:t>
            </a:r>
            <a:r>
              <a:rPr lang="en-GB" sz="2000" dirty="0" smtClean="0">
                <a:solidFill>
                  <a:srgbClr val="000000"/>
                </a:solidFill>
                <a:ea typeface="Times New Roman"/>
              </a:rPr>
              <a:t> plan and next steps for readiness</a:t>
            </a:r>
          </a:p>
          <a:p>
            <a:r>
              <a:rPr lang="en-GB" sz="2000" kern="0" dirty="0" smtClean="0">
                <a:solidFill>
                  <a:srgbClr val="000000"/>
                </a:solidFill>
                <a:ea typeface="Times New Roman"/>
                <a:cs typeface="Arial"/>
              </a:rPr>
              <a:t>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38</a:t>
            </a:fld>
            <a:endParaRPr lang="en-US" altLang="en-US" dirty="0"/>
          </a:p>
        </p:txBody>
      </p:sp>
    </p:spTree>
    <p:extLst>
      <p:ext uri="{BB962C8B-B14F-4D97-AF65-F5344CB8AC3E}">
        <p14:creationId xmlns:p14="http://schemas.microsoft.com/office/powerpoint/2010/main" val="6369562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solidFill>
                  <a:schemeClr val="accent1"/>
                </a:solidFill>
              </a:rPr>
              <a:t>Overview of borders, market areas &amp; products</a:t>
            </a:r>
          </a:p>
        </p:txBody>
      </p:sp>
      <p:sp>
        <p:nvSpPr>
          <p:cNvPr id="5" name="Textplatzhalter 4"/>
          <p:cNvSpPr>
            <a:spLocks noGrp="1"/>
          </p:cNvSpPr>
          <p:nvPr>
            <p:ph type="body" sz="quarter" idx="15"/>
          </p:nvPr>
        </p:nvSpPr>
        <p:spPr>
          <a:xfrm>
            <a:off x="2255839" y="2996851"/>
            <a:ext cx="6329361" cy="315570"/>
          </a:xfrm>
        </p:spPr>
        <p:txBody>
          <a:bodyPr/>
          <a:lstStyle/>
          <a:p>
            <a:r>
              <a:rPr lang="en-GB" dirty="0"/>
              <a:t>Pietro </a:t>
            </a:r>
            <a:r>
              <a:rPr lang="en-GB" dirty="0" err="1"/>
              <a:t>Rabassi</a:t>
            </a:r>
            <a:endParaRPr lang="en-GB" dirty="0"/>
          </a:p>
        </p:txBody>
      </p:sp>
      <p:sp>
        <p:nvSpPr>
          <p:cNvPr id="6" name="Textplatzhalter 5"/>
          <p:cNvSpPr>
            <a:spLocks noGrp="1"/>
          </p:cNvSpPr>
          <p:nvPr>
            <p:ph type="body" sz="quarter" idx="16"/>
          </p:nvPr>
        </p:nvSpPr>
        <p:spPr>
          <a:xfrm>
            <a:off x="2255839" y="3383687"/>
            <a:ext cx="6329361" cy="315570"/>
          </a:xfrm>
        </p:spPr>
        <p:txBody>
          <a:bodyPr/>
          <a:lstStyle/>
          <a:p>
            <a:r>
              <a:rPr lang="en-GB" dirty="0"/>
              <a:t>Director Central European markets, Nord Pool</a:t>
            </a:r>
          </a:p>
        </p:txBody>
      </p:sp>
    </p:spTree>
    <p:extLst>
      <p:ext uri="{BB962C8B-B14F-4D97-AF65-F5344CB8AC3E}">
        <p14:creationId xmlns:p14="http://schemas.microsoft.com/office/powerpoint/2010/main" val="3926255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0:40-11:00</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solidFill>
                  <a:schemeClr val="accent2"/>
                </a:solidFill>
                <a:ea typeface="Times New Roman"/>
                <a:cs typeface="Arial"/>
              </a:rPr>
              <a:t>Key note speech </a:t>
            </a:r>
            <a:endParaRPr lang="en-GB" sz="2000" kern="0" dirty="0" smtClean="0">
              <a:solidFill>
                <a:schemeClr val="accent2"/>
              </a:solidFill>
              <a:ea typeface="Times New Roman"/>
              <a:cs typeface="Times New Roman"/>
            </a:endParaRPr>
          </a:p>
          <a:p>
            <a:r>
              <a:rPr lang="en-GB" sz="2000" dirty="0" smtClean="0">
                <a:solidFill>
                  <a:srgbClr val="000000"/>
                </a:solidFill>
                <a:ea typeface="Times New Roman"/>
              </a:rPr>
              <a:t>Overview of XBID Project</a:t>
            </a:r>
          </a:p>
          <a:p>
            <a:r>
              <a:rPr lang="en-GB" sz="2000" dirty="0" smtClean="0">
                <a:solidFill>
                  <a:srgbClr val="000000"/>
                </a:solidFill>
                <a:ea typeface="Times New Roman"/>
              </a:rPr>
              <a:t>The XBID matching solution</a:t>
            </a:r>
          </a:p>
          <a:p>
            <a:r>
              <a:rPr lang="en-GB" sz="2000" dirty="0" smtClean="0">
                <a:solidFill>
                  <a:srgbClr val="000000"/>
                </a:solidFill>
                <a:ea typeface="Times New Roman"/>
              </a:rPr>
              <a:t>Overview of borders, market areas &amp; products</a:t>
            </a:r>
          </a:p>
          <a:p>
            <a:r>
              <a:rPr lang="en-GB" sz="2000" kern="0" dirty="0" smtClean="0">
                <a:solidFill>
                  <a:srgbClr val="000000"/>
                </a:solidFill>
                <a:ea typeface="Times New Roman"/>
                <a:cs typeface="Times New Roman"/>
              </a:rPr>
              <a:t>Relevant information for market parties from LIPs</a:t>
            </a:r>
            <a:r>
              <a:rPr lang="en-GB" sz="2000" kern="0" dirty="0" smtClean="0">
                <a:solidFill>
                  <a:srgbClr val="000000"/>
                </a:solidFill>
                <a:ea typeface="Times New Roman"/>
                <a:cs typeface="Arial"/>
              </a:rPr>
              <a:t> </a:t>
            </a:r>
            <a:r>
              <a:rPr lang="en-GB" sz="2000" dirty="0" smtClean="0">
                <a:solidFill>
                  <a:srgbClr val="000000"/>
                </a:solidFill>
                <a:ea typeface="Times New Roman"/>
              </a:rPr>
              <a:t> </a:t>
            </a:r>
          </a:p>
          <a:p>
            <a:r>
              <a:rPr lang="en-US" sz="2000" kern="0" dirty="0">
                <a:solidFill>
                  <a:srgbClr val="000000"/>
                </a:solidFill>
                <a:ea typeface="Times New Roman"/>
                <a:cs typeface="Times New Roman"/>
              </a:rPr>
              <a:t>Explicit access on French-German border </a:t>
            </a:r>
            <a:endParaRPr lang="en-GB" sz="2000" dirty="0" smtClean="0">
              <a:solidFill>
                <a:srgbClr val="000000"/>
              </a:solidFill>
              <a:ea typeface="Times New Roman"/>
            </a:endParaRPr>
          </a:p>
          <a:p>
            <a:r>
              <a:rPr lang="en-GB" sz="2000" kern="0" dirty="0" smtClean="0">
                <a:solidFill>
                  <a:srgbClr val="000000"/>
                </a:solidFill>
                <a:ea typeface="Times New Roman"/>
                <a:cs typeface="Times New Roman"/>
              </a:rPr>
              <a:t>NRA overview</a:t>
            </a:r>
          </a:p>
          <a:p>
            <a:r>
              <a:rPr lang="en-GB" sz="2000" kern="0" dirty="0" smtClean="0">
                <a:solidFill>
                  <a:srgbClr val="000000"/>
                </a:solidFill>
                <a:ea typeface="Times New Roman"/>
                <a:cs typeface="Times New Roman"/>
              </a:rPr>
              <a:t>Deutsche </a:t>
            </a:r>
            <a:r>
              <a:rPr lang="en-GB" sz="2000" kern="0" dirty="0" err="1" smtClean="0">
                <a:solidFill>
                  <a:srgbClr val="000000"/>
                </a:solidFill>
                <a:ea typeface="Times New Roman"/>
                <a:cs typeface="Times New Roman"/>
              </a:rPr>
              <a:t>Börse</a:t>
            </a:r>
            <a:r>
              <a:rPr lang="en-GB" sz="2000" kern="0" dirty="0" smtClean="0">
                <a:solidFill>
                  <a:srgbClr val="000000"/>
                </a:solidFill>
                <a:ea typeface="Times New Roman"/>
                <a:cs typeface="Times New Roman"/>
              </a:rPr>
              <a:t>’ trading solution provider </a:t>
            </a:r>
            <a:r>
              <a:rPr lang="en-GB" sz="2000" kern="0" dirty="0" smtClean="0">
                <a:solidFill>
                  <a:srgbClr val="000000"/>
                </a:solidFill>
                <a:ea typeface="Times New Roman"/>
                <a:cs typeface="Arial"/>
              </a:rPr>
              <a:t> </a:t>
            </a:r>
            <a:endParaRPr lang="en-GB" sz="2000" kern="0" dirty="0" smtClean="0">
              <a:solidFill>
                <a:srgbClr val="000000"/>
              </a:solidFill>
              <a:ea typeface="Times New Roman"/>
              <a:cs typeface="Times New Roman"/>
            </a:endParaRPr>
          </a:p>
          <a:p>
            <a:r>
              <a:rPr lang="en-GB" sz="2000" dirty="0" smtClean="0">
                <a:solidFill>
                  <a:srgbClr val="000000"/>
                </a:solidFill>
                <a:ea typeface="Times New Roman"/>
              </a:rPr>
              <a:t>Members trial period, </a:t>
            </a:r>
            <a:r>
              <a:rPr lang="en-GB" sz="2000" dirty="0" err="1" smtClean="0">
                <a:solidFill>
                  <a:srgbClr val="000000"/>
                </a:solidFill>
                <a:ea typeface="Times New Roman"/>
              </a:rPr>
              <a:t>go-live</a:t>
            </a:r>
            <a:r>
              <a:rPr lang="en-GB" sz="2000" dirty="0" smtClean="0">
                <a:solidFill>
                  <a:srgbClr val="000000"/>
                </a:solidFill>
                <a:ea typeface="Times New Roman"/>
              </a:rPr>
              <a:t> plan and next steps for readiness</a:t>
            </a:r>
          </a:p>
          <a:p>
            <a:r>
              <a:rPr lang="en-GB" sz="2000" kern="0" dirty="0" smtClean="0">
                <a:solidFill>
                  <a:srgbClr val="000000"/>
                </a:solidFill>
                <a:ea typeface="Times New Roman"/>
                <a:cs typeface="Arial"/>
              </a:rPr>
              <a:t>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4</a:t>
            </a:fld>
            <a:endParaRPr lang="en-US" altLang="en-US" dirty="0"/>
          </a:p>
        </p:txBody>
      </p:sp>
    </p:spTree>
    <p:extLst>
      <p:ext uri="{BB962C8B-B14F-4D97-AF65-F5344CB8AC3E}">
        <p14:creationId xmlns:p14="http://schemas.microsoft.com/office/powerpoint/2010/main" val="1621575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2A4DE1A-6B29-47A1-B020-AA7998DF5BA7}"/>
              </a:ext>
            </a:extLst>
          </p:cNvPr>
          <p:cNvSpPr>
            <a:spLocks noGrp="1"/>
          </p:cNvSpPr>
          <p:nvPr>
            <p:ph type="title"/>
          </p:nvPr>
        </p:nvSpPr>
        <p:spPr/>
        <p:txBody>
          <a:bodyPr/>
          <a:lstStyle/>
          <a:p>
            <a:endParaRPr lang="en-GB" dirty="0"/>
          </a:p>
        </p:txBody>
      </p:sp>
      <p:sp>
        <p:nvSpPr>
          <p:cNvPr id="3" name="Text Placeholder 2">
            <a:extLst>
              <a:ext uri="{FF2B5EF4-FFF2-40B4-BE49-F238E27FC236}">
                <a16:creationId xmlns="" xmlns:a16="http://schemas.microsoft.com/office/drawing/2014/main" id="{359294CC-0CCA-4DBE-B6F0-FEAF3144940C}"/>
              </a:ext>
            </a:extLst>
          </p:cNvPr>
          <p:cNvSpPr>
            <a:spLocks noGrp="1"/>
          </p:cNvSpPr>
          <p:nvPr>
            <p:ph type="body" sz="quarter" idx="13"/>
          </p:nvPr>
        </p:nvSpPr>
        <p:spPr/>
        <p:txBody>
          <a:bodyPr/>
          <a:lstStyle/>
          <a:p>
            <a:r>
              <a:rPr lang="en-GB" dirty="0"/>
              <a:t>Overview of established Market Areas as part of the 1st go-live</a:t>
            </a:r>
          </a:p>
          <a:p>
            <a:r>
              <a:rPr lang="en-GB" dirty="0"/>
              <a:t>Products offered in the XBID </a:t>
            </a:r>
            <a:r>
              <a:rPr lang="en-GB" dirty="0" smtClean="0"/>
              <a:t>solution</a:t>
            </a:r>
          </a:p>
          <a:p>
            <a:r>
              <a:rPr lang="en-GB" dirty="0" smtClean="0"/>
              <a:t>Contract </a:t>
            </a:r>
            <a:r>
              <a:rPr lang="en-GB" dirty="0"/>
              <a:t>life cycle for a Market Area (MA)</a:t>
            </a:r>
          </a:p>
          <a:p>
            <a:r>
              <a:rPr lang="en-GB" dirty="0"/>
              <a:t>Opening and closing times</a:t>
            </a:r>
          </a:p>
        </p:txBody>
      </p:sp>
      <p:sp>
        <p:nvSpPr>
          <p:cNvPr id="4" name="Slide Number Placeholder 3">
            <a:extLst>
              <a:ext uri="{FF2B5EF4-FFF2-40B4-BE49-F238E27FC236}">
                <a16:creationId xmlns="" xmlns:a16="http://schemas.microsoft.com/office/drawing/2014/main" id="{90A7C8A7-461E-49B6-A344-91511BA57305}"/>
              </a:ext>
            </a:extLst>
          </p:cNvPr>
          <p:cNvSpPr>
            <a:spLocks noGrp="1"/>
          </p:cNvSpPr>
          <p:nvPr>
            <p:ph type="sldNum" sz="quarter" idx="16"/>
          </p:nvPr>
        </p:nvSpPr>
        <p:spPr/>
        <p:txBody>
          <a:bodyPr/>
          <a:lstStyle/>
          <a:p>
            <a:fld id="{AD89DE65-C7D9-40CE-B96E-B8C3E7B233C5}" type="slidenum">
              <a:rPr lang="en-GB" noProof="0" smtClean="0"/>
              <a:pPr/>
              <a:t>40</a:t>
            </a:fld>
            <a:endParaRPr lang="en-GB" noProof="0" dirty="0"/>
          </a:p>
        </p:txBody>
      </p:sp>
    </p:spTree>
    <p:extLst>
      <p:ext uri="{BB962C8B-B14F-4D97-AF65-F5344CB8AC3E}">
        <p14:creationId xmlns:p14="http://schemas.microsoft.com/office/powerpoint/2010/main" val="763433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48337" y="832170"/>
            <a:ext cx="8025605" cy="583015"/>
          </a:xfrm>
        </p:spPr>
        <p:txBody>
          <a:bodyPr/>
          <a:lstStyle/>
          <a:p>
            <a:pPr fontAlgn="auto">
              <a:spcAft>
                <a:spcPts val="0"/>
              </a:spcAft>
            </a:pPr>
            <a:r>
              <a:rPr lang="en-GB" dirty="0"/>
              <a:t>1. Overview of established Market Areas as part of the 1</a:t>
            </a:r>
            <a:r>
              <a:rPr lang="en-GB" baseline="30000" dirty="0"/>
              <a:t>st</a:t>
            </a:r>
            <a:r>
              <a:rPr lang="en-GB" dirty="0"/>
              <a:t> go-live</a:t>
            </a:r>
          </a:p>
        </p:txBody>
      </p:sp>
      <p:sp>
        <p:nvSpPr>
          <p:cNvPr id="3" name="Slide Number Placeholder 2"/>
          <p:cNvSpPr>
            <a:spLocks noGrp="1"/>
          </p:cNvSpPr>
          <p:nvPr>
            <p:ph type="sldNum" sz="quarter" idx="11"/>
          </p:nvPr>
        </p:nvSpPr>
        <p:spPr/>
        <p:txBody>
          <a:bodyPr/>
          <a:lstStyle/>
          <a:p>
            <a:pPr>
              <a:defRPr/>
            </a:pPr>
            <a:fld id="{52EA69F7-CAED-45AE-832E-1E513A60FD10}" type="slidenum">
              <a:rPr lang="en-GB" altLang="en-US" smtClean="0"/>
              <a:pPr>
                <a:defRPr/>
              </a:pPr>
              <a:t>41</a:t>
            </a:fld>
            <a:endParaRPr lang="en-GB" altLang="en-US" dirty="0"/>
          </a:p>
        </p:txBody>
      </p:sp>
      <p:grpSp>
        <p:nvGrpSpPr>
          <p:cNvPr id="139" name="Group 403"/>
          <p:cNvGrpSpPr>
            <a:grpSpLocks noChangeAspect="1"/>
          </p:cNvGrpSpPr>
          <p:nvPr/>
        </p:nvGrpSpPr>
        <p:grpSpPr bwMode="auto">
          <a:xfrm>
            <a:off x="4320093" y="1336644"/>
            <a:ext cx="4833180" cy="4493170"/>
            <a:chOff x="1502" y="1001"/>
            <a:chExt cx="2970" cy="2550"/>
          </a:xfrm>
          <a:solidFill>
            <a:schemeClr val="bg1">
              <a:lumMod val="85000"/>
            </a:schemeClr>
          </a:solidFill>
        </p:grpSpPr>
        <p:sp>
          <p:nvSpPr>
            <p:cNvPr id="299" name="Freeform 480"/>
            <p:cNvSpPr>
              <a:spLocks/>
            </p:cNvSpPr>
            <p:nvPr/>
          </p:nvSpPr>
          <p:spPr bwMode="auto">
            <a:xfrm>
              <a:off x="3636" y="1923"/>
              <a:ext cx="419" cy="401"/>
            </a:xfrm>
            <a:custGeom>
              <a:avLst/>
              <a:gdLst>
                <a:gd name="T0" fmla="*/ 104 w 419"/>
                <a:gd name="T1" fmla="*/ 22 h 401"/>
                <a:gd name="T2" fmla="*/ 77 w 419"/>
                <a:gd name="T3" fmla="*/ 76 h 401"/>
                <a:gd name="T4" fmla="*/ 47 w 419"/>
                <a:gd name="T5" fmla="*/ 70 h 401"/>
                <a:gd name="T6" fmla="*/ 47 w 419"/>
                <a:gd name="T7" fmla="*/ 0 h 401"/>
                <a:gd name="T8" fmla="*/ 25 w 419"/>
                <a:gd name="T9" fmla="*/ 40 h 401"/>
                <a:gd name="T10" fmla="*/ 33 w 419"/>
                <a:gd name="T11" fmla="*/ 51 h 401"/>
                <a:gd name="T12" fmla="*/ 33 w 419"/>
                <a:gd name="T13" fmla="*/ 55 h 401"/>
                <a:gd name="T14" fmla="*/ 33 w 419"/>
                <a:gd name="T15" fmla="*/ 79 h 401"/>
                <a:gd name="T16" fmla="*/ 17 w 419"/>
                <a:gd name="T17" fmla="*/ 81 h 401"/>
                <a:gd name="T18" fmla="*/ 0 w 419"/>
                <a:gd name="T19" fmla="*/ 95 h 401"/>
                <a:gd name="T20" fmla="*/ 241 w 419"/>
                <a:gd name="T21" fmla="*/ 393 h 401"/>
                <a:gd name="T22" fmla="*/ 287 w 419"/>
                <a:gd name="T23" fmla="*/ 384 h 401"/>
                <a:gd name="T24" fmla="*/ 296 w 419"/>
                <a:gd name="T25" fmla="*/ 401 h 401"/>
                <a:gd name="T26" fmla="*/ 309 w 419"/>
                <a:gd name="T27" fmla="*/ 382 h 401"/>
                <a:gd name="T28" fmla="*/ 310 w 419"/>
                <a:gd name="T29" fmla="*/ 350 h 401"/>
                <a:gd name="T30" fmla="*/ 342 w 419"/>
                <a:gd name="T31" fmla="*/ 335 h 401"/>
                <a:gd name="T32" fmla="*/ 369 w 419"/>
                <a:gd name="T33" fmla="*/ 332 h 401"/>
                <a:gd name="T34" fmla="*/ 369 w 419"/>
                <a:gd name="T35" fmla="*/ 325 h 401"/>
                <a:gd name="T36" fmla="*/ 350 w 419"/>
                <a:gd name="T37" fmla="*/ 287 h 401"/>
                <a:gd name="T38" fmla="*/ 342 w 419"/>
                <a:gd name="T39" fmla="*/ 265 h 401"/>
                <a:gd name="T40" fmla="*/ 359 w 419"/>
                <a:gd name="T41" fmla="*/ 257 h 401"/>
                <a:gd name="T42" fmla="*/ 384 w 419"/>
                <a:gd name="T43" fmla="*/ 262 h 401"/>
                <a:gd name="T44" fmla="*/ 419 w 419"/>
                <a:gd name="T45" fmla="*/ 248 h 401"/>
                <a:gd name="T46" fmla="*/ 419 w 419"/>
                <a:gd name="T47" fmla="*/ 213 h 401"/>
                <a:gd name="T48" fmla="*/ 381 w 419"/>
                <a:gd name="T49" fmla="*/ 201 h 401"/>
                <a:gd name="T50" fmla="*/ 348 w 419"/>
                <a:gd name="T51" fmla="*/ 196 h 401"/>
                <a:gd name="T52" fmla="*/ 329 w 419"/>
                <a:gd name="T53" fmla="*/ 166 h 401"/>
                <a:gd name="T54" fmla="*/ 332 w 419"/>
                <a:gd name="T55" fmla="*/ 136 h 401"/>
                <a:gd name="T56" fmla="*/ 104 w 419"/>
                <a:gd name="T57" fmla="*/ 22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9" h="401">
                  <a:moveTo>
                    <a:pt x="104" y="22"/>
                  </a:moveTo>
                  <a:lnTo>
                    <a:pt x="77" y="76"/>
                  </a:lnTo>
                  <a:lnTo>
                    <a:pt x="47" y="70"/>
                  </a:lnTo>
                  <a:lnTo>
                    <a:pt x="47" y="0"/>
                  </a:lnTo>
                  <a:lnTo>
                    <a:pt x="25" y="40"/>
                  </a:lnTo>
                  <a:lnTo>
                    <a:pt x="33" y="51"/>
                  </a:lnTo>
                  <a:lnTo>
                    <a:pt x="33" y="55"/>
                  </a:lnTo>
                  <a:lnTo>
                    <a:pt x="33" y="79"/>
                  </a:lnTo>
                  <a:lnTo>
                    <a:pt x="17" y="81"/>
                  </a:lnTo>
                  <a:lnTo>
                    <a:pt x="0" y="95"/>
                  </a:lnTo>
                  <a:lnTo>
                    <a:pt x="241" y="393"/>
                  </a:lnTo>
                  <a:lnTo>
                    <a:pt x="287" y="384"/>
                  </a:lnTo>
                  <a:lnTo>
                    <a:pt x="296" y="401"/>
                  </a:lnTo>
                  <a:lnTo>
                    <a:pt x="309" y="382"/>
                  </a:lnTo>
                  <a:lnTo>
                    <a:pt x="310" y="350"/>
                  </a:lnTo>
                  <a:lnTo>
                    <a:pt x="342" y="335"/>
                  </a:lnTo>
                  <a:lnTo>
                    <a:pt x="369" y="332"/>
                  </a:lnTo>
                  <a:lnTo>
                    <a:pt x="369" y="325"/>
                  </a:lnTo>
                  <a:lnTo>
                    <a:pt x="350" y="287"/>
                  </a:lnTo>
                  <a:lnTo>
                    <a:pt x="342" y="265"/>
                  </a:lnTo>
                  <a:lnTo>
                    <a:pt x="359" y="257"/>
                  </a:lnTo>
                  <a:lnTo>
                    <a:pt x="384" y="262"/>
                  </a:lnTo>
                  <a:lnTo>
                    <a:pt x="419" y="248"/>
                  </a:lnTo>
                  <a:lnTo>
                    <a:pt x="419" y="213"/>
                  </a:lnTo>
                  <a:lnTo>
                    <a:pt x="381" y="201"/>
                  </a:lnTo>
                  <a:lnTo>
                    <a:pt x="348" y="196"/>
                  </a:lnTo>
                  <a:lnTo>
                    <a:pt x="329" y="166"/>
                  </a:lnTo>
                  <a:lnTo>
                    <a:pt x="332" y="136"/>
                  </a:lnTo>
                  <a:lnTo>
                    <a:pt x="104" y="2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00" name="Freeform 407"/>
            <p:cNvSpPr>
              <a:spLocks/>
            </p:cNvSpPr>
            <p:nvPr/>
          </p:nvSpPr>
          <p:spPr bwMode="auto">
            <a:xfrm>
              <a:off x="3895" y="1863"/>
              <a:ext cx="523" cy="406"/>
            </a:xfrm>
            <a:custGeom>
              <a:avLst/>
              <a:gdLst>
                <a:gd name="T0" fmla="*/ 99 w 436"/>
                <a:gd name="T1" fmla="*/ 9 h 413"/>
                <a:gd name="T2" fmla="*/ 84 w 436"/>
                <a:gd name="T3" fmla="*/ 26 h 413"/>
                <a:gd name="T4" fmla="*/ 74 w 436"/>
                <a:gd name="T5" fmla="*/ 43 h 413"/>
                <a:gd name="T6" fmla="*/ 55 w 436"/>
                <a:gd name="T7" fmla="*/ 44 h 413"/>
                <a:gd name="T8" fmla="*/ 36 w 436"/>
                <a:gd name="T9" fmla="*/ 50 h 413"/>
                <a:gd name="T10" fmla="*/ 45 w 436"/>
                <a:gd name="T11" fmla="*/ 61 h 413"/>
                <a:gd name="T12" fmla="*/ 45 w 436"/>
                <a:gd name="T13" fmla="*/ 67 h 413"/>
                <a:gd name="T14" fmla="*/ 45 w 436"/>
                <a:gd name="T15" fmla="*/ 90 h 413"/>
                <a:gd name="T16" fmla="*/ 28 w 436"/>
                <a:gd name="T17" fmla="*/ 92 h 413"/>
                <a:gd name="T18" fmla="*/ 11 w 436"/>
                <a:gd name="T19" fmla="*/ 107 h 413"/>
                <a:gd name="T20" fmla="*/ 11 w 436"/>
                <a:gd name="T21" fmla="*/ 124 h 413"/>
                <a:gd name="T22" fmla="*/ 9 w 436"/>
                <a:gd name="T23" fmla="*/ 131 h 413"/>
                <a:gd name="T24" fmla="*/ 3 w 436"/>
                <a:gd name="T25" fmla="*/ 141 h 413"/>
                <a:gd name="T26" fmla="*/ 0 w 436"/>
                <a:gd name="T27" fmla="*/ 168 h 413"/>
                <a:gd name="T28" fmla="*/ 3 w 436"/>
                <a:gd name="T29" fmla="*/ 186 h 413"/>
                <a:gd name="T30" fmla="*/ 18 w 436"/>
                <a:gd name="T31" fmla="*/ 204 h 413"/>
                <a:gd name="T32" fmla="*/ 14 w 436"/>
                <a:gd name="T33" fmla="*/ 228 h 413"/>
                <a:gd name="T34" fmla="*/ 36 w 436"/>
                <a:gd name="T35" fmla="*/ 260 h 413"/>
                <a:gd name="T36" fmla="*/ 72 w 436"/>
                <a:gd name="T37" fmla="*/ 260 h 413"/>
                <a:gd name="T38" fmla="*/ 108 w 436"/>
                <a:gd name="T39" fmla="*/ 280 h 413"/>
                <a:gd name="T40" fmla="*/ 108 w 436"/>
                <a:gd name="T41" fmla="*/ 312 h 413"/>
                <a:gd name="T42" fmla="*/ 68 w 436"/>
                <a:gd name="T43" fmla="*/ 326 h 413"/>
                <a:gd name="T44" fmla="*/ 52 w 436"/>
                <a:gd name="T45" fmla="*/ 320 h 413"/>
                <a:gd name="T46" fmla="*/ 28 w 436"/>
                <a:gd name="T47" fmla="*/ 330 h 413"/>
                <a:gd name="T48" fmla="*/ 44 w 436"/>
                <a:gd name="T49" fmla="*/ 354 h 413"/>
                <a:gd name="T50" fmla="*/ 58 w 436"/>
                <a:gd name="T51" fmla="*/ 390 h 413"/>
                <a:gd name="T52" fmla="*/ 95 w 436"/>
                <a:gd name="T53" fmla="*/ 396 h 413"/>
                <a:gd name="T54" fmla="*/ 141 w 436"/>
                <a:gd name="T55" fmla="*/ 404 h 413"/>
                <a:gd name="T56" fmla="*/ 187 w 436"/>
                <a:gd name="T57" fmla="*/ 402 h 413"/>
                <a:gd name="T58" fmla="*/ 208 w 436"/>
                <a:gd name="T59" fmla="*/ 396 h 413"/>
                <a:gd name="T60" fmla="*/ 229 w 436"/>
                <a:gd name="T61" fmla="*/ 394 h 413"/>
                <a:gd name="T62" fmla="*/ 254 w 436"/>
                <a:gd name="T63" fmla="*/ 405 h 413"/>
                <a:gd name="T64" fmla="*/ 299 w 436"/>
                <a:gd name="T65" fmla="*/ 396 h 413"/>
                <a:gd name="T66" fmla="*/ 309 w 436"/>
                <a:gd name="T67" fmla="*/ 413 h 413"/>
                <a:gd name="T68" fmla="*/ 322 w 436"/>
                <a:gd name="T69" fmla="*/ 394 h 413"/>
                <a:gd name="T70" fmla="*/ 324 w 436"/>
                <a:gd name="T71" fmla="*/ 362 h 413"/>
                <a:gd name="T72" fmla="*/ 356 w 436"/>
                <a:gd name="T73" fmla="*/ 347 h 413"/>
                <a:gd name="T74" fmla="*/ 383 w 436"/>
                <a:gd name="T75" fmla="*/ 343 h 413"/>
                <a:gd name="T76" fmla="*/ 383 w 436"/>
                <a:gd name="T77" fmla="*/ 337 h 413"/>
                <a:gd name="T78" fmla="*/ 364 w 436"/>
                <a:gd name="T79" fmla="*/ 300 h 413"/>
                <a:gd name="T80" fmla="*/ 366 w 436"/>
                <a:gd name="T81" fmla="*/ 280 h 413"/>
                <a:gd name="T82" fmla="*/ 372 w 436"/>
                <a:gd name="T83" fmla="*/ 269 h 413"/>
                <a:gd name="T84" fmla="*/ 397 w 436"/>
                <a:gd name="T85" fmla="*/ 273 h 413"/>
                <a:gd name="T86" fmla="*/ 436 w 436"/>
                <a:gd name="T87" fmla="*/ 274 h 413"/>
                <a:gd name="T88" fmla="*/ 433 w 436"/>
                <a:gd name="T89" fmla="*/ 224 h 413"/>
                <a:gd name="T90" fmla="*/ 398 w 436"/>
                <a:gd name="T91" fmla="*/ 210 h 413"/>
                <a:gd name="T92" fmla="*/ 362 w 436"/>
                <a:gd name="T93" fmla="*/ 207 h 413"/>
                <a:gd name="T94" fmla="*/ 348 w 436"/>
                <a:gd name="T95" fmla="*/ 180 h 413"/>
                <a:gd name="T96" fmla="*/ 345 w 436"/>
                <a:gd name="T97" fmla="*/ 146 h 413"/>
                <a:gd name="T98" fmla="*/ 312 w 436"/>
                <a:gd name="T99" fmla="*/ 116 h 413"/>
                <a:gd name="T100" fmla="*/ 293 w 436"/>
                <a:gd name="T101" fmla="*/ 94 h 413"/>
                <a:gd name="T102" fmla="*/ 298 w 436"/>
                <a:gd name="T103" fmla="*/ 72 h 413"/>
                <a:gd name="T104" fmla="*/ 295 w 436"/>
                <a:gd name="T105" fmla="*/ 32 h 413"/>
                <a:gd name="T106" fmla="*/ 260 w 436"/>
                <a:gd name="T107" fmla="*/ 11 h 413"/>
                <a:gd name="T108" fmla="*/ 223 w 436"/>
                <a:gd name="T109" fmla="*/ 11 h 413"/>
                <a:gd name="T110" fmla="*/ 189 w 436"/>
                <a:gd name="T111" fmla="*/ 17 h 413"/>
                <a:gd name="T112" fmla="*/ 174 w 436"/>
                <a:gd name="T113" fmla="*/ 6 h 413"/>
                <a:gd name="T114" fmla="*/ 135 w 436"/>
                <a:gd name="T115" fmla="*/ 0 h 413"/>
                <a:gd name="T116" fmla="*/ 99 w 436"/>
                <a:gd name="T117" fmla="*/ 9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6" h="413">
                  <a:moveTo>
                    <a:pt x="99" y="9"/>
                  </a:moveTo>
                  <a:lnTo>
                    <a:pt x="84" y="26"/>
                  </a:lnTo>
                  <a:lnTo>
                    <a:pt x="74" y="43"/>
                  </a:lnTo>
                  <a:lnTo>
                    <a:pt x="55" y="44"/>
                  </a:lnTo>
                  <a:lnTo>
                    <a:pt x="36" y="50"/>
                  </a:lnTo>
                  <a:lnTo>
                    <a:pt x="45" y="61"/>
                  </a:lnTo>
                  <a:lnTo>
                    <a:pt x="45" y="67"/>
                  </a:lnTo>
                  <a:lnTo>
                    <a:pt x="45" y="90"/>
                  </a:lnTo>
                  <a:lnTo>
                    <a:pt x="28" y="92"/>
                  </a:lnTo>
                  <a:lnTo>
                    <a:pt x="11" y="107"/>
                  </a:lnTo>
                  <a:lnTo>
                    <a:pt x="11" y="124"/>
                  </a:lnTo>
                  <a:lnTo>
                    <a:pt x="9" y="131"/>
                  </a:lnTo>
                  <a:lnTo>
                    <a:pt x="3" y="141"/>
                  </a:lnTo>
                  <a:lnTo>
                    <a:pt x="0" y="168"/>
                  </a:lnTo>
                  <a:lnTo>
                    <a:pt x="3" y="186"/>
                  </a:lnTo>
                  <a:lnTo>
                    <a:pt x="18" y="204"/>
                  </a:lnTo>
                  <a:lnTo>
                    <a:pt x="14" y="228"/>
                  </a:lnTo>
                  <a:lnTo>
                    <a:pt x="36" y="260"/>
                  </a:lnTo>
                  <a:lnTo>
                    <a:pt x="72" y="260"/>
                  </a:lnTo>
                  <a:lnTo>
                    <a:pt x="108" y="280"/>
                  </a:lnTo>
                  <a:lnTo>
                    <a:pt x="108" y="312"/>
                  </a:lnTo>
                  <a:lnTo>
                    <a:pt x="68" y="326"/>
                  </a:lnTo>
                  <a:lnTo>
                    <a:pt x="52" y="320"/>
                  </a:lnTo>
                  <a:lnTo>
                    <a:pt x="28" y="330"/>
                  </a:lnTo>
                  <a:lnTo>
                    <a:pt x="44" y="354"/>
                  </a:lnTo>
                  <a:lnTo>
                    <a:pt x="58" y="390"/>
                  </a:lnTo>
                  <a:lnTo>
                    <a:pt x="95" y="396"/>
                  </a:lnTo>
                  <a:lnTo>
                    <a:pt x="141" y="404"/>
                  </a:lnTo>
                  <a:lnTo>
                    <a:pt x="187" y="402"/>
                  </a:lnTo>
                  <a:lnTo>
                    <a:pt x="208" y="396"/>
                  </a:lnTo>
                  <a:lnTo>
                    <a:pt x="229" y="394"/>
                  </a:lnTo>
                  <a:lnTo>
                    <a:pt x="254" y="405"/>
                  </a:lnTo>
                  <a:lnTo>
                    <a:pt x="299" y="396"/>
                  </a:lnTo>
                  <a:lnTo>
                    <a:pt x="309" y="413"/>
                  </a:lnTo>
                  <a:lnTo>
                    <a:pt x="322" y="394"/>
                  </a:lnTo>
                  <a:lnTo>
                    <a:pt x="324" y="362"/>
                  </a:lnTo>
                  <a:lnTo>
                    <a:pt x="356" y="347"/>
                  </a:lnTo>
                  <a:lnTo>
                    <a:pt x="383" y="343"/>
                  </a:lnTo>
                  <a:lnTo>
                    <a:pt x="383" y="337"/>
                  </a:lnTo>
                  <a:lnTo>
                    <a:pt x="364" y="300"/>
                  </a:lnTo>
                  <a:lnTo>
                    <a:pt x="366" y="280"/>
                  </a:lnTo>
                  <a:lnTo>
                    <a:pt x="372" y="269"/>
                  </a:lnTo>
                  <a:lnTo>
                    <a:pt x="397" y="273"/>
                  </a:lnTo>
                  <a:lnTo>
                    <a:pt x="436" y="274"/>
                  </a:lnTo>
                  <a:lnTo>
                    <a:pt x="433" y="224"/>
                  </a:lnTo>
                  <a:lnTo>
                    <a:pt x="398" y="210"/>
                  </a:lnTo>
                  <a:lnTo>
                    <a:pt x="362" y="207"/>
                  </a:lnTo>
                  <a:lnTo>
                    <a:pt x="348" y="180"/>
                  </a:lnTo>
                  <a:lnTo>
                    <a:pt x="345" y="146"/>
                  </a:lnTo>
                  <a:lnTo>
                    <a:pt x="312" y="116"/>
                  </a:lnTo>
                  <a:lnTo>
                    <a:pt x="293" y="94"/>
                  </a:lnTo>
                  <a:lnTo>
                    <a:pt x="298" y="72"/>
                  </a:lnTo>
                  <a:lnTo>
                    <a:pt x="295" y="32"/>
                  </a:lnTo>
                  <a:lnTo>
                    <a:pt x="260" y="11"/>
                  </a:lnTo>
                  <a:lnTo>
                    <a:pt x="223" y="11"/>
                  </a:lnTo>
                  <a:lnTo>
                    <a:pt x="189" y="17"/>
                  </a:lnTo>
                  <a:lnTo>
                    <a:pt x="174" y="6"/>
                  </a:lnTo>
                  <a:lnTo>
                    <a:pt x="135" y="0"/>
                  </a:lnTo>
                  <a:lnTo>
                    <a:pt x="99" y="9"/>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01" name="Freeform 404"/>
            <p:cNvSpPr>
              <a:spLocks/>
            </p:cNvSpPr>
            <p:nvPr/>
          </p:nvSpPr>
          <p:spPr bwMode="auto">
            <a:xfrm>
              <a:off x="2618" y="2176"/>
              <a:ext cx="223" cy="172"/>
            </a:xfrm>
            <a:custGeom>
              <a:avLst/>
              <a:gdLst>
                <a:gd name="T0" fmla="*/ 0 w 223"/>
                <a:gd name="T1" fmla="*/ 31 h 172"/>
                <a:gd name="T2" fmla="*/ 5 w 223"/>
                <a:gd name="T3" fmla="*/ 24 h 172"/>
                <a:gd name="T4" fmla="*/ 3 w 223"/>
                <a:gd name="T5" fmla="*/ 16 h 172"/>
                <a:gd name="T6" fmla="*/ 37 w 223"/>
                <a:gd name="T7" fmla="*/ 0 h 172"/>
                <a:gd name="T8" fmla="*/ 40 w 223"/>
                <a:gd name="T9" fmla="*/ 6 h 172"/>
                <a:gd name="T10" fmla="*/ 65 w 223"/>
                <a:gd name="T11" fmla="*/ 2 h 172"/>
                <a:gd name="T12" fmla="*/ 84 w 223"/>
                <a:gd name="T13" fmla="*/ 3 h 172"/>
                <a:gd name="T14" fmla="*/ 76 w 223"/>
                <a:gd name="T15" fmla="*/ 11 h 172"/>
                <a:gd name="T16" fmla="*/ 81 w 223"/>
                <a:gd name="T17" fmla="*/ 22 h 172"/>
                <a:gd name="T18" fmla="*/ 96 w 223"/>
                <a:gd name="T19" fmla="*/ 25 h 172"/>
                <a:gd name="T20" fmla="*/ 111 w 223"/>
                <a:gd name="T21" fmla="*/ 25 h 172"/>
                <a:gd name="T22" fmla="*/ 125 w 223"/>
                <a:gd name="T23" fmla="*/ 18 h 172"/>
                <a:gd name="T24" fmla="*/ 140 w 223"/>
                <a:gd name="T25" fmla="*/ 13 h 172"/>
                <a:gd name="T26" fmla="*/ 153 w 223"/>
                <a:gd name="T27" fmla="*/ 23 h 172"/>
                <a:gd name="T28" fmla="*/ 165 w 223"/>
                <a:gd name="T29" fmla="*/ 25 h 172"/>
                <a:gd name="T30" fmla="*/ 184 w 223"/>
                <a:gd name="T31" fmla="*/ 31 h 172"/>
                <a:gd name="T32" fmla="*/ 181 w 223"/>
                <a:gd name="T33" fmla="*/ 44 h 172"/>
                <a:gd name="T34" fmla="*/ 182 w 223"/>
                <a:gd name="T35" fmla="*/ 70 h 172"/>
                <a:gd name="T36" fmla="*/ 185 w 223"/>
                <a:gd name="T37" fmla="*/ 86 h 172"/>
                <a:gd name="T38" fmla="*/ 205 w 223"/>
                <a:gd name="T39" fmla="*/ 84 h 172"/>
                <a:gd name="T40" fmla="*/ 211 w 223"/>
                <a:gd name="T41" fmla="*/ 95 h 172"/>
                <a:gd name="T42" fmla="*/ 212 w 223"/>
                <a:gd name="T43" fmla="*/ 104 h 172"/>
                <a:gd name="T44" fmla="*/ 223 w 223"/>
                <a:gd name="T45" fmla="*/ 117 h 172"/>
                <a:gd name="T46" fmla="*/ 210 w 223"/>
                <a:gd name="T47" fmla="*/ 126 h 172"/>
                <a:gd name="T48" fmla="*/ 199 w 223"/>
                <a:gd name="T49" fmla="*/ 134 h 172"/>
                <a:gd name="T50" fmla="*/ 186 w 223"/>
                <a:gd name="T51" fmla="*/ 134 h 172"/>
                <a:gd name="T52" fmla="*/ 171 w 223"/>
                <a:gd name="T53" fmla="*/ 138 h 172"/>
                <a:gd name="T54" fmla="*/ 171 w 223"/>
                <a:gd name="T55" fmla="*/ 152 h 172"/>
                <a:gd name="T56" fmla="*/ 165 w 223"/>
                <a:gd name="T57" fmla="*/ 161 h 172"/>
                <a:gd name="T58" fmla="*/ 149 w 223"/>
                <a:gd name="T59" fmla="*/ 172 h 172"/>
                <a:gd name="T60" fmla="*/ 122 w 223"/>
                <a:gd name="T61" fmla="*/ 154 h 172"/>
                <a:gd name="T62" fmla="*/ 104 w 223"/>
                <a:gd name="T63" fmla="*/ 142 h 172"/>
                <a:gd name="T64" fmla="*/ 90 w 223"/>
                <a:gd name="T65" fmla="*/ 134 h 172"/>
                <a:gd name="T66" fmla="*/ 77 w 223"/>
                <a:gd name="T67" fmla="*/ 113 h 172"/>
                <a:gd name="T68" fmla="*/ 65 w 223"/>
                <a:gd name="T69" fmla="*/ 101 h 172"/>
                <a:gd name="T70" fmla="*/ 58 w 223"/>
                <a:gd name="T71" fmla="*/ 86 h 172"/>
                <a:gd name="T72" fmla="*/ 45 w 223"/>
                <a:gd name="T73" fmla="*/ 72 h 172"/>
                <a:gd name="T74" fmla="*/ 35 w 223"/>
                <a:gd name="T75" fmla="*/ 57 h 172"/>
                <a:gd name="T76" fmla="*/ 17 w 223"/>
                <a:gd name="T77" fmla="*/ 46 h 172"/>
                <a:gd name="T78" fmla="*/ 0 w 223"/>
                <a:gd name="T79" fmla="*/ 3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172">
                  <a:moveTo>
                    <a:pt x="0" y="31"/>
                  </a:moveTo>
                  <a:lnTo>
                    <a:pt x="5" y="24"/>
                  </a:lnTo>
                  <a:lnTo>
                    <a:pt x="3" y="16"/>
                  </a:lnTo>
                  <a:lnTo>
                    <a:pt x="37" y="0"/>
                  </a:lnTo>
                  <a:lnTo>
                    <a:pt x="40" y="6"/>
                  </a:lnTo>
                  <a:lnTo>
                    <a:pt x="65" y="2"/>
                  </a:lnTo>
                  <a:lnTo>
                    <a:pt x="84" y="3"/>
                  </a:lnTo>
                  <a:lnTo>
                    <a:pt x="76" y="11"/>
                  </a:lnTo>
                  <a:lnTo>
                    <a:pt x="81" y="22"/>
                  </a:lnTo>
                  <a:lnTo>
                    <a:pt x="96" y="25"/>
                  </a:lnTo>
                  <a:lnTo>
                    <a:pt x="111" y="25"/>
                  </a:lnTo>
                  <a:lnTo>
                    <a:pt x="125" y="18"/>
                  </a:lnTo>
                  <a:lnTo>
                    <a:pt x="140" y="13"/>
                  </a:lnTo>
                  <a:lnTo>
                    <a:pt x="153" y="23"/>
                  </a:lnTo>
                  <a:lnTo>
                    <a:pt x="165" y="25"/>
                  </a:lnTo>
                  <a:lnTo>
                    <a:pt x="184" y="31"/>
                  </a:lnTo>
                  <a:lnTo>
                    <a:pt x="181" y="44"/>
                  </a:lnTo>
                  <a:lnTo>
                    <a:pt x="182" y="70"/>
                  </a:lnTo>
                  <a:lnTo>
                    <a:pt x="185" y="86"/>
                  </a:lnTo>
                  <a:lnTo>
                    <a:pt x="205" y="84"/>
                  </a:lnTo>
                  <a:lnTo>
                    <a:pt x="211" y="95"/>
                  </a:lnTo>
                  <a:lnTo>
                    <a:pt x="212" y="104"/>
                  </a:lnTo>
                  <a:lnTo>
                    <a:pt x="223" y="117"/>
                  </a:lnTo>
                  <a:lnTo>
                    <a:pt x="210" y="126"/>
                  </a:lnTo>
                  <a:lnTo>
                    <a:pt x="199" y="134"/>
                  </a:lnTo>
                  <a:lnTo>
                    <a:pt x="186" y="134"/>
                  </a:lnTo>
                  <a:lnTo>
                    <a:pt x="171" y="138"/>
                  </a:lnTo>
                  <a:lnTo>
                    <a:pt x="171" y="152"/>
                  </a:lnTo>
                  <a:lnTo>
                    <a:pt x="165" y="161"/>
                  </a:lnTo>
                  <a:lnTo>
                    <a:pt x="149" y="172"/>
                  </a:lnTo>
                  <a:lnTo>
                    <a:pt x="122" y="154"/>
                  </a:lnTo>
                  <a:lnTo>
                    <a:pt x="104" y="142"/>
                  </a:lnTo>
                  <a:lnTo>
                    <a:pt x="90" y="134"/>
                  </a:lnTo>
                  <a:lnTo>
                    <a:pt x="77" y="113"/>
                  </a:lnTo>
                  <a:lnTo>
                    <a:pt x="65" y="101"/>
                  </a:lnTo>
                  <a:lnTo>
                    <a:pt x="58" y="86"/>
                  </a:lnTo>
                  <a:lnTo>
                    <a:pt x="45" y="72"/>
                  </a:lnTo>
                  <a:lnTo>
                    <a:pt x="35" y="57"/>
                  </a:lnTo>
                  <a:lnTo>
                    <a:pt x="17" y="46"/>
                  </a:lnTo>
                  <a:lnTo>
                    <a:pt x="0" y="31"/>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02" name="Freeform 405"/>
            <p:cNvSpPr>
              <a:spLocks/>
            </p:cNvSpPr>
            <p:nvPr/>
          </p:nvSpPr>
          <p:spPr bwMode="auto">
            <a:xfrm>
              <a:off x="3963" y="1004"/>
              <a:ext cx="506" cy="1200"/>
            </a:xfrm>
            <a:custGeom>
              <a:avLst/>
              <a:gdLst>
                <a:gd name="T0" fmla="*/ 450 w 506"/>
                <a:gd name="T1" fmla="*/ 224 h 1200"/>
                <a:gd name="T2" fmla="*/ 354 w 506"/>
                <a:gd name="T3" fmla="*/ 164 h 1200"/>
                <a:gd name="T4" fmla="*/ 286 w 506"/>
                <a:gd name="T5" fmla="*/ 0 h 1200"/>
                <a:gd name="T6" fmla="*/ 47 w 506"/>
                <a:gd name="T7" fmla="*/ 49 h 1200"/>
                <a:gd name="T8" fmla="*/ 65 w 506"/>
                <a:gd name="T9" fmla="*/ 159 h 1200"/>
                <a:gd name="T10" fmla="*/ 80 w 506"/>
                <a:gd name="T11" fmla="*/ 228 h 1200"/>
                <a:gd name="T12" fmla="*/ 136 w 506"/>
                <a:gd name="T13" fmla="*/ 286 h 1200"/>
                <a:gd name="T14" fmla="*/ 123 w 506"/>
                <a:gd name="T15" fmla="*/ 356 h 1200"/>
                <a:gd name="T16" fmla="*/ 123 w 506"/>
                <a:gd name="T17" fmla="*/ 377 h 1200"/>
                <a:gd name="T18" fmla="*/ 84 w 506"/>
                <a:gd name="T19" fmla="*/ 412 h 1200"/>
                <a:gd name="T20" fmla="*/ 49 w 506"/>
                <a:gd name="T21" fmla="*/ 463 h 1200"/>
                <a:gd name="T22" fmla="*/ 19 w 506"/>
                <a:gd name="T23" fmla="*/ 500 h 1200"/>
                <a:gd name="T24" fmla="*/ 49 w 506"/>
                <a:gd name="T25" fmla="*/ 485 h 1200"/>
                <a:gd name="T26" fmla="*/ 67 w 506"/>
                <a:gd name="T27" fmla="*/ 501 h 1200"/>
                <a:gd name="T28" fmla="*/ 76 w 506"/>
                <a:gd name="T29" fmla="*/ 537 h 1200"/>
                <a:gd name="T30" fmla="*/ 110 w 506"/>
                <a:gd name="T31" fmla="*/ 546 h 1200"/>
                <a:gd name="T32" fmla="*/ 145 w 506"/>
                <a:gd name="T33" fmla="*/ 592 h 1200"/>
                <a:gd name="T34" fmla="*/ 111 w 506"/>
                <a:gd name="T35" fmla="*/ 569 h 1200"/>
                <a:gd name="T36" fmla="*/ 75 w 506"/>
                <a:gd name="T37" fmla="*/ 556 h 1200"/>
                <a:gd name="T38" fmla="*/ 60 w 506"/>
                <a:gd name="T39" fmla="*/ 562 h 1200"/>
                <a:gd name="T40" fmla="*/ 45 w 506"/>
                <a:gd name="T41" fmla="*/ 585 h 1200"/>
                <a:gd name="T42" fmla="*/ 41 w 506"/>
                <a:gd name="T43" fmla="*/ 627 h 1200"/>
                <a:gd name="T44" fmla="*/ 3 w 506"/>
                <a:gd name="T45" fmla="*/ 635 h 1200"/>
                <a:gd name="T46" fmla="*/ 16 w 506"/>
                <a:gd name="T47" fmla="*/ 669 h 1200"/>
                <a:gd name="T48" fmla="*/ 47 w 506"/>
                <a:gd name="T49" fmla="*/ 712 h 1200"/>
                <a:gd name="T50" fmla="*/ 38 w 506"/>
                <a:gd name="T51" fmla="*/ 735 h 1200"/>
                <a:gd name="T52" fmla="*/ 48 w 506"/>
                <a:gd name="T53" fmla="*/ 755 h 1200"/>
                <a:gd name="T54" fmla="*/ 80 w 506"/>
                <a:gd name="T55" fmla="*/ 805 h 1200"/>
                <a:gd name="T56" fmla="*/ 100 w 506"/>
                <a:gd name="T57" fmla="*/ 844 h 1200"/>
                <a:gd name="T58" fmla="*/ 168 w 506"/>
                <a:gd name="T59" fmla="*/ 873 h 1200"/>
                <a:gd name="T60" fmla="*/ 243 w 506"/>
                <a:gd name="T61" fmla="*/ 867 h 1200"/>
                <a:gd name="T62" fmla="*/ 276 w 506"/>
                <a:gd name="T63" fmla="*/ 930 h 1200"/>
                <a:gd name="T64" fmla="*/ 324 w 506"/>
                <a:gd name="T65" fmla="*/ 1002 h 1200"/>
                <a:gd name="T66" fmla="*/ 345 w 506"/>
                <a:gd name="T67" fmla="*/ 1065 h 1200"/>
                <a:gd name="T68" fmla="*/ 411 w 506"/>
                <a:gd name="T69" fmla="*/ 1083 h 1200"/>
                <a:gd name="T70" fmla="*/ 387 w 506"/>
                <a:gd name="T71" fmla="*/ 1131 h 1200"/>
                <a:gd name="T72" fmla="*/ 336 w 506"/>
                <a:gd name="T73" fmla="*/ 1146 h 1200"/>
                <a:gd name="T74" fmla="*/ 447 w 506"/>
                <a:gd name="T75" fmla="*/ 1179 h 1200"/>
                <a:gd name="T76" fmla="*/ 506 w 506"/>
                <a:gd name="T77" fmla="*/ 227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6" h="1200">
                  <a:moveTo>
                    <a:pt x="506" y="227"/>
                  </a:moveTo>
                  <a:lnTo>
                    <a:pt x="450" y="224"/>
                  </a:lnTo>
                  <a:lnTo>
                    <a:pt x="379" y="193"/>
                  </a:lnTo>
                  <a:lnTo>
                    <a:pt x="354" y="164"/>
                  </a:lnTo>
                  <a:lnTo>
                    <a:pt x="316" y="43"/>
                  </a:lnTo>
                  <a:lnTo>
                    <a:pt x="286" y="0"/>
                  </a:lnTo>
                  <a:lnTo>
                    <a:pt x="26" y="0"/>
                  </a:lnTo>
                  <a:lnTo>
                    <a:pt x="47" y="49"/>
                  </a:lnTo>
                  <a:lnTo>
                    <a:pt x="41" y="107"/>
                  </a:lnTo>
                  <a:lnTo>
                    <a:pt x="65" y="159"/>
                  </a:lnTo>
                  <a:lnTo>
                    <a:pt x="70" y="207"/>
                  </a:lnTo>
                  <a:lnTo>
                    <a:pt x="80" y="228"/>
                  </a:lnTo>
                  <a:lnTo>
                    <a:pt x="121" y="258"/>
                  </a:lnTo>
                  <a:lnTo>
                    <a:pt x="136" y="286"/>
                  </a:lnTo>
                  <a:lnTo>
                    <a:pt x="136" y="312"/>
                  </a:lnTo>
                  <a:lnTo>
                    <a:pt x="123" y="356"/>
                  </a:lnTo>
                  <a:lnTo>
                    <a:pt x="118" y="366"/>
                  </a:lnTo>
                  <a:lnTo>
                    <a:pt x="123" y="377"/>
                  </a:lnTo>
                  <a:lnTo>
                    <a:pt x="108" y="401"/>
                  </a:lnTo>
                  <a:lnTo>
                    <a:pt x="84" y="412"/>
                  </a:lnTo>
                  <a:lnTo>
                    <a:pt x="79" y="425"/>
                  </a:lnTo>
                  <a:lnTo>
                    <a:pt x="49" y="463"/>
                  </a:lnTo>
                  <a:lnTo>
                    <a:pt x="23" y="476"/>
                  </a:lnTo>
                  <a:lnTo>
                    <a:pt x="19" y="500"/>
                  </a:lnTo>
                  <a:lnTo>
                    <a:pt x="37" y="498"/>
                  </a:lnTo>
                  <a:lnTo>
                    <a:pt x="49" y="485"/>
                  </a:lnTo>
                  <a:lnTo>
                    <a:pt x="60" y="488"/>
                  </a:lnTo>
                  <a:lnTo>
                    <a:pt x="67" y="501"/>
                  </a:lnTo>
                  <a:lnTo>
                    <a:pt x="48" y="513"/>
                  </a:lnTo>
                  <a:lnTo>
                    <a:pt x="76" y="537"/>
                  </a:lnTo>
                  <a:lnTo>
                    <a:pt x="92" y="536"/>
                  </a:lnTo>
                  <a:lnTo>
                    <a:pt x="110" y="546"/>
                  </a:lnTo>
                  <a:lnTo>
                    <a:pt x="136" y="568"/>
                  </a:lnTo>
                  <a:lnTo>
                    <a:pt x="145" y="592"/>
                  </a:lnTo>
                  <a:lnTo>
                    <a:pt x="145" y="592"/>
                  </a:lnTo>
                  <a:lnTo>
                    <a:pt x="111" y="569"/>
                  </a:lnTo>
                  <a:lnTo>
                    <a:pt x="94" y="558"/>
                  </a:lnTo>
                  <a:lnTo>
                    <a:pt x="75" y="556"/>
                  </a:lnTo>
                  <a:lnTo>
                    <a:pt x="77" y="568"/>
                  </a:lnTo>
                  <a:lnTo>
                    <a:pt x="60" y="562"/>
                  </a:lnTo>
                  <a:lnTo>
                    <a:pt x="41" y="562"/>
                  </a:lnTo>
                  <a:lnTo>
                    <a:pt x="45" y="585"/>
                  </a:lnTo>
                  <a:lnTo>
                    <a:pt x="48" y="598"/>
                  </a:lnTo>
                  <a:lnTo>
                    <a:pt x="41" y="627"/>
                  </a:lnTo>
                  <a:lnTo>
                    <a:pt x="32" y="635"/>
                  </a:lnTo>
                  <a:lnTo>
                    <a:pt x="3" y="635"/>
                  </a:lnTo>
                  <a:lnTo>
                    <a:pt x="0" y="652"/>
                  </a:lnTo>
                  <a:lnTo>
                    <a:pt x="16" y="669"/>
                  </a:lnTo>
                  <a:lnTo>
                    <a:pt x="25" y="699"/>
                  </a:lnTo>
                  <a:lnTo>
                    <a:pt x="47" y="712"/>
                  </a:lnTo>
                  <a:lnTo>
                    <a:pt x="47" y="727"/>
                  </a:lnTo>
                  <a:lnTo>
                    <a:pt x="38" y="735"/>
                  </a:lnTo>
                  <a:lnTo>
                    <a:pt x="40" y="745"/>
                  </a:lnTo>
                  <a:lnTo>
                    <a:pt x="48" y="755"/>
                  </a:lnTo>
                  <a:lnTo>
                    <a:pt x="65" y="791"/>
                  </a:lnTo>
                  <a:lnTo>
                    <a:pt x="80" y="805"/>
                  </a:lnTo>
                  <a:lnTo>
                    <a:pt x="94" y="811"/>
                  </a:lnTo>
                  <a:lnTo>
                    <a:pt x="100" y="844"/>
                  </a:lnTo>
                  <a:lnTo>
                    <a:pt x="120" y="861"/>
                  </a:lnTo>
                  <a:lnTo>
                    <a:pt x="168" y="873"/>
                  </a:lnTo>
                  <a:lnTo>
                    <a:pt x="201" y="867"/>
                  </a:lnTo>
                  <a:lnTo>
                    <a:pt x="243" y="867"/>
                  </a:lnTo>
                  <a:lnTo>
                    <a:pt x="273" y="891"/>
                  </a:lnTo>
                  <a:lnTo>
                    <a:pt x="276" y="930"/>
                  </a:lnTo>
                  <a:lnTo>
                    <a:pt x="267" y="954"/>
                  </a:lnTo>
                  <a:lnTo>
                    <a:pt x="324" y="1002"/>
                  </a:lnTo>
                  <a:lnTo>
                    <a:pt x="327" y="1038"/>
                  </a:lnTo>
                  <a:lnTo>
                    <a:pt x="345" y="1065"/>
                  </a:lnTo>
                  <a:lnTo>
                    <a:pt x="366" y="1062"/>
                  </a:lnTo>
                  <a:lnTo>
                    <a:pt x="411" y="1083"/>
                  </a:lnTo>
                  <a:lnTo>
                    <a:pt x="411" y="1122"/>
                  </a:lnTo>
                  <a:lnTo>
                    <a:pt x="387" y="1131"/>
                  </a:lnTo>
                  <a:lnTo>
                    <a:pt x="348" y="1125"/>
                  </a:lnTo>
                  <a:lnTo>
                    <a:pt x="336" y="1146"/>
                  </a:lnTo>
                  <a:lnTo>
                    <a:pt x="369" y="1200"/>
                  </a:lnTo>
                  <a:lnTo>
                    <a:pt x="447" y="1179"/>
                  </a:lnTo>
                  <a:lnTo>
                    <a:pt x="501" y="1185"/>
                  </a:lnTo>
                  <a:lnTo>
                    <a:pt x="506" y="227"/>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03" name="Freeform 406"/>
            <p:cNvSpPr>
              <a:spLocks/>
            </p:cNvSpPr>
            <p:nvPr/>
          </p:nvSpPr>
          <p:spPr bwMode="auto">
            <a:xfrm>
              <a:off x="3760" y="2180"/>
              <a:ext cx="712" cy="586"/>
            </a:xfrm>
            <a:custGeom>
              <a:avLst/>
              <a:gdLst>
                <a:gd name="T0" fmla="*/ 591 w 712"/>
                <a:gd name="T1" fmla="*/ 20 h 586"/>
                <a:gd name="T2" fmla="*/ 654 w 712"/>
                <a:gd name="T3" fmla="*/ 0 h 586"/>
                <a:gd name="T4" fmla="*/ 712 w 712"/>
                <a:gd name="T5" fmla="*/ 574 h 586"/>
                <a:gd name="T6" fmla="*/ 677 w 712"/>
                <a:gd name="T7" fmla="*/ 573 h 586"/>
                <a:gd name="T8" fmla="*/ 654 w 712"/>
                <a:gd name="T9" fmla="*/ 547 h 586"/>
                <a:gd name="T10" fmla="*/ 674 w 712"/>
                <a:gd name="T11" fmla="*/ 509 h 586"/>
                <a:gd name="T12" fmla="*/ 695 w 712"/>
                <a:gd name="T13" fmla="*/ 474 h 586"/>
                <a:gd name="T14" fmla="*/ 644 w 712"/>
                <a:gd name="T15" fmla="*/ 489 h 586"/>
                <a:gd name="T16" fmla="*/ 623 w 712"/>
                <a:gd name="T17" fmla="*/ 493 h 586"/>
                <a:gd name="T18" fmla="*/ 598 w 712"/>
                <a:gd name="T19" fmla="*/ 472 h 586"/>
                <a:gd name="T20" fmla="*/ 608 w 712"/>
                <a:gd name="T21" fmla="*/ 450 h 586"/>
                <a:gd name="T22" fmla="*/ 573 w 712"/>
                <a:gd name="T23" fmla="*/ 466 h 586"/>
                <a:gd name="T24" fmla="*/ 558 w 712"/>
                <a:gd name="T25" fmla="*/ 489 h 586"/>
                <a:gd name="T26" fmla="*/ 558 w 712"/>
                <a:gd name="T27" fmla="*/ 504 h 586"/>
                <a:gd name="T28" fmla="*/ 542 w 712"/>
                <a:gd name="T29" fmla="*/ 535 h 586"/>
                <a:gd name="T30" fmla="*/ 535 w 712"/>
                <a:gd name="T31" fmla="*/ 547 h 586"/>
                <a:gd name="T32" fmla="*/ 499 w 712"/>
                <a:gd name="T33" fmla="*/ 527 h 586"/>
                <a:gd name="T34" fmla="*/ 527 w 712"/>
                <a:gd name="T35" fmla="*/ 569 h 586"/>
                <a:gd name="T36" fmla="*/ 499 w 712"/>
                <a:gd name="T37" fmla="*/ 577 h 586"/>
                <a:gd name="T38" fmla="*/ 465 w 712"/>
                <a:gd name="T39" fmla="*/ 580 h 586"/>
                <a:gd name="T40" fmla="*/ 422 w 712"/>
                <a:gd name="T41" fmla="*/ 565 h 586"/>
                <a:gd name="T42" fmla="*/ 454 w 712"/>
                <a:gd name="T43" fmla="*/ 515 h 586"/>
                <a:gd name="T44" fmla="*/ 482 w 712"/>
                <a:gd name="T45" fmla="*/ 492 h 586"/>
                <a:gd name="T46" fmla="*/ 529 w 712"/>
                <a:gd name="T47" fmla="*/ 486 h 586"/>
                <a:gd name="T48" fmla="*/ 495 w 712"/>
                <a:gd name="T49" fmla="*/ 465 h 586"/>
                <a:gd name="T50" fmla="*/ 454 w 712"/>
                <a:gd name="T51" fmla="*/ 423 h 586"/>
                <a:gd name="T52" fmla="*/ 444 w 712"/>
                <a:gd name="T53" fmla="*/ 384 h 586"/>
                <a:gd name="T54" fmla="*/ 361 w 712"/>
                <a:gd name="T55" fmla="*/ 348 h 586"/>
                <a:gd name="T56" fmla="*/ 297 w 712"/>
                <a:gd name="T57" fmla="*/ 352 h 586"/>
                <a:gd name="T58" fmla="*/ 274 w 712"/>
                <a:gd name="T59" fmla="*/ 374 h 586"/>
                <a:gd name="T60" fmla="*/ 225 w 712"/>
                <a:gd name="T61" fmla="*/ 389 h 586"/>
                <a:gd name="T62" fmla="*/ 185 w 712"/>
                <a:gd name="T63" fmla="*/ 378 h 586"/>
                <a:gd name="T64" fmla="*/ 143 w 712"/>
                <a:gd name="T65" fmla="*/ 384 h 586"/>
                <a:gd name="T66" fmla="*/ 107 w 712"/>
                <a:gd name="T67" fmla="*/ 374 h 586"/>
                <a:gd name="T68" fmla="*/ 74 w 712"/>
                <a:gd name="T69" fmla="*/ 392 h 586"/>
                <a:gd name="T70" fmla="*/ 25 w 712"/>
                <a:gd name="T71" fmla="*/ 386 h 586"/>
                <a:gd name="T72" fmla="*/ 5 w 712"/>
                <a:gd name="T73" fmla="*/ 331 h 586"/>
                <a:gd name="T74" fmla="*/ 38 w 712"/>
                <a:gd name="T75" fmla="*/ 244 h 586"/>
                <a:gd name="T76" fmla="*/ 112 w 712"/>
                <a:gd name="T77" fmla="*/ 178 h 586"/>
                <a:gd name="T78" fmla="*/ 97 w 712"/>
                <a:gd name="T79" fmla="*/ 122 h 586"/>
                <a:gd name="T80" fmla="*/ 63 w 712"/>
                <a:gd name="T81" fmla="*/ 83 h 586"/>
                <a:gd name="T82" fmla="*/ 107 w 712"/>
                <a:gd name="T83" fmla="*/ 72 h 586"/>
                <a:gd name="T84" fmla="*/ 223 w 712"/>
                <a:gd name="T85" fmla="*/ 69 h 586"/>
                <a:gd name="T86" fmla="*/ 313 w 712"/>
                <a:gd name="T87" fmla="*/ 84 h 586"/>
                <a:gd name="T88" fmla="*/ 391 w 712"/>
                <a:gd name="T89" fmla="*/ 77 h 586"/>
                <a:gd name="T90" fmla="*/ 435 w 712"/>
                <a:gd name="T91" fmla="*/ 84 h 586"/>
                <a:gd name="T92" fmla="*/ 491 w 712"/>
                <a:gd name="T93" fmla="*/ 92 h 586"/>
                <a:gd name="T94" fmla="*/ 506 w 712"/>
                <a:gd name="T95" fmla="*/ 45 h 586"/>
                <a:gd name="T96" fmla="*/ 565 w 712"/>
                <a:gd name="T97" fmla="*/ 23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2" h="586">
                  <a:moveTo>
                    <a:pt x="565" y="23"/>
                  </a:moveTo>
                  <a:lnTo>
                    <a:pt x="591" y="20"/>
                  </a:lnTo>
                  <a:lnTo>
                    <a:pt x="628" y="11"/>
                  </a:lnTo>
                  <a:lnTo>
                    <a:pt x="654" y="0"/>
                  </a:lnTo>
                  <a:lnTo>
                    <a:pt x="707" y="12"/>
                  </a:lnTo>
                  <a:lnTo>
                    <a:pt x="712" y="574"/>
                  </a:lnTo>
                  <a:lnTo>
                    <a:pt x="695" y="573"/>
                  </a:lnTo>
                  <a:lnTo>
                    <a:pt x="677" y="573"/>
                  </a:lnTo>
                  <a:lnTo>
                    <a:pt x="649" y="565"/>
                  </a:lnTo>
                  <a:lnTo>
                    <a:pt x="654" y="547"/>
                  </a:lnTo>
                  <a:lnTo>
                    <a:pt x="669" y="527"/>
                  </a:lnTo>
                  <a:lnTo>
                    <a:pt x="674" y="509"/>
                  </a:lnTo>
                  <a:lnTo>
                    <a:pt x="700" y="492"/>
                  </a:lnTo>
                  <a:lnTo>
                    <a:pt x="695" y="474"/>
                  </a:lnTo>
                  <a:lnTo>
                    <a:pt x="664" y="482"/>
                  </a:lnTo>
                  <a:lnTo>
                    <a:pt x="644" y="489"/>
                  </a:lnTo>
                  <a:lnTo>
                    <a:pt x="623" y="486"/>
                  </a:lnTo>
                  <a:lnTo>
                    <a:pt x="623" y="493"/>
                  </a:lnTo>
                  <a:lnTo>
                    <a:pt x="596" y="480"/>
                  </a:lnTo>
                  <a:lnTo>
                    <a:pt x="598" y="472"/>
                  </a:lnTo>
                  <a:lnTo>
                    <a:pt x="621" y="465"/>
                  </a:lnTo>
                  <a:lnTo>
                    <a:pt x="608" y="450"/>
                  </a:lnTo>
                  <a:lnTo>
                    <a:pt x="588" y="454"/>
                  </a:lnTo>
                  <a:lnTo>
                    <a:pt x="573" y="466"/>
                  </a:lnTo>
                  <a:lnTo>
                    <a:pt x="560" y="472"/>
                  </a:lnTo>
                  <a:lnTo>
                    <a:pt x="558" y="489"/>
                  </a:lnTo>
                  <a:lnTo>
                    <a:pt x="543" y="492"/>
                  </a:lnTo>
                  <a:lnTo>
                    <a:pt x="558" y="504"/>
                  </a:lnTo>
                  <a:lnTo>
                    <a:pt x="558" y="518"/>
                  </a:lnTo>
                  <a:lnTo>
                    <a:pt x="542" y="535"/>
                  </a:lnTo>
                  <a:lnTo>
                    <a:pt x="520" y="527"/>
                  </a:lnTo>
                  <a:lnTo>
                    <a:pt x="535" y="547"/>
                  </a:lnTo>
                  <a:lnTo>
                    <a:pt x="527" y="550"/>
                  </a:lnTo>
                  <a:lnTo>
                    <a:pt x="499" y="527"/>
                  </a:lnTo>
                  <a:lnTo>
                    <a:pt x="507" y="558"/>
                  </a:lnTo>
                  <a:lnTo>
                    <a:pt x="527" y="569"/>
                  </a:lnTo>
                  <a:lnTo>
                    <a:pt x="507" y="586"/>
                  </a:lnTo>
                  <a:lnTo>
                    <a:pt x="499" y="577"/>
                  </a:lnTo>
                  <a:lnTo>
                    <a:pt x="479" y="574"/>
                  </a:lnTo>
                  <a:lnTo>
                    <a:pt x="465" y="580"/>
                  </a:lnTo>
                  <a:lnTo>
                    <a:pt x="421" y="583"/>
                  </a:lnTo>
                  <a:lnTo>
                    <a:pt x="422" y="565"/>
                  </a:lnTo>
                  <a:lnTo>
                    <a:pt x="452" y="539"/>
                  </a:lnTo>
                  <a:lnTo>
                    <a:pt x="454" y="515"/>
                  </a:lnTo>
                  <a:lnTo>
                    <a:pt x="457" y="495"/>
                  </a:lnTo>
                  <a:lnTo>
                    <a:pt x="482" y="492"/>
                  </a:lnTo>
                  <a:lnTo>
                    <a:pt x="520" y="493"/>
                  </a:lnTo>
                  <a:lnTo>
                    <a:pt x="529" y="486"/>
                  </a:lnTo>
                  <a:lnTo>
                    <a:pt x="504" y="478"/>
                  </a:lnTo>
                  <a:lnTo>
                    <a:pt x="495" y="465"/>
                  </a:lnTo>
                  <a:lnTo>
                    <a:pt x="465" y="450"/>
                  </a:lnTo>
                  <a:lnTo>
                    <a:pt x="454" y="423"/>
                  </a:lnTo>
                  <a:lnTo>
                    <a:pt x="460" y="410"/>
                  </a:lnTo>
                  <a:lnTo>
                    <a:pt x="444" y="384"/>
                  </a:lnTo>
                  <a:lnTo>
                    <a:pt x="404" y="378"/>
                  </a:lnTo>
                  <a:lnTo>
                    <a:pt x="361" y="348"/>
                  </a:lnTo>
                  <a:lnTo>
                    <a:pt x="323" y="346"/>
                  </a:lnTo>
                  <a:lnTo>
                    <a:pt x="297" y="352"/>
                  </a:lnTo>
                  <a:lnTo>
                    <a:pt x="286" y="366"/>
                  </a:lnTo>
                  <a:lnTo>
                    <a:pt x="274" y="374"/>
                  </a:lnTo>
                  <a:lnTo>
                    <a:pt x="242" y="375"/>
                  </a:lnTo>
                  <a:lnTo>
                    <a:pt x="225" y="389"/>
                  </a:lnTo>
                  <a:lnTo>
                    <a:pt x="196" y="389"/>
                  </a:lnTo>
                  <a:lnTo>
                    <a:pt x="185" y="378"/>
                  </a:lnTo>
                  <a:lnTo>
                    <a:pt x="173" y="374"/>
                  </a:lnTo>
                  <a:lnTo>
                    <a:pt x="143" y="384"/>
                  </a:lnTo>
                  <a:lnTo>
                    <a:pt x="122" y="386"/>
                  </a:lnTo>
                  <a:lnTo>
                    <a:pt x="107" y="374"/>
                  </a:lnTo>
                  <a:lnTo>
                    <a:pt x="84" y="378"/>
                  </a:lnTo>
                  <a:lnTo>
                    <a:pt x="74" y="392"/>
                  </a:lnTo>
                  <a:lnTo>
                    <a:pt x="53" y="386"/>
                  </a:lnTo>
                  <a:lnTo>
                    <a:pt x="25" y="386"/>
                  </a:lnTo>
                  <a:lnTo>
                    <a:pt x="0" y="348"/>
                  </a:lnTo>
                  <a:lnTo>
                    <a:pt x="5" y="331"/>
                  </a:lnTo>
                  <a:lnTo>
                    <a:pt x="53" y="290"/>
                  </a:lnTo>
                  <a:lnTo>
                    <a:pt x="38" y="244"/>
                  </a:lnTo>
                  <a:lnTo>
                    <a:pt x="94" y="202"/>
                  </a:lnTo>
                  <a:lnTo>
                    <a:pt x="112" y="178"/>
                  </a:lnTo>
                  <a:lnTo>
                    <a:pt x="109" y="153"/>
                  </a:lnTo>
                  <a:lnTo>
                    <a:pt x="97" y="122"/>
                  </a:lnTo>
                  <a:lnTo>
                    <a:pt x="82" y="96"/>
                  </a:lnTo>
                  <a:lnTo>
                    <a:pt x="63" y="83"/>
                  </a:lnTo>
                  <a:lnTo>
                    <a:pt x="94" y="84"/>
                  </a:lnTo>
                  <a:lnTo>
                    <a:pt x="107" y="72"/>
                  </a:lnTo>
                  <a:lnTo>
                    <a:pt x="166" y="69"/>
                  </a:lnTo>
                  <a:lnTo>
                    <a:pt x="223" y="69"/>
                  </a:lnTo>
                  <a:lnTo>
                    <a:pt x="238" y="69"/>
                  </a:lnTo>
                  <a:lnTo>
                    <a:pt x="313" y="84"/>
                  </a:lnTo>
                  <a:lnTo>
                    <a:pt x="368" y="84"/>
                  </a:lnTo>
                  <a:lnTo>
                    <a:pt x="391" y="77"/>
                  </a:lnTo>
                  <a:lnTo>
                    <a:pt x="412" y="77"/>
                  </a:lnTo>
                  <a:lnTo>
                    <a:pt x="435" y="84"/>
                  </a:lnTo>
                  <a:lnTo>
                    <a:pt x="482" y="79"/>
                  </a:lnTo>
                  <a:lnTo>
                    <a:pt x="491" y="92"/>
                  </a:lnTo>
                  <a:lnTo>
                    <a:pt x="507" y="75"/>
                  </a:lnTo>
                  <a:lnTo>
                    <a:pt x="506" y="45"/>
                  </a:lnTo>
                  <a:lnTo>
                    <a:pt x="543" y="26"/>
                  </a:lnTo>
                  <a:lnTo>
                    <a:pt x="565" y="23"/>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04" name="Freeform 411"/>
            <p:cNvSpPr>
              <a:spLocks/>
            </p:cNvSpPr>
            <p:nvPr/>
          </p:nvSpPr>
          <p:spPr bwMode="auto">
            <a:xfrm>
              <a:off x="4094" y="3059"/>
              <a:ext cx="371" cy="469"/>
            </a:xfrm>
            <a:custGeom>
              <a:avLst/>
              <a:gdLst>
                <a:gd name="T0" fmla="*/ 163 w 323"/>
                <a:gd name="T1" fmla="*/ 91 h 408"/>
                <a:gd name="T2" fmla="*/ 166 w 323"/>
                <a:gd name="T3" fmla="*/ 71 h 408"/>
                <a:gd name="T4" fmla="*/ 200 w 323"/>
                <a:gd name="T5" fmla="*/ 67 h 408"/>
                <a:gd name="T6" fmla="*/ 209 w 323"/>
                <a:gd name="T7" fmla="*/ 67 h 408"/>
                <a:gd name="T8" fmla="*/ 193 w 323"/>
                <a:gd name="T9" fmla="*/ 55 h 408"/>
                <a:gd name="T10" fmla="*/ 169 w 323"/>
                <a:gd name="T11" fmla="*/ 49 h 408"/>
                <a:gd name="T12" fmla="*/ 169 w 323"/>
                <a:gd name="T13" fmla="*/ 37 h 408"/>
                <a:gd name="T14" fmla="*/ 218 w 323"/>
                <a:gd name="T15" fmla="*/ 25 h 408"/>
                <a:gd name="T16" fmla="*/ 258 w 323"/>
                <a:gd name="T17" fmla="*/ 21 h 408"/>
                <a:gd name="T18" fmla="*/ 285 w 323"/>
                <a:gd name="T19" fmla="*/ 9 h 408"/>
                <a:gd name="T20" fmla="*/ 303 w 323"/>
                <a:gd name="T21" fmla="*/ 16 h 408"/>
                <a:gd name="T22" fmla="*/ 323 w 323"/>
                <a:gd name="T23" fmla="*/ 0 h 408"/>
                <a:gd name="T24" fmla="*/ 319 w 323"/>
                <a:gd name="T25" fmla="*/ 360 h 408"/>
                <a:gd name="T26" fmla="*/ 292 w 323"/>
                <a:gd name="T27" fmla="*/ 374 h 408"/>
                <a:gd name="T28" fmla="*/ 289 w 323"/>
                <a:gd name="T29" fmla="*/ 381 h 408"/>
                <a:gd name="T30" fmla="*/ 268 w 323"/>
                <a:gd name="T31" fmla="*/ 387 h 408"/>
                <a:gd name="T32" fmla="*/ 265 w 323"/>
                <a:gd name="T33" fmla="*/ 387 h 408"/>
                <a:gd name="T34" fmla="*/ 242 w 323"/>
                <a:gd name="T35" fmla="*/ 408 h 408"/>
                <a:gd name="T36" fmla="*/ 228 w 323"/>
                <a:gd name="T37" fmla="*/ 408 h 408"/>
                <a:gd name="T38" fmla="*/ 222 w 323"/>
                <a:gd name="T39" fmla="*/ 392 h 408"/>
                <a:gd name="T40" fmla="*/ 212 w 323"/>
                <a:gd name="T41" fmla="*/ 390 h 408"/>
                <a:gd name="T42" fmla="*/ 200 w 323"/>
                <a:gd name="T43" fmla="*/ 381 h 408"/>
                <a:gd name="T44" fmla="*/ 196 w 323"/>
                <a:gd name="T45" fmla="*/ 369 h 408"/>
                <a:gd name="T46" fmla="*/ 169 w 323"/>
                <a:gd name="T47" fmla="*/ 365 h 408"/>
                <a:gd name="T48" fmla="*/ 155 w 323"/>
                <a:gd name="T49" fmla="*/ 360 h 408"/>
                <a:gd name="T50" fmla="*/ 153 w 323"/>
                <a:gd name="T51" fmla="*/ 353 h 408"/>
                <a:gd name="T52" fmla="*/ 135 w 323"/>
                <a:gd name="T53" fmla="*/ 353 h 408"/>
                <a:gd name="T54" fmla="*/ 122 w 323"/>
                <a:gd name="T55" fmla="*/ 341 h 408"/>
                <a:gd name="T56" fmla="*/ 118 w 323"/>
                <a:gd name="T57" fmla="*/ 335 h 408"/>
                <a:gd name="T58" fmla="*/ 104 w 323"/>
                <a:gd name="T59" fmla="*/ 341 h 408"/>
                <a:gd name="T60" fmla="*/ 91 w 323"/>
                <a:gd name="T61" fmla="*/ 338 h 408"/>
                <a:gd name="T62" fmla="*/ 85 w 323"/>
                <a:gd name="T63" fmla="*/ 335 h 408"/>
                <a:gd name="T64" fmla="*/ 87 w 323"/>
                <a:gd name="T65" fmla="*/ 323 h 408"/>
                <a:gd name="T66" fmla="*/ 67 w 323"/>
                <a:gd name="T67" fmla="*/ 310 h 408"/>
                <a:gd name="T68" fmla="*/ 71 w 323"/>
                <a:gd name="T69" fmla="*/ 301 h 408"/>
                <a:gd name="T70" fmla="*/ 77 w 323"/>
                <a:gd name="T71" fmla="*/ 296 h 408"/>
                <a:gd name="T72" fmla="*/ 57 w 323"/>
                <a:gd name="T73" fmla="*/ 283 h 408"/>
                <a:gd name="T74" fmla="*/ 6 w 323"/>
                <a:gd name="T75" fmla="*/ 265 h 408"/>
                <a:gd name="T76" fmla="*/ 14 w 323"/>
                <a:gd name="T77" fmla="*/ 247 h 408"/>
                <a:gd name="T78" fmla="*/ 30 w 323"/>
                <a:gd name="T79" fmla="*/ 247 h 408"/>
                <a:gd name="T80" fmla="*/ 37 w 323"/>
                <a:gd name="T81" fmla="*/ 259 h 408"/>
                <a:gd name="T82" fmla="*/ 34 w 323"/>
                <a:gd name="T83" fmla="*/ 241 h 408"/>
                <a:gd name="T84" fmla="*/ 44 w 323"/>
                <a:gd name="T85" fmla="*/ 226 h 408"/>
                <a:gd name="T86" fmla="*/ 51 w 323"/>
                <a:gd name="T87" fmla="*/ 210 h 408"/>
                <a:gd name="T88" fmla="*/ 34 w 323"/>
                <a:gd name="T89" fmla="*/ 198 h 408"/>
                <a:gd name="T90" fmla="*/ 20 w 323"/>
                <a:gd name="T91" fmla="*/ 186 h 408"/>
                <a:gd name="T92" fmla="*/ 20 w 323"/>
                <a:gd name="T93" fmla="*/ 174 h 408"/>
                <a:gd name="T94" fmla="*/ 6 w 323"/>
                <a:gd name="T95" fmla="*/ 174 h 408"/>
                <a:gd name="T96" fmla="*/ 0 w 323"/>
                <a:gd name="T97" fmla="*/ 171 h 408"/>
                <a:gd name="T98" fmla="*/ 4 w 323"/>
                <a:gd name="T99" fmla="*/ 143 h 408"/>
                <a:gd name="T100" fmla="*/ 27 w 323"/>
                <a:gd name="T101" fmla="*/ 103 h 408"/>
                <a:gd name="T102" fmla="*/ 30 w 323"/>
                <a:gd name="T103" fmla="*/ 103 h 408"/>
                <a:gd name="T104" fmla="*/ 51 w 323"/>
                <a:gd name="T105" fmla="*/ 103 h 408"/>
                <a:gd name="T106" fmla="*/ 67 w 323"/>
                <a:gd name="T107" fmla="*/ 110 h 408"/>
                <a:gd name="T108" fmla="*/ 77 w 323"/>
                <a:gd name="T109" fmla="*/ 110 h 408"/>
                <a:gd name="T110" fmla="*/ 77 w 323"/>
                <a:gd name="T111" fmla="*/ 98 h 408"/>
                <a:gd name="T112" fmla="*/ 97 w 323"/>
                <a:gd name="T113" fmla="*/ 94 h 408"/>
                <a:gd name="T114" fmla="*/ 135 w 323"/>
                <a:gd name="T115" fmla="*/ 94 h 408"/>
                <a:gd name="T116" fmla="*/ 163 w 323"/>
                <a:gd name="T117" fmla="*/ 91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3" h="408">
                  <a:moveTo>
                    <a:pt x="163" y="91"/>
                  </a:moveTo>
                  <a:lnTo>
                    <a:pt x="166" y="71"/>
                  </a:lnTo>
                  <a:lnTo>
                    <a:pt x="200" y="67"/>
                  </a:lnTo>
                  <a:lnTo>
                    <a:pt x="209" y="67"/>
                  </a:lnTo>
                  <a:lnTo>
                    <a:pt x="193" y="55"/>
                  </a:lnTo>
                  <a:lnTo>
                    <a:pt x="169" y="49"/>
                  </a:lnTo>
                  <a:lnTo>
                    <a:pt x="169" y="37"/>
                  </a:lnTo>
                  <a:lnTo>
                    <a:pt x="218" y="25"/>
                  </a:lnTo>
                  <a:lnTo>
                    <a:pt x="258" y="21"/>
                  </a:lnTo>
                  <a:lnTo>
                    <a:pt x="285" y="9"/>
                  </a:lnTo>
                  <a:lnTo>
                    <a:pt x="303" y="16"/>
                  </a:lnTo>
                  <a:lnTo>
                    <a:pt x="323" y="0"/>
                  </a:lnTo>
                  <a:lnTo>
                    <a:pt x="319" y="360"/>
                  </a:lnTo>
                  <a:lnTo>
                    <a:pt x="292" y="374"/>
                  </a:lnTo>
                  <a:lnTo>
                    <a:pt x="289" y="381"/>
                  </a:lnTo>
                  <a:lnTo>
                    <a:pt x="268" y="387"/>
                  </a:lnTo>
                  <a:lnTo>
                    <a:pt x="265" y="387"/>
                  </a:lnTo>
                  <a:lnTo>
                    <a:pt x="242" y="408"/>
                  </a:lnTo>
                  <a:lnTo>
                    <a:pt x="228" y="408"/>
                  </a:lnTo>
                  <a:lnTo>
                    <a:pt x="222" y="392"/>
                  </a:lnTo>
                  <a:lnTo>
                    <a:pt x="212" y="390"/>
                  </a:lnTo>
                  <a:lnTo>
                    <a:pt x="200" y="381"/>
                  </a:lnTo>
                  <a:lnTo>
                    <a:pt x="196" y="369"/>
                  </a:lnTo>
                  <a:lnTo>
                    <a:pt x="169" y="365"/>
                  </a:lnTo>
                  <a:lnTo>
                    <a:pt x="155" y="360"/>
                  </a:lnTo>
                  <a:lnTo>
                    <a:pt x="153" y="353"/>
                  </a:lnTo>
                  <a:lnTo>
                    <a:pt x="135" y="353"/>
                  </a:lnTo>
                  <a:lnTo>
                    <a:pt x="122" y="341"/>
                  </a:lnTo>
                  <a:lnTo>
                    <a:pt x="118" y="335"/>
                  </a:lnTo>
                  <a:lnTo>
                    <a:pt x="104" y="341"/>
                  </a:lnTo>
                  <a:lnTo>
                    <a:pt x="91" y="338"/>
                  </a:lnTo>
                  <a:lnTo>
                    <a:pt x="85" y="335"/>
                  </a:lnTo>
                  <a:lnTo>
                    <a:pt x="87" y="323"/>
                  </a:lnTo>
                  <a:lnTo>
                    <a:pt x="67" y="310"/>
                  </a:lnTo>
                  <a:lnTo>
                    <a:pt x="71" y="301"/>
                  </a:lnTo>
                  <a:lnTo>
                    <a:pt x="77" y="296"/>
                  </a:lnTo>
                  <a:lnTo>
                    <a:pt x="57" y="283"/>
                  </a:lnTo>
                  <a:lnTo>
                    <a:pt x="6" y="265"/>
                  </a:lnTo>
                  <a:lnTo>
                    <a:pt x="14" y="247"/>
                  </a:lnTo>
                  <a:lnTo>
                    <a:pt x="30" y="247"/>
                  </a:lnTo>
                  <a:lnTo>
                    <a:pt x="37" y="259"/>
                  </a:lnTo>
                  <a:lnTo>
                    <a:pt x="34" y="241"/>
                  </a:lnTo>
                  <a:lnTo>
                    <a:pt x="44" y="226"/>
                  </a:lnTo>
                  <a:lnTo>
                    <a:pt x="51" y="210"/>
                  </a:lnTo>
                  <a:lnTo>
                    <a:pt x="34" y="198"/>
                  </a:lnTo>
                  <a:lnTo>
                    <a:pt x="20" y="186"/>
                  </a:lnTo>
                  <a:lnTo>
                    <a:pt x="20" y="174"/>
                  </a:lnTo>
                  <a:lnTo>
                    <a:pt x="6" y="174"/>
                  </a:lnTo>
                  <a:lnTo>
                    <a:pt x="0" y="171"/>
                  </a:lnTo>
                  <a:lnTo>
                    <a:pt x="4" y="143"/>
                  </a:lnTo>
                  <a:lnTo>
                    <a:pt x="27" y="103"/>
                  </a:lnTo>
                  <a:lnTo>
                    <a:pt x="30" y="103"/>
                  </a:lnTo>
                  <a:lnTo>
                    <a:pt x="51" y="103"/>
                  </a:lnTo>
                  <a:lnTo>
                    <a:pt x="67" y="110"/>
                  </a:lnTo>
                  <a:lnTo>
                    <a:pt x="77" y="110"/>
                  </a:lnTo>
                  <a:lnTo>
                    <a:pt x="77" y="98"/>
                  </a:lnTo>
                  <a:lnTo>
                    <a:pt x="97" y="94"/>
                  </a:lnTo>
                  <a:lnTo>
                    <a:pt x="135" y="94"/>
                  </a:lnTo>
                  <a:lnTo>
                    <a:pt x="163" y="91"/>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05" name="Text Box 412"/>
            <p:cNvSpPr txBox="1">
              <a:spLocks noChangeArrowheads="1"/>
            </p:cNvSpPr>
            <p:nvPr/>
          </p:nvSpPr>
          <p:spPr bwMode="auto">
            <a:xfrm>
              <a:off x="3111" y="2583"/>
              <a:ext cx="260" cy="63"/>
            </a:xfrm>
            <a:prstGeom prst="rect">
              <a:avLst/>
            </a:prstGeom>
            <a:grpFill/>
            <a:ln w="9525">
              <a:solidFill>
                <a:schemeClr val="tx1">
                  <a:lumMod val="50000"/>
                  <a:lumOff val="50000"/>
                </a:schemeClr>
              </a:solidFill>
              <a:miter lim="800000"/>
              <a:headEnd/>
              <a:tailEn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0" fontAlgn="base" latinLnBrk="0" hangingPunct="0">
                <a:lnSpc>
                  <a:spcPct val="90000"/>
                </a:lnSpc>
                <a:spcBef>
                  <a:spcPct val="0"/>
                </a:spcBef>
                <a:spcAft>
                  <a:spcPct val="0"/>
                </a:spcAft>
                <a:buClrTx/>
                <a:buSzTx/>
                <a:buFontTx/>
                <a:buNone/>
                <a:tabLst/>
                <a:defRPr/>
              </a:pPr>
              <a:endParaRPr kumimoji="0" lang="en-GB" altLang="de-DE" sz="500" b="1" i="1" u="none" strike="noStrike" kern="0" cap="none" spc="0" normalizeH="0" baseline="0" noProof="0" dirty="0">
                <a:ln>
                  <a:noFill/>
                </a:ln>
                <a:solidFill>
                  <a:srgbClr val="004240"/>
                </a:solidFill>
                <a:effectLst/>
                <a:uLnTx/>
                <a:uFillTx/>
                <a:latin typeface="Times New Roman" pitchFamily="18" charset="0"/>
              </a:endParaRPr>
            </a:p>
          </p:txBody>
        </p:sp>
        <p:sp>
          <p:nvSpPr>
            <p:cNvPr id="306" name="Freeform 413"/>
            <p:cNvSpPr>
              <a:spLocks/>
            </p:cNvSpPr>
            <p:nvPr/>
          </p:nvSpPr>
          <p:spPr bwMode="auto">
            <a:xfrm>
              <a:off x="2724" y="2513"/>
              <a:ext cx="308" cy="182"/>
            </a:xfrm>
            <a:custGeom>
              <a:avLst/>
              <a:gdLst>
                <a:gd name="T0" fmla="*/ 161 w 308"/>
                <a:gd name="T1" fmla="*/ 35 h 182"/>
                <a:gd name="T2" fmla="*/ 146 w 308"/>
                <a:gd name="T3" fmla="*/ 23 h 182"/>
                <a:gd name="T4" fmla="*/ 148 w 308"/>
                <a:gd name="T5" fmla="*/ 18 h 182"/>
                <a:gd name="T6" fmla="*/ 138 w 308"/>
                <a:gd name="T7" fmla="*/ 10 h 182"/>
                <a:gd name="T8" fmla="*/ 130 w 308"/>
                <a:gd name="T9" fmla="*/ 0 h 182"/>
                <a:gd name="T10" fmla="*/ 121 w 308"/>
                <a:gd name="T11" fmla="*/ 10 h 182"/>
                <a:gd name="T12" fmla="*/ 115 w 308"/>
                <a:gd name="T13" fmla="*/ 7 h 182"/>
                <a:gd name="T14" fmla="*/ 103 w 308"/>
                <a:gd name="T15" fmla="*/ 16 h 182"/>
                <a:gd name="T16" fmla="*/ 103 w 308"/>
                <a:gd name="T17" fmla="*/ 21 h 182"/>
                <a:gd name="T18" fmla="*/ 90 w 308"/>
                <a:gd name="T19" fmla="*/ 26 h 182"/>
                <a:gd name="T20" fmla="*/ 56 w 308"/>
                <a:gd name="T21" fmla="*/ 51 h 182"/>
                <a:gd name="T22" fmla="*/ 47 w 308"/>
                <a:gd name="T23" fmla="*/ 61 h 182"/>
                <a:gd name="T24" fmla="*/ 47 w 308"/>
                <a:gd name="T25" fmla="*/ 73 h 182"/>
                <a:gd name="T26" fmla="*/ 34 w 308"/>
                <a:gd name="T27" fmla="*/ 77 h 182"/>
                <a:gd name="T28" fmla="*/ 9 w 308"/>
                <a:gd name="T29" fmla="*/ 101 h 182"/>
                <a:gd name="T30" fmla="*/ 9 w 308"/>
                <a:gd name="T31" fmla="*/ 110 h 182"/>
                <a:gd name="T32" fmla="*/ 0 w 308"/>
                <a:gd name="T33" fmla="*/ 120 h 182"/>
                <a:gd name="T34" fmla="*/ 4 w 308"/>
                <a:gd name="T35" fmla="*/ 132 h 182"/>
                <a:gd name="T36" fmla="*/ 16 w 308"/>
                <a:gd name="T37" fmla="*/ 126 h 182"/>
                <a:gd name="T38" fmla="*/ 27 w 308"/>
                <a:gd name="T39" fmla="*/ 114 h 182"/>
                <a:gd name="T40" fmla="*/ 44 w 308"/>
                <a:gd name="T41" fmla="*/ 112 h 182"/>
                <a:gd name="T42" fmla="*/ 56 w 308"/>
                <a:gd name="T43" fmla="*/ 114 h 182"/>
                <a:gd name="T44" fmla="*/ 60 w 308"/>
                <a:gd name="T45" fmla="*/ 132 h 182"/>
                <a:gd name="T46" fmla="*/ 58 w 308"/>
                <a:gd name="T47" fmla="*/ 144 h 182"/>
                <a:gd name="T48" fmla="*/ 65 w 308"/>
                <a:gd name="T49" fmla="*/ 153 h 182"/>
                <a:gd name="T50" fmla="*/ 74 w 308"/>
                <a:gd name="T51" fmla="*/ 159 h 182"/>
                <a:gd name="T52" fmla="*/ 94 w 308"/>
                <a:gd name="T53" fmla="*/ 160 h 182"/>
                <a:gd name="T54" fmla="*/ 136 w 308"/>
                <a:gd name="T55" fmla="*/ 165 h 182"/>
                <a:gd name="T56" fmla="*/ 146 w 308"/>
                <a:gd name="T57" fmla="*/ 160 h 182"/>
                <a:gd name="T58" fmla="*/ 152 w 308"/>
                <a:gd name="T59" fmla="*/ 153 h 182"/>
                <a:gd name="T60" fmla="*/ 156 w 308"/>
                <a:gd name="T61" fmla="*/ 137 h 182"/>
                <a:gd name="T62" fmla="*/ 172 w 308"/>
                <a:gd name="T63" fmla="*/ 136 h 182"/>
                <a:gd name="T64" fmla="*/ 177 w 308"/>
                <a:gd name="T65" fmla="*/ 146 h 182"/>
                <a:gd name="T66" fmla="*/ 177 w 308"/>
                <a:gd name="T67" fmla="*/ 170 h 182"/>
                <a:gd name="T68" fmla="*/ 196 w 308"/>
                <a:gd name="T69" fmla="*/ 182 h 182"/>
                <a:gd name="T70" fmla="*/ 211 w 308"/>
                <a:gd name="T71" fmla="*/ 161 h 182"/>
                <a:gd name="T72" fmla="*/ 226 w 308"/>
                <a:gd name="T73" fmla="*/ 155 h 182"/>
                <a:gd name="T74" fmla="*/ 244 w 308"/>
                <a:gd name="T75" fmla="*/ 157 h 182"/>
                <a:gd name="T76" fmla="*/ 257 w 308"/>
                <a:gd name="T77" fmla="*/ 163 h 182"/>
                <a:gd name="T78" fmla="*/ 263 w 308"/>
                <a:gd name="T79" fmla="*/ 169 h 182"/>
                <a:gd name="T80" fmla="*/ 267 w 308"/>
                <a:gd name="T81" fmla="*/ 151 h 182"/>
                <a:gd name="T82" fmla="*/ 277 w 308"/>
                <a:gd name="T83" fmla="*/ 130 h 182"/>
                <a:gd name="T84" fmla="*/ 301 w 308"/>
                <a:gd name="T85" fmla="*/ 127 h 182"/>
                <a:gd name="T86" fmla="*/ 308 w 308"/>
                <a:gd name="T87" fmla="*/ 114 h 182"/>
                <a:gd name="T88" fmla="*/ 301 w 308"/>
                <a:gd name="T89" fmla="*/ 102 h 182"/>
                <a:gd name="T90" fmla="*/ 283 w 308"/>
                <a:gd name="T91" fmla="*/ 96 h 182"/>
                <a:gd name="T92" fmla="*/ 265 w 308"/>
                <a:gd name="T93" fmla="*/ 94 h 182"/>
                <a:gd name="T94" fmla="*/ 260 w 308"/>
                <a:gd name="T95" fmla="*/ 81 h 182"/>
                <a:gd name="T96" fmla="*/ 264 w 308"/>
                <a:gd name="T97" fmla="*/ 71 h 182"/>
                <a:gd name="T98" fmla="*/ 259 w 308"/>
                <a:gd name="T99" fmla="*/ 55 h 182"/>
                <a:gd name="T100" fmla="*/ 242 w 308"/>
                <a:gd name="T101" fmla="*/ 47 h 182"/>
                <a:gd name="T102" fmla="*/ 233 w 308"/>
                <a:gd name="T103" fmla="*/ 51 h 182"/>
                <a:gd name="T104" fmla="*/ 217 w 308"/>
                <a:gd name="T105" fmla="*/ 40 h 182"/>
                <a:gd name="T106" fmla="*/ 215 w 308"/>
                <a:gd name="T107" fmla="*/ 33 h 182"/>
                <a:gd name="T108" fmla="*/ 209 w 308"/>
                <a:gd name="T109" fmla="*/ 24 h 182"/>
                <a:gd name="T110" fmla="*/ 209 w 308"/>
                <a:gd name="T111" fmla="*/ 21 h 182"/>
                <a:gd name="T112" fmla="*/ 192 w 308"/>
                <a:gd name="T113" fmla="*/ 16 h 182"/>
                <a:gd name="T114" fmla="*/ 186 w 308"/>
                <a:gd name="T115" fmla="*/ 23 h 182"/>
                <a:gd name="T116" fmla="*/ 175 w 308"/>
                <a:gd name="T117" fmla="*/ 30 h 182"/>
                <a:gd name="T118" fmla="*/ 161 w 308"/>
                <a:gd name="T119" fmla="*/ 35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8" h="182">
                  <a:moveTo>
                    <a:pt x="161" y="35"/>
                  </a:moveTo>
                  <a:lnTo>
                    <a:pt x="146" y="23"/>
                  </a:lnTo>
                  <a:lnTo>
                    <a:pt x="148" y="18"/>
                  </a:lnTo>
                  <a:lnTo>
                    <a:pt x="138" y="10"/>
                  </a:lnTo>
                  <a:lnTo>
                    <a:pt x="130" y="0"/>
                  </a:lnTo>
                  <a:lnTo>
                    <a:pt x="121" y="10"/>
                  </a:lnTo>
                  <a:lnTo>
                    <a:pt x="115" y="7"/>
                  </a:lnTo>
                  <a:lnTo>
                    <a:pt x="103" y="16"/>
                  </a:lnTo>
                  <a:lnTo>
                    <a:pt x="103" y="21"/>
                  </a:lnTo>
                  <a:lnTo>
                    <a:pt x="90" y="26"/>
                  </a:lnTo>
                  <a:lnTo>
                    <a:pt x="56" y="51"/>
                  </a:lnTo>
                  <a:lnTo>
                    <a:pt x="47" y="61"/>
                  </a:lnTo>
                  <a:lnTo>
                    <a:pt x="47" y="73"/>
                  </a:lnTo>
                  <a:lnTo>
                    <a:pt x="34" y="77"/>
                  </a:lnTo>
                  <a:lnTo>
                    <a:pt x="9" y="101"/>
                  </a:lnTo>
                  <a:lnTo>
                    <a:pt x="9" y="110"/>
                  </a:lnTo>
                  <a:lnTo>
                    <a:pt x="0" y="120"/>
                  </a:lnTo>
                  <a:lnTo>
                    <a:pt x="4" y="132"/>
                  </a:lnTo>
                  <a:lnTo>
                    <a:pt x="16" y="126"/>
                  </a:lnTo>
                  <a:lnTo>
                    <a:pt x="27" y="114"/>
                  </a:lnTo>
                  <a:lnTo>
                    <a:pt x="44" y="112"/>
                  </a:lnTo>
                  <a:lnTo>
                    <a:pt x="56" y="114"/>
                  </a:lnTo>
                  <a:lnTo>
                    <a:pt x="60" y="132"/>
                  </a:lnTo>
                  <a:lnTo>
                    <a:pt x="58" y="144"/>
                  </a:lnTo>
                  <a:lnTo>
                    <a:pt x="65" y="153"/>
                  </a:lnTo>
                  <a:lnTo>
                    <a:pt x="74" y="159"/>
                  </a:lnTo>
                  <a:lnTo>
                    <a:pt x="94" y="160"/>
                  </a:lnTo>
                  <a:lnTo>
                    <a:pt x="136" y="165"/>
                  </a:lnTo>
                  <a:lnTo>
                    <a:pt x="146" y="160"/>
                  </a:lnTo>
                  <a:lnTo>
                    <a:pt x="152" y="153"/>
                  </a:lnTo>
                  <a:lnTo>
                    <a:pt x="156" y="137"/>
                  </a:lnTo>
                  <a:lnTo>
                    <a:pt x="172" y="136"/>
                  </a:lnTo>
                  <a:lnTo>
                    <a:pt x="177" y="146"/>
                  </a:lnTo>
                  <a:lnTo>
                    <a:pt x="177" y="170"/>
                  </a:lnTo>
                  <a:lnTo>
                    <a:pt x="196" y="182"/>
                  </a:lnTo>
                  <a:lnTo>
                    <a:pt x="211" y="161"/>
                  </a:lnTo>
                  <a:lnTo>
                    <a:pt x="226" y="155"/>
                  </a:lnTo>
                  <a:lnTo>
                    <a:pt x="244" y="157"/>
                  </a:lnTo>
                  <a:lnTo>
                    <a:pt x="257" y="163"/>
                  </a:lnTo>
                  <a:lnTo>
                    <a:pt x="263" y="169"/>
                  </a:lnTo>
                  <a:lnTo>
                    <a:pt x="267" y="151"/>
                  </a:lnTo>
                  <a:lnTo>
                    <a:pt x="277" y="130"/>
                  </a:lnTo>
                  <a:lnTo>
                    <a:pt x="301" y="127"/>
                  </a:lnTo>
                  <a:lnTo>
                    <a:pt x="308" y="114"/>
                  </a:lnTo>
                  <a:lnTo>
                    <a:pt x="301" y="102"/>
                  </a:lnTo>
                  <a:lnTo>
                    <a:pt x="283" y="96"/>
                  </a:lnTo>
                  <a:lnTo>
                    <a:pt x="265" y="94"/>
                  </a:lnTo>
                  <a:lnTo>
                    <a:pt x="260" y="81"/>
                  </a:lnTo>
                  <a:lnTo>
                    <a:pt x="264" y="71"/>
                  </a:lnTo>
                  <a:lnTo>
                    <a:pt x="259" y="55"/>
                  </a:lnTo>
                  <a:lnTo>
                    <a:pt x="242" y="47"/>
                  </a:lnTo>
                  <a:lnTo>
                    <a:pt x="233" y="51"/>
                  </a:lnTo>
                  <a:lnTo>
                    <a:pt x="217" y="40"/>
                  </a:lnTo>
                  <a:lnTo>
                    <a:pt x="215" y="33"/>
                  </a:lnTo>
                  <a:lnTo>
                    <a:pt x="209" y="24"/>
                  </a:lnTo>
                  <a:lnTo>
                    <a:pt x="209" y="21"/>
                  </a:lnTo>
                  <a:lnTo>
                    <a:pt x="192" y="16"/>
                  </a:lnTo>
                  <a:lnTo>
                    <a:pt x="186" y="23"/>
                  </a:lnTo>
                  <a:lnTo>
                    <a:pt x="175" y="30"/>
                  </a:lnTo>
                  <a:lnTo>
                    <a:pt x="161" y="35"/>
                  </a:lnTo>
                  <a:close/>
                </a:path>
              </a:pathLst>
            </a:custGeom>
            <a:solidFill>
              <a:schemeClr val="tx2">
                <a:lumMod val="9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07" name="Freeform 414"/>
            <p:cNvSpPr>
              <a:spLocks/>
            </p:cNvSpPr>
            <p:nvPr/>
          </p:nvSpPr>
          <p:spPr bwMode="auto">
            <a:xfrm>
              <a:off x="3615" y="1527"/>
              <a:ext cx="30" cy="24"/>
            </a:xfrm>
            <a:custGeom>
              <a:avLst/>
              <a:gdLst>
                <a:gd name="T0" fmla="*/ 25 w 29"/>
                <a:gd name="T1" fmla="*/ 0 h 26"/>
                <a:gd name="T2" fmla="*/ 14 w 29"/>
                <a:gd name="T3" fmla="*/ 6 h 26"/>
                <a:gd name="T4" fmla="*/ 0 w 29"/>
                <a:gd name="T5" fmla="*/ 17 h 26"/>
                <a:gd name="T6" fmla="*/ 2 w 29"/>
                <a:gd name="T7" fmla="*/ 26 h 26"/>
                <a:gd name="T8" fmla="*/ 10 w 29"/>
                <a:gd name="T9" fmla="*/ 26 h 26"/>
                <a:gd name="T10" fmla="*/ 29 w 29"/>
                <a:gd name="T11" fmla="*/ 13 h 26"/>
                <a:gd name="T12" fmla="*/ 25 w 29"/>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9" h="26">
                  <a:moveTo>
                    <a:pt x="25" y="0"/>
                  </a:moveTo>
                  <a:lnTo>
                    <a:pt x="14" y="6"/>
                  </a:lnTo>
                  <a:lnTo>
                    <a:pt x="0" y="17"/>
                  </a:lnTo>
                  <a:lnTo>
                    <a:pt x="2" y="26"/>
                  </a:lnTo>
                  <a:lnTo>
                    <a:pt x="10" y="26"/>
                  </a:lnTo>
                  <a:lnTo>
                    <a:pt x="29" y="13"/>
                  </a:lnTo>
                  <a:lnTo>
                    <a:pt x="2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08" name="Freeform 415"/>
            <p:cNvSpPr>
              <a:spLocks/>
            </p:cNvSpPr>
            <p:nvPr/>
          </p:nvSpPr>
          <p:spPr bwMode="auto">
            <a:xfrm>
              <a:off x="3333" y="1641"/>
              <a:ext cx="63" cy="92"/>
            </a:xfrm>
            <a:custGeom>
              <a:avLst/>
              <a:gdLst>
                <a:gd name="T0" fmla="*/ 53 w 60"/>
                <a:gd name="T1" fmla="*/ 0 h 97"/>
                <a:gd name="T2" fmla="*/ 53 w 60"/>
                <a:gd name="T3" fmla="*/ 17 h 97"/>
                <a:gd name="T4" fmla="*/ 60 w 60"/>
                <a:gd name="T5" fmla="*/ 32 h 97"/>
                <a:gd name="T6" fmla="*/ 53 w 60"/>
                <a:gd name="T7" fmla="*/ 49 h 97"/>
                <a:gd name="T8" fmla="*/ 43 w 60"/>
                <a:gd name="T9" fmla="*/ 63 h 97"/>
                <a:gd name="T10" fmla="*/ 24 w 60"/>
                <a:gd name="T11" fmla="*/ 80 h 97"/>
                <a:gd name="T12" fmla="*/ 9 w 60"/>
                <a:gd name="T13" fmla="*/ 97 h 97"/>
                <a:gd name="T14" fmla="*/ 0 w 60"/>
                <a:gd name="T15" fmla="*/ 80 h 97"/>
                <a:gd name="T16" fmla="*/ 6 w 60"/>
                <a:gd name="T17" fmla="*/ 73 h 97"/>
                <a:gd name="T18" fmla="*/ 24 w 60"/>
                <a:gd name="T19" fmla="*/ 54 h 97"/>
                <a:gd name="T20" fmla="*/ 23 w 60"/>
                <a:gd name="T21" fmla="*/ 43 h 97"/>
                <a:gd name="T22" fmla="*/ 32 w 60"/>
                <a:gd name="T23" fmla="*/ 28 h 97"/>
                <a:gd name="T24" fmla="*/ 54 w 60"/>
                <a:gd name="T25" fmla="*/ 9 h 97"/>
                <a:gd name="T26" fmla="*/ 54 w 60"/>
                <a:gd name="T27" fmla="*/ 15 h 97"/>
                <a:gd name="T28" fmla="*/ 58 w 60"/>
                <a:gd name="T29" fmla="*/ 24 h 97"/>
                <a:gd name="T30" fmla="*/ 53 w 60"/>
                <a:gd name="T3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97">
                  <a:moveTo>
                    <a:pt x="53" y="0"/>
                  </a:moveTo>
                  <a:lnTo>
                    <a:pt x="53" y="17"/>
                  </a:lnTo>
                  <a:lnTo>
                    <a:pt x="60" y="32"/>
                  </a:lnTo>
                  <a:lnTo>
                    <a:pt x="53" y="49"/>
                  </a:lnTo>
                  <a:lnTo>
                    <a:pt x="43" y="63"/>
                  </a:lnTo>
                  <a:lnTo>
                    <a:pt x="24" y="80"/>
                  </a:lnTo>
                  <a:lnTo>
                    <a:pt x="9" y="97"/>
                  </a:lnTo>
                  <a:lnTo>
                    <a:pt x="0" y="80"/>
                  </a:lnTo>
                  <a:lnTo>
                    <a:pt x="6" y="73"/>
                  </a:lnTo>
                  <a:lnTo>
                    <a:pt x="24" y="54"/>
                  </a:lnTo>
                  <a:lnTo>
                    <a:pt x="23" y="43"/>
                  </a:lnTo>
                  <a:lnTo>
                    <a:pt x="32" y="28"/>
                  </a:lnTo>
                  <a:lnTo>
                    <a:pt x="54" y="9"/>
                  </a:lnTo>
                  <a:lnTo>
                    <a:pt x="54" y="15"/>
                  </a:lnTo>
                  <a:lnTo>
                    <a:pt x="58" y="24"/>
                  </a:lnTo>
                  <a:lnTo>
                    <a:pt x="53"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09" name="Freeform 416"/>
            <p:cNvSpPr>
              <a:spLocks/>
            </p:cNvSpPr>
            <p:nvPr/>
          </p:nvSpPr>
          <p:spPr bwMode="auto">
            <a:xfrm>
              <a:off x="3333" y="1641"/>
              <a:ext cx="63" cy="92"/>
            </a:xfrm>
            <a:custGeom>
              <a:avLst/>
              <a:gdLst>
                <a:gd name="T0" fmla="*/ 53 w 60"/>
                <a:gd name="T1" fmla="*/ 0 h 97"/>
                <a:gd name="T2" fmla="*/ 53 w 60"/>
                <a:gd name="T3" fmla="*/ 17 h 97"/>
                <a:gd name="T4" fmla="*/ 60 w 60"/>
                <a:gd name="T5" fmla="*/ 32 h 97"/>
                <a:gd name="T6" fmla="*/ 53 w 60"/>
                <a:gd name="T7" fmla="*/ 49 h 97"/>
                <a:gd name="T8" fmla="*/ 43 w 60"/>
                <a:gd name="T9" fmla="*/ 63 h 97"/>
                <a:gd name="T10" fmla="*/ 24 w 60"/>
                <a:gd name="T11" fmla="*/ 80 h 97"/>
                <a:gd name="T12" fmla="*/ 9 w 60"/>
                <a:gd name="T13" fmla="*/ 97 h 97"/>
                <a:gd name="T14" fmla="*/ 0 w 60"/>
                <a:gd name="T15" fmla="*/ 80 h 97"/>
                <a:gd name="T16" fmla="*/ 6 w 60"/>
                <a:gd name="T17" fmla="*/ 73 h 97"/>
                <a:gd name="T18" fmla="*/ 24 w 60"/>
                <a:gd name="T19" fmla="*/ 54 h 97"/>
                <a:gd name="T20" fmla="*/ 23 w 60"/>
                <a:gd name="T21" fmla="*/ 43 h 97"/>
                <a:gd name="T22" fmla="*/ 32 w 60"/>
                <a:gd name="T23" fmla="*/ 28 h 97"/>
                <a:gd name="T24" fmla="*/ 54 w 60"/>
                <a:gd name="T25" fmla="*/ 9 h 97"/>
                <a:gd name="T26" fmla="*/ 54 w 60"/>
                <a:gd name="T27" fmla="*/ 15 h 97"/>
                <a:gd name="T28" fmla="*/ 58 w 60"/>
                <a:gd name="T29" fmla="*/ 2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97">
                  <a:moveTo>
                    <a:pt x="53" y="0"/>
                  </a:moveTo>
                  <a:lnTo>
                    <a:pt x="53" y="17"/>
                  </a:lnTo>
                  <a:lnTo>
                    <a:pt x="60" y="32"/>
                  </a:lnTo>
                  <a:lnTo>
                    <a:pt x="53" y="49"/>
                  </a:lnTo>
                  <a:lnTo>
                    <a:pt x="43" y="63"/>
                  </a:lnTo>
                  <a:lnTo>
                    <a:pt x="24" y="80"/>
                  </a:lnTo>
                  <a:lnTo>
                    <a:pt x="9" y="97"/>
                  </a:lnTo>
                  <a:lnTo>
                    <a:pt x="0" y="80"/>
                  </a:lnTo>
                  <a:lnTo>
                    <a:pt x="6" y="73"/>
                  </a:lnTo>
                  <a:lnTo>
                    <a:pt x="24" y="54"/>
                  </a:lnTo>
                  <a:lnTo>
                    <a:pt x="23" y="43"/>
                  </a:lnTo>
                  <a:lnTo>
                    <a:pt x="32" y="28"/>
                  </a:lnTo>
                  <a:lnTo>
                    <a:pt x="54" y="9"/>
                  </a:lnTo>
                  <a:lnTo>
                    <a:pt x="54" y="15"/>
                  </a:lnTo>
                  <a:lnTo>
                    <a:pt x="58" y="24"/>
                  </a:lnTo>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0" name="Freeform 417"/>
            <p:cNvSpPr>
              <a:spLocks/>
            </p:cNvSpPr>
            <p:nvPr/>
          </p:nvSpPr>
          <p:spPr bwMode="auto">
            <a:xfrm>
              <a:off x="3263" y="1602"/>
              <a:ext cx="80" cy="72"/>
            </a:xfrm>
            <a:custGeom>
              <a:avLst/>
              <a:gdLst>
                <a:gd name="T0" fmla="*/ 59 w 76"/>
                <a:gd name="T1" fmla="*/ 0 h 78"/>
                <a:gd name="T2" fmla="*/ 50 w 76"/>
                <a:gd name="T3" fmla="*/ 11 h 78"/>
                <a:gd name="T4" fmla="*/ 35 w 76"/>
                <a:gd name="T5" fmla="*/ 9 h 78"/>
                <a:gd name="T6" fmla="*/ 26 w 76"/>
                <a:gd name="T7" fmla="*/ 7 h 78"/>
                <a:gd name="T8" fmla="*/ 30 w 76"/>
                <a:gd name="T9" fmla="*/ 20 h 78"/>
                <a:gd name="T10" fmla="*/ 32 w 76"/>
                <a:gd name="T11" fmla="*/ 30 h 78"/>
                <a:gd name="T12" fmla="*/ 33 w 76"/>
                <a:gd name="T13" fmla="*/ 37 h 78"/>
                <a:gd name="T14" fmla="*/ 28 w 76"/>
                <a:gd name="T15" fmla="*/ 39 h 78"/>
                <a:gd name="T16" fmla="*/ 19 w 76"/>
                <a:gd name="T17" fmla="*/ 35 h 78"/>
                <a:gd name="T18" fmla="*/ 19 w 76"/>
                <a:gd name="T19" fmla="*/ 30 h 78"/>
                <a:gd name="T20" fmla="*/ 11 w 76"/>
                <a:gd name="T21" fmla="*/ 30 h 78"/>
                <a:gd name="T22" fmla="*/ 13 w 76"/>
                <a:gd name="T23" fmla="*/ 39 h 78"/>
                <a:gd name="T24" fmla="*/ 9 w 76"/>
                <a:gd name="T25" fmla="*/ 48 h 78"/>
                <a:gd name="T26" fmla="*/ 0 w 76"/>
                <a:gd name="T27" fmla="*/ 61 h 78"/>
                <a:gd name="T28" fmla="*/ 4 w 76"/>
                <a:gd name="T29" fmla="*/ 72 h 78"/>
                <a:gd name="T30" fmla="*/ 13 w 76"/>
                <a:gd name="T31" fmla="*/ 78 h 78"/>
                <a:gd name="T32" fmla="*/ 22 w 76"/>
                <a:gd name="T33" fmla="*/ 72 h 78"/>
                <a:gd name="T34" fmla="*/ 33 w 76"/>
                <a:gd name="T35" fmla="*/ 65 h 78"/>
                <a:gd name="T36" fmla="*/ 54 w 76"/>
                <a:gd name="T37" fmla="*/ 59 h 78"/>
                <a:gd name="T38" fmla="*/ 63 w 76"/>
                <a:gd name="T39" fmla="*/ 61 h 78"/>
                <a:gd name="T40" fmla="*/ 59 w 76"/>
                <a:gd name="T41" fmla="*/ 48 h 78"/>
                <a:gd name="T42" fmla="*/ 67 w 76"/>
                <a:gd name="T43" fmla="*/ 41 h 78"/>
                <a:gd name="T44" fmla="*/ 76 w 76"/>
                <a:gd name="T45" fmla="*/ 28 h 78"/>
                <a:gd name="T46" fmla="*/ 72 w 76"/>
                <a:gd name="T47" fmla="*/ 20 h 78"/>
                <a:gd name="T48" fmla="*/ 65 w 76"/>
                <a:gd name="T49" fmla="*/ 11 h 78"/>
                <a:gd name="T50" fmla="*/ 59 w 76"/>
                <a:gd name="T5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8">
                  <a:moveTo>
                    <a:pt x="59" y="0"/>
                  </a:moveTo>
                  <a:lnTo>
                    <a:pt x="50" y="11"/>
                  </a:lnTo>
                  <a:lnTo>
                    <a:pt x="35" y="9"/>
                  </a:lnTo>
                  <a:lnTo>
                    <a:pt x="26" y="7"/>
                  </a:lnTo>
                  <a:lnTo>
                    <a:pt x="30" y="20"/>
                  </a:lnTo>
                  <a:lnTo>
                    <a:pt x="32" y="30"/>
                  </a:lnTo>
                  <a:lnTo>
                    <a:pt x="33" y="37"/>
                  </a:lnTo>
                  <a:lnTo>
                    <a:pt x="28" y="39"/>
                  </a:lnTo>
                  <a:lnTo>
                    <a:pt x="19" y="35"/>
                  </a:lnTo>
                  <a:lnTo>
                    <a:pt x="19" y="30"/>
                  </a:lnTo>
                  <a:lnTo>
                    <a:pt x="11" y="30"/>
                  </a:lnTo>
                  <a:lnTo>
                    <a:pt x="13" y="39"/>
                  </a:lnTo>
                  <a:lnTo>
                    <a:pt x="9" y="48"/>
                  </a:lnTo>
                  <a:lnTo>
                    <a:pt x="0" y="61"/>
                  </a:lnTo>
                  <a:lnTo>
                    <a:pt x="4" y="72"/>
                  </a:lnTo>
                  <a:lnTo>
                    <a:pt x="13" y="78"/>
                  </a:lnTo>
                  <a:lnTo>
                    <a:pt x="22" y="72"/>
                  </a:lnTo>
                  <a:lnTo>
                    <a:pt x="33" y="65"/>
                  </a:lnTo>
                  <a:lnTo>
                    <a:pt x="54" y="59"/>
                  </a:lnTo>
                  <a:lnTo>
                    <a:pt x="63" y="61"/>
                  </a:lnTo>
                  <a:lnTo>
                    <a:pt x="59" y="48"/>
                  </a:lnTo>
                  <a:lnTo>
                    <a:pt x="67" y="41"/>
                  </a:lnTo>
                  <a:lnTo>
                    <a:pt x="76" y="28"/>
                  </a:lnTo>
                  <a:lnTo>
                    <a:pt x="72" y="20"/>
                  </a:lnTo>
                  <a:lnTo>
                    <a:pt x="65" y="11"/>
                  </a:lnTo>
                  <a:lnTo>
                    <a:pt x="59"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1" name="Freeform 418"/>
            <p:cNvSpPr>
              <a:spLocks/>
            </p:cNvSpPr>
            <p:nvPr/>
          </p:nvSpPr>
          <p:spPr bwMode="auto">
            <a:xfrm>
              <a:off x="2933" y="1001"/>
              <a:ext cx="533" cy="684"/>
            </a:xfrm>
            <a:custGeom>
              <a:avLst/>
              <a:gdLst>
                <a:gd name="T0" fmla="*/ 300 w 533"/>
                <a:gd name="T1" fmla="*/ 617 h 684"/>
                <a:gd name="T2" fmla="*/ 315 w 533"/>
                <a:gd name="T3" fmla="*/ 586 h 684"/>
                <a:gd name="T4" fmla="*/ 327 w 533"/>
                <a:gd name="T5" fmla="*/ 544 h 684"/>
                <a:gd name="T6" fmla="*/ 354 w 533"/>
                <a:gd name="T7" fmla="*/ 487 h 684"/>
                <a:gd name="T8" fmla="*/ 343 w 533"/>
                <a:gd name="T9" fmla="*/ 453 h 684"/>
                <a:gd name="T10" fmla="*/ 374 w 533"/>
                <a:gd name="T11" fmla="*/ 425 h 684"/>
                <a:gd name="T12" fmla="*/ 351 w 533"/>
                <a:gd name="T13" fmla="*/ 379 h 684"/>
                <a:gd name="T14" fmla="*/ 366 w 533"/>
                <a:gd name="T15" fmla="*/ 310 h 684"/>
                <a:gd name="T16" fmla="*/ 374 w 533"/>
                <a:gd name="T17" fmla="*/ 250 h 684"/>
                <a:gd name="T18" fmla="*/ 424 w 533"/>
                <a:gd name="T19" fmla="*/ 219 h 684"/>
                <a:gd name="T20" fmla="*/ 463 w 533"/>
                <a:gd name="T21" fmla="*/ 214 h 684"/>
                <a:gd name="T22" fmla="*/ 447 w 533"/>
                <a:gd name="T23" fmla="*/ 152 h 684"/>
                <a:gd name="T24" fmla="*/ 467 w 533"/>
                <a:gd name="T25" fmla="*/ 135 h 684"/>
                <a:gd name="T26" fmla="*/ 478 w 533"/>
                <a:gd name="T27" fmla="*/ 58 h 684"/>
                <a:gd name="T28" fmla="*/ 529 w 533"/>
                <a:gd name="T29" fmla="*/ 26 h 684"/>
                <a:gd name="T30" fmla="*/ 453 w 533"/>
                <a:gd name="T31" fmla="*/ 7 h 684"/>
                <a:gd name="T32" fmla="*/ 436 w 533"/>
                <a:gd name="T33" fmla="*/ 46 h 684"/>
                <a:gd name="T34" fmla="*/ 408 w 533"/>
                <a:gd name="T35" fmla="*/ 96 h 684"/>
                <a:gd name="T36" fmla="*/ 406 w 533"/>
                <a:gd name="T37" fmla="*/ 128 h 684"/>
                <a:gd name="T38" fmla="*/ 370 w 533"/>
                <a:gd name="T39" fmla="*/ 138 h 684"/>
                <a:gd name="T40" fmla="*/ 336 w 533"/>
                <a:gd name="T41" fmla="*/ 170 h 684"/>
                <a:gd name="T42" fmla="*/ 300 w 533"/>
                <a:gd name="T43" fmla="*/ 219 h 684"/>
                <a:gd name="T44" fmla="*/ 343 w 533"/>
                <a:gd name="T45" fmla="*/ 201 h 684"/>
                <a:gd name="T46" fmla="*/ 324 w 533"/>
                <a:gd name="T47" fmla="*/ 236 h 684"/>
                <a:gd name="T48" fmla="*/ 281 w 533"/>
                <a:gd name="T49" fmla="*/ 257 h 684"/>
                <a:gd name="T50" fmla="*/ 250 w 533"/>
                <a:gd name="T51" fmla="*/ 250 h 684"/>
                <a:gd name="T52" fmla="*/ 215 w 533"/>
                <a:gd name="T53" fmla="*/ 272 h 684"/>
                <a:gd name="T54" fmla="*/ 197 w 533"/>
                <a:gd name="T55" fmla="*/ 280 h 684"/>
                <a:gd name="T56" fmla="*/ 162 w 533"/>
                <a:gd name="T57" fmla="*/ 285 h 684"/>
                <a:gd name="T58" fmla="*/ 137 w 533"/>
                <a:gd name="T59" fmla="*/ 289 h 684"/>
                <a:gd name="T60" fmla="*/ 122 w 533"/>
                <a:gd name="T61" fmla="*/ 319 h 684"/>
                <a:gd name="T62" fmla="*/ 92 w 533"/>
                <a:gd name="T63" fmla="*/ 327 h 684"/>
                <a:gd name="T64" fmla="*/ 56 w 533"/>
                <a:gd name="T65" fmla="*/ 340 h 684"/>
                <a:gd name="T66" fmla="*/ 39 w 533"/>
                <a:gd name="T67" fmla="*/ 379 h 684"/>
                <a:gd name="T68" fmla="*/ 25 w 533"/>
                <a:gd name="T69" fmla="*/ 462 h 684"/>
                <a:gd name="T70" fmla="*/ 48 w 533"/>
                <a:gd name="T71" fmla="*/ 477 h 684"/>
                <a:gd name="T72" fmla="*/ 43 w 533"/>
                <a:gd name="T73" fmla="*/ 501 h 684"/>
                <a:gd name="T74" fmla="*/ 20 w 533"/>
                <a:gd name="T75" fmla="*/ 526 h 684"/>
                <a:gd name="T76" fmla="*/ 37 w 533"/>
                <a:gd name="T77" fmla="*/ 549 h 684"/>
                <a:gd name="T78" fmla="*/ 33 w 533"/>
                <a:gd name="T79" fmla="*/ 570 h 684"/>
                <a:gd name="T80" fmla="*/ 9 w 533"/>
                <a:gd name="T81" fmla="*/ 579 h 684"/>
                <a:gd name="T82" fmla="*/ 0 w 533"/>
                <a:gd name="T83" fmla="*/ 608 h 684"/>
                <a:gd name="T84" fmla="*/ 41 w 533"/>
                <a:gd name="T85" fmla="*/ 660 h 684"/>
                <a:gd name="T86" fmla="*/ 114 w 533"/>
                <a:gd name="T87" fmla="*/ 684 h 684"/>
                <a:gd name="T88" fmla="*/ 215 w 533"/>
                <a:gd name="T89" fmla="*/ 602 h 684"/>
                <a:gd name="T90" fmla="*/ 244 w 533"/>
                <a:gd name="T91" fmla="*/ 602 h 684"/>
                <a:gd name="T92" fmla="*/ 267 w 533"/>
                <a:gd name="T93" fmla="*/ 549 h 684"/>
                <a:gd name="T94" fmla="*/ 266 w 533"/>
                <a:gd name="T95" fmla="*/ 587 h 684"/>
                <a:gd name="T96" fmla="*/ 286 w 533"/>
                <a:gd name="T97" fmla="*/ 61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3" h="684">
                  <a:moveTo>
                    <a:pt x="285" y="623"/>
                  </a:moveTo>
                  <a:lnTo>
                    <a:pt x="289" y="621"/>
                  </a:lnTo>
                  <a:lnTo>
                    <a:pt x="300" y="617"/>
                  </a:lnTo>
                  <a:lnTo>
                    <a:pt x="308" y="607"/>
                  </a:lnTo>
                  <a:lnTo>
                    <a:pt x="312" y="593"/>
                  </a:lnTo>
                  <a:lnTo>
                    <a:pt x="315" y="586"/>
                  </a:lnTo>
                  <a:lnTo>
                    <a:pt x="312" y="564"/>
                  </a:lnTo>
                  <a:lnTo>
                    <a:pt x="315" y="550"/>
                  </a:lnTo>
                  <a:lnTo>
                    <a:pt x="327" y="544"/>
                  </a:lnTo>
                  <a:lnTo>
                    <a:pt x="354" y="533"/>
                  </a:lnTo>
                  <a:lnTo>
                    <a:pt x="359" y="523"/>
                  </a:lnTo>
                  <a:lnTo>
                    <a:pt x="354" y="487"/>
                  </a:lnTo>
                  <a:lnTo>
                    <a:pt x="351" y="480"/>
                  </a:lnTo>
                  <a:lnTo>
                    <a:pt x="351" y="460"/>
                  </a:lnTo>
                  <a:lnTo>
                    <a:pt x="343" y="453"/>
                  </a:lnTo>
                  <a:lnTo>
                    <a:pt x="347" y="435"/>
                  </a:lnTo>
                  <a:lnTo>
                    <a:pt x="354" y="435"/>
                  </a:lnTo>
                  <a:lnTo>
                    <a:pt x="374" y="425"/>
                  </a:lnTo>
                  <a:lnTo>
                    <a:pt x="359" y="393"/>
                  </a:lnTo>
                  <a:lnTo>
                    <a:pt x="351" y="382"/>
                  </a:lnTo>
                  <a:lnTo>
                    <a:pt x="351" y="379"/>
                  </a:lnTo>
                  <a:lnTo>
                    <a:pt x="351" y="353"/>
                  </a:lnTo>
                  <a:lnTo>
                    <a:pt x="362" y="332"/>
                  </a:lnTo>
                  <a:lnTo>
                    <a:pt x="366" y="310"/>
                  </a:lnTo>
                  <a:lnTo>
                    <a:pt x="370" y="285"/>
                  </a:lnTo>
                  <a:lnTo>
                    <a:pt x="366" y="264"/>
                  </a:lnTo>
                  <a:lnTo>
                    <a:pt x="374" y="250"/>
                  </a:lnTo>
                  <a:lnTo>
                    <a:pt x="378" y="240"/>
                  </a:lnTo>
                  <a:lnTo>
                    <a:pt x="401" y="226"/>
                  </a:lnTo>
                  <a:lnTo>
                    <a:pt x="424" y="219"/>
                  </a:lnTo>
                  <a:lnTo>
                    <a:pt x="444" y="226"/>
                  </a:lnTo>
                  <a:lnTo>
                    <a:pt x="452" y="229"/>
                  </a:lnTo>
                  <a:lnTo>
                    <a:pt x="463" y="214"/>
                  </a:lnTo>
                  <a:lnTo>
                    <a:pt x="463" y="198"/>
                  </a:lnTo>
                  <a:lnTo>
                    <a:pt x="452" y="166"/>
                  </a:lnTo>
                  <a:lnTo>
                    <a:pt x="447" y="152"/>
                  </a:lnTo>
                  <a:lnTo>
                    <a:pt x="452" y="145"/>
                  </a:lnTo>
                  <a:lnTo>
                    <a:pt x="459" y="145"/>
                  </a:lnTo>
                  <a:lnTo>
                    <a:pt x="467" y="135"/>
                  </a:lnTo>
                  <a:lnTo>
                    <a:pt x="472" y="114"/>
                  </a:lnTo>
                  <a:lnTo>
                    <a:pt x="475" y="85"/>
                  </a:lnTo>
                  <a:lnTo>
                    <a:pt x="478" y="58"/>
                  </a:lnTo>
                  <a:lnTo>
                    <a:pt x="490" y="46"/>
                  </a:lnTo>
                  <a:lnTo>
                    <a:pt x="513" y="34"/>
                  </a:lnTo>
                  <a:lnTo>
                    <a:pt x="529" y="26"/>
                  </a:lnTo>
                  <a:lnTo>
                    <a:pt x="533" y="1"/>
                  </a:lnTo>
                  <a:lnTo>
                    <a:pt x="458" y="0"/>
                  </a:lnTo>
                  <a:lnTo>
                    <a:pt x="453" y="7"/>
                  </a:lnTo>
                  <a:lnTo>
                    <a:pt x="431" y="26"/>
                  </a:lnTo>
                  <a:lnTo>
                    <a:pt x="431" y="36"/>
                  </a:lnTo>
                  <a:lnTo>
                    <a:pt x="436" y="46"/>
                  </a:lnTo>
                  <a:lnTo>
                    <a:pt x="420" y="58"/>
                  </a:lnTo>
                  <a:lnTo>
                    <a:pt x="424" y="72"/>
                  </a:lnTo>
                  <a:lnTo>
                    <a:pt x="408" y="96"/>
                  </a:lnTo>
                  <a:lnTo>
                    <a:pt x="397" y="99"/>
                  </a:lnTo>
                  <a:lnTo>
                    <a:pt x="397" y="118"/>
                  </a:lnTo>
                  <a:lnTo>
                    <a:pt x="406" y="128"/>
                  </a:lnTo>
                  <a:lnTo>
                    <a:pt x="393" y="138"/>
                  </a:lnTo>
                  <a:lnTo>
                    <a:pt x="385" y="130"/>
                  </a:lnTo>
                  <a:lnTo>
                    <a:pt x="370" y="138"/>
                  </a:lnTo>
                  <a:lnTo>
                    <a:pt x="374" y="159"/>
                  </a:lnTo>
                  <a:lnTo>
                    <a:pt x="359" y="166"/>
                  </a:lnTo>
                  <a:lnTo>
                    <a:pt x="336" y="170"/>
                  </a:lnTo>
                  <a:lnTo>
                    <a:pt x="320" y="188"/>
                  </a:lnTo>
                  <a:lnTo>
                    <a:pt x="315" y="204"/>
                  </a:lnTo>
                  <a:lnTo>
                    <a:pt x="300" y="219"/>
                  </a:lnTo>
                  <a:lnTo>
                    <a:pt x="300" y="229"/>
                  </a:lnTo>
                  <a:lnTo>
                    <a:pt x="320" y="214"/>
                  </a:lnTo>
                  <a:lnTo>
                    <a:pt x="343" y="201"/>
                  </a:lnTo>
                  <a:lnTo>
                    <a:pt x="351" y="204"/>
                  </a:lnTo>
                  <a:lnTo>
                    <a:pt x="343" y="226"/>
                  </a:lnTo>
                  <a:lnTo>
                    <a:pt x="324" y="236"/>
                  </a:lnTo>
                  <a:lnTo>
                    <a:pt x="304" y="233"/>
                  </a:lnTo>
                  <a:lnTo>
                    <a:pt x="308" y="247"/>
                  </a:lnTo>
                  <a:lnTo>
                    <a:pt x="281" y="257"/>
                  </a:lnTo>
                  <a:lnTo>
                    <a:pt x="277" y="236"/>
                  </a:lnTo>
                  <a:lnTo>
                    <a:pt x="266" y="229"/>
                  </a:lnTo>
                  <a:lnTo>
                    <a:pt x="250" y="250"/>
                  </a:lnTo>
                  <a:lnTo>
                    <a:pt x="233" y="250"/>
                  </a:lnTo>
                  <a:lnTo>
                    <a:pt x="217" y="254"/>
                  </a:lnTo>
                  <a:lnTo>
                    <a:pt x="215" y="272"/>
                  </a:lnTo>
                  <a:lnTo>
                    <a:pt x="206" y="274"/>
                  </a:lnTo>
                  <a:lnTo>
                    <a:pt x="206" y="283"/>
                  </a:lnTo>
                  <a:lnTo>
                    <a:pt x="197" y="280"/>
                  </a:lnTo>
                  <a:lnTo>
                    <a:pt x="183" y="273"/>
                  </a:lnTo>
                  <a:lnTo>
                    <a:pt x="162" y="274"/>
                  </a:lnTo>
                  <a:lnTo>
                    <a:pt x="162" y="285"/>
                  </a:lnTo>
                  <a:lnTo>
                    <a:pt x="164" y="294"/>
                  </a:lnTo>
                  <a:lnTo>
                    <a:pt x="156" y="297"/>
                  </a:lnTo>
                  <a:lnTo>
                    <a:pt x="137" y="289"/>
                  </a:lnTo>
                  <a:lnTo>
                    <a:pt x="120" y="301"/>
                  </a:lnTo>
                  <a:lnTo>
                    <a:pt x="124" y="311"/>
                  </a:lnTo>
                  <a:lnTo>
                    <a:pt x="122" y="319"/>
                  </a:lnTo>
                  <a:lnTo>
                    <a:pt x="104" y="311"/>
                  </a:lnTo>
                  <a:lnTo>
                    <a:pt x="99" y="320"/>
                  </a:lnTo>
                  <a:lnTo>
                    <a:pt x="92" y="327"/>
                  </a:lnTo>
                  <a:lnTo>
                    <a:pt x="70" y="324"/>
                  </a:lnTo>
                  <a:lnTo>
                    <a:pt x="59" y="326"/>
                  </a:lnTo>
                  <a:lnTo>
                    <a:pt x="56" y="340"/>
                  </a:lnTo>
                  <a:lnTo>
                    <a:pt x="48" y="343"/>
                  </a:lnTo>
                  <a:lnTo>
                    <a:pt x="37" y="359"/>
                  </a:lnTo>
                  <a:lnTo>
                    <a:pt x="39" y="379"/>
                  </a:lnTo>
                  <a:lnTo>
                    <a:pt x="35" y="407"/>
                  </a:lnTo>
                  <a:lnTo>
                    <a:pt x="30" y="435"/>
                  </a:lnTo>
                  <a:lnTo>
                    <a:pt x="25" y="462"/>
                  </a:lnTo>
                  <a:lnTo>
                    <a:pt x="21" y="475"/>
                  </a:lnTo>
                  <a:lnTo>
                    <a:pt x="31" y="487"/>
                  </a:lnTo>
                  <a:lnTo>
                    <a:pt x="48" y="477"/>
                  </a:lnTo>
                  <a:lnTo>
                    <a:pt x="60" y="483"/>
                  </a:lnTo>
                  <a:lnTo>
                    <a:pt x="60" y="493"/>
                  </a:lnTo>
                  <a:lnTo>
                    <a:pt x="43" y="501"/>
                  </a:lnTo>
                  <a:lnTo>
                    <a:pt x="41" y="519"/>
                  </a:lnTo>
                  <a:lnTo>
                    <a:pt x="37" y="527"/>
                  </a:lnTo>
                  <a:lnTo>
                    <a:pt x="20" y="526"/>
                  </a:lnTo>
                  <a:lnTo>
                    <a:pt x="14" y="547"/>
                  </a:lnTo>
                  <a:lnTo>
                    <a:pt x="21" y="553"/>
                  </a:lnTo>
                  <a:lnTo>
                    <a:pt x="37" y="549"/>
                  </a:lnTo>
                  <a:lnTo>
                    <a:pt x="45" y="559"/>
                  </a:lnTo>
                  <a:lnTo>
                    <a:pt x="46" y="563"/>
                  </a:lnTo>
                  <a:lnTo>
                    <a:pt x="33" y="570"/>
                  </a:lnTo>
                  <a:lnTo>
                    <a:pt x="35" y="583"/>
                  </a:lnTo>
                  <a:lnTo>
                    <a:pt x="20" y="586"/>
                  </a:lnTo>
                  <a:lnTo>
                    <a:pt x="9" y="579"/>
                  </a:lnTo>
                  <a:lnTo>
                    <a:pt x="12" y="597"/>
                  </a:lnTo>
                  <a:lnTo>
                    <a:pt x="9" y="608"/>
                  </a:lnTo>
                  <a:lnTo>
                    <a:pt x="0" y="608"/>
                  </a:lnTo>
                  <a:lnTo>
                    <a:pt x="23" y="630"/>
                  </a:lnTo>
                  <a:lnTo>
                    <a:pt x="35" y="643"/>
                  </a:lnTo>
                  <a:lnTo>
                    <a:pt x="41" y="660"/>
                  </a:lnTo>
                  <a:lnTo>
                    <a:pt x="64" y="671"/>
                  </a:lnTo>
                  <a:lnTo>
                    <a:pt x="89" y="684"/>
                  </a:lnTo>
                  <a:lnTo>
                    <a:pt x="114" y="684"/>
                  </a:lnTo>
                  <a:lnTo>
                    <a:pt x="148" y="663"/>
                  </a:lnTo>
                  <a:lnTo>
                    <a:pt x="183" y="640"/>
                  </a:lnTo>
                  <a:lnTo>
                    <a:pt x="215" y="602"/>
                  </a:lnTo>
                  <a:lnTo>
                    <a:pt x="220" y="598"/>
                  </a:lnTo>
                  <a:lnTo>
                    <a:pt x="229" y="610"/>
                  </a:lnTo>
                  <a:lnTo>
                    <a:pt x="244" y="602"/>
                  </a:lnTo>
                  <a:lnTo>
                    <a:pt x="250" y="587"/>
                  </a:lnTo>
                  <a:lnTo>
                    <a:pt x="252" y="570"/>
                  </a:lnTo>
                  <a:lnTo>
                    <a:pt x="267" y="549"/>
                  </a:lnTo>
                  <a:lnTo>
                    <a:pt x="261" y="574"/>
                  </a:lnTo>
                  <a:lnTo>
                    <a:pt x="269" y="577"/>
                  </a:lnTo>
                  <a:lnTo>
                    <a:pt x="266" y="587"/>
                  </a:lnTo>
                  <a:lnTo>
                    <a:pt x="269" y="607"/>
                  </a:lnTo>
                  <a:lnTo>
                    <a:pt x="277" y="623"/>
                  </a:lnTo>
                  <a:lnTo>
                    <a:pt x="286" y="617"/>
                  </a:lnTo>
                  <a:lnTo>
                    <a:pt x="285" y="623"/>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2" name="Freeform 419"/>
            <p:cNvSpPr>
              <a:spLocks/>
            </p:cNvSpPr>
            <p:nvPr/>
          </p:nvSpPr>
          <p:spPr bwMode="auto">
            <a:xfrm>
              <a:off x="3141" y="1215"/>
              <a:ext cx="37" cy="19"/>
            </a:xfrm>
            <a:custGeom>
              <a:avLst/>
              <a:gdLst>
                <a:gd name="T0" fmla="*/ 36 w 36"/>
                <a:gd name="T1" fmla="*/ 12 h 21"/>
                <a:gd name="T2" fmla="*/ 9 w 36"/>
                <a:gd name="T3" fmla="*/ 0 h 21"/>
                <a:gd name="T4" fmla="*/ 0 w 36"/>
                <a:gd name="T5" fmla="*/ 9 h 21"/>
                <a:gd name="T6" fmla="*/ 3 w 36"/>
                <a:gd name="T7" fmla="*/ 21 h 21"/>
                <a:gd name="T8" fmla="*/ 36 w 36"/>
                <a:gd name="T9" fmla="*/ 12 h 21"/>
              </a:gdLst>
              <a:ahLst/>
              <a:cxnLst>
                <a:cxn ang="0">
                  <a:pos x="T0" y="T1"/>
                </a:cxn>
                <a:cxn ang="0">
                  <a:pos x="T2" y="T3"/>
                </a:cxn>
                <a:cxn ang="0">
                  <a:pos x="T4" y="T5"/>
                </a:cxn>
                <a:cxn ang="0">
                  <a:pos x="T6" y="T7"/>
                </a:cxn>
                <a:cxn ang="0">
                  <a:pos x="T8" y="T9"/>
                </a:cxn>
              </a:cxnLst>
              <a:rect l="0" t="0" r="r" b="b"/>
              <a:pathLst>
                <a:path w="36" h="21">
                  <a:moveTo>
                    <a:pt x="36" y="12"/>
                  </a:moveTo>
                  <a:lnTo>
                    <a:pt x="9" y="0"/>
                  </a:lnTo>
                  <a:lnTo>
                    <a:pt x="0" y="9"/>
                  </a:lnTo>
                  <a:lnTo>
                    <a:pt x="3" y="21"/>
                  </a:lnTo>
                  <a:lnTo>
                    <a:pt x="36" y="1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3" name="Freeform 420"/>
            <p:cNvSpPr>
              <a:spLocks/>
            </p:cNvSpPr>
            <p:nvPr/>
          </p:nvSpPr>
          <p:spPr bwMode="auto">
            <a:xfrm>
              <a:off x="2974" y="2491"/>
              <a:ext cx="473" cy="195"/>
            </a:xfrm>
            <a:custGeom>
              <a:avLst/>
              <a:gdLst>
                <a:gd name="T0" fmla="*/ 19 w 453"/>
                <a:gd name="T1" fmla="*/ 72 h 206"/>
                <a:gd name="T2" fmla="*/ 36 w 453"/>
                <a:gd name="T3" fmla="*/ 82 h 206"/>
                <a:gd name="T4" fmla="*/ 64 w 453"/>
                <a:gd name="T5" fmla="*/ 80 h 206"/>
                <a:gd name="T6" fmla="*/ 89 w 453"/>
                <a:gd name="T7" fmla="*/ 78 h 206"/>
                <a:gd name="T8" fmla="*/ 119 w 453"/>
                <a:gd name="T9" fmla="*/ 88 h 206"/>
                <a:gd name="T10" fmla="*/ 139 w 453"/>
                <a:gd name="T11" fmla="*/ 85 h 206"/>
                <a:gd name="T12" fmla="*/ 173 w 453"/>
                <a:gd name="T13" fmla="*/ 81 h 206"/>
                <a:gd name="T14" fmla="*/ 210 w 453"/>
                <a:gd name="T15" fmla="*/ 100 h 206"/>
                <a:gd name="T16" fmla="*/ 228 w 453"/>
                <a:gd name="T17" fmla="*/ 81 h 206"/>
                <a:gd name="T18" fmla="*/ 213 w 453"/>
                <a:gd name="T19" fmla="*/ 40 h 206"/>
                <a:gd name="T20" fmla="*/ 275 w 453"/>
                <a:gd name="T21" fmla="*/ 5 h 206"/>
                <a:gd name="T22" fmla="*/ 292 w 453"/>
                <a:gd name="T23" fmla="*/ 20 h 206"/>
                <a:gd name="T24" fmla="*/ 337 w 453"/>
                <a:gd name="T25" fmla="*/ 2 h 206"/>
                <a:gd name="T26" fmla="*/ 386 w 453"/>
                <a:gd name="T27" fmla="*/ 17 h 206"/>
                <a:gd name="T28" fmla="*/ 417 w 453"/>
                <a:gd name="T29" fmla="*/ 8 h 206"/>
                <a:gd name="T30" fmla="*/ 442 w 453"/>
                <a:gd name="T31" fmla="*/ 52 h 206"/>
                <a:gd name="T32" fmla="*/ 450 w 453"/>
                <a:gd name="T33" fmla="*/ 82 h 206"/>
                <a:gd name="T34" fmla="*/ 429 w 453"/>
                <a:gd name="T35" fmla="*/ 100 h 206"/>
                <a:gd name="T36" fmla="*/ 432 w 453"/>
                <a:gd name="T37" fmla="*/ 120 h 206"/>
                <a:gd name="T38" fmla="*/ 424 w 453"/>
                <a:gd name="T39" fmla="*/ 148 h 206"/>
                <a:gd name="T40" fmla="*/ 401 w 453"/>
                <a:gd name="T41" fmla="*/ 172 h 206"/>
                <a:gd name="T42" fmla="*/ 381 w 453"/>
                <a:gd name="T43" fmla="*/ 189 h 206"/>
                <a:gd name="T44" fmla="*/ 331 w 453"/>
                <a:gd name="T45" fmla="*/ 192 h 206"/>
                <a:gd name="T46" fmla="*/ 290 w 453"/>
                <a:gd name="T47" fmla="*/ 206 h 206"/>
                <a:gd name="T48" fmla="*/ 221 w 453"/>
                <a:gd name="T49" fmla="*/ 192 h 206"/>
                <a:gd name="T50" fmla="*/ 155 w 453"/>
                <a:gd name="T51" fmla="*/ 165 h 206"/>
                <a:gd name="T52" fmla="*/ 151 w 453"/>
                <a:gd name="T53" fmla="*/ 141 h 206"/>
                <a:gd name="T54" fmla="*/ 108 w 453"/>
                <a:gd name="T55" fmla="*/ 139 h 206"/>
                <a:gd name="T56" fmla="*/ 53 w 453"/>
                <a:gd name="T57" fmla="*/ 132 h 206"/>
                <a:gd name="T58" fmla="*/ 28 w 453"/>
                <a:gd name="T59" fmla="*/ 123 h 206"/>
                <a:gd name="T60" fmla="*/ 13 w 453"/>
                <a:gd name="T61" fmla="*/ 105 h 206"/>
                <a:gd name="T62" fmla="*/ 0 w 453"/>
                <a:gd name="T63" fmla="*/ 7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3" h="206">
                  <a:moveTo>
                    <a:pt x="0" y="74"/>
                  </a:moveTo>
                  <a:lnTo>
                    <a:pt x="19" y="72"/>
                  </a:lnTo>
                  <a:lnTo>
                    <a:pt x="26" y="70"/>
                  </a:lnTo>
                  <a:lnTo>
                    <a:pt x="36" y="82"/>
                  </a:lnTo>
                  <a:lnTo>
                    <a:pt x="49" y="78"/>
                  </a:lnTo>
                  <a:lnTo>
                    <a:pt x="64" y="80"/>
                  </a:lnTo>
                  <a:lnTo>
                    <a:pt x="73" y="87"/>
                  </a:lnTo>
                  <a:lnTo>
                    <a:pt x="89" y="78"/>
                  </a:lnTo>
                  <a:lnTo>
                    <a:pt x="110" y="79"/>
                  </a:lnTo>
                  <a:lnTo>
                    <a:pt x="119" y="88"/>
                  </a:lnTo>
                  <a:lnTo>
                    <a:pt x="132" y="91"/>
                  </a:lnTo>
                  <a:lnTo>
                    <a:pt x="139" y="85"/>
                  </a:lnTo>
                  <a:lnTo>
                    <a:pt x="162" y="81"/>
                  </a:lnTo>
                  <a:lnTo>
                    <a:pt x="173" y="81"/>
                  </a:lnTo>
                  <a:lnTo>
                    <a:pt x="190" y="87"/>
                  </a:lnTo>
                  <a:lnTo>
                    <a:pt x="210" y="100"/>
                  </a:lnTo>
                  <a:lnTo>
                    <a:pt x="225" y="94"/>
                  </a:lnTo>
                  <a:lnTo>
                    <a:pt x="228" y="81"/>
                  </a:lnTo>
                  <a:lnTo>
                    <a:pt x="218" y="64"/>
                  </a:lnTo>
                  <a:lnTo>
                    <a:pt x="213" y="40"/>
                  </a:lnTo>
                  <a:lnTo>
                    <a:pt x="264" y="5"/>
                  </a:lnTo>
                  <a:lnTo>
                    <a:pt x="275" y="5"/>
                  </a:lnTo>
                  <a:lnTo>
                    <a:pt x="277" y="17"/>
                  </a:lnTo>
                  <a:lnTo>
                    <a:pt x="292" y="20"/>
                  </a:lnTo>
                  <a:lnTo>
                    <a:pt x="324" y="16"/>
                  </a:lnTo>
                  <a:lnTo>
                    <a:pt x="337" y="2"/>
                  </a:lnTo>
                  <a:lnTo>
                    <a:pt x="377" y="0"/>
                  </a:lnTo>
                  <a:lnTo>
                    <a:pt x="386" y="17"/>
                  </a:lnTo>
                  <a:lnTo>
                    <a:pt x="402" y="17"/>
                  </a:lnTo>
                  <a:lnTo>
                    <a:pt x="417" y="8"/>
                  </a:lnTo>
                  <a:lnTo>
                    <a:pt x="442" y="24"/>
                  </a:lnTo>
                  <a:lnTo>
                    <a:pt x="442" y="52"/>
                  </a:lnTo>
                  <a:lnTo>
                    <a:pt x="453" y="64"/>
                  </a:lnTo>
                  <a:lnTo>
                    <a:pt x="450" y="82"/>
                  </a:lnTo>
                  <a:lnTo>
                    <a:pt x="442" y="100"/>
                  </a:lnTo>
                  <a:lnTo>
                    <a:pt x="429" y="100"/>
                  </a:lnTo>
                  <a:lnTo>
                    <a:pt x="424" y="105"/>
                  </a:lnTo>
                  <a:lnTo>
                    <a:pt x="432" y="120"/>
                  </a:lnTo>
                  <a:lnTo>
                    <a:pt x="432" y="135"/>
                  </a:lnTo>
                  <a:lnTo>
                    <a:pt x="424" y="148"/>
                  </a:lnTo>
                  <a:lnTo>
                    <a:pt x="402" y="159"/>
                  </a:lnTo>
                  <a:lnTo>
                    <a:pt x="401" y="172"/>
                  </a:lnTo>
                  <a:lnTo>
                    <a:pt x="401" y="185"/>
                  </a:lnTo>
                  <a:lnTo>
                    <a:pt x="381" y="189"/>
                  </a:lnTo>
                  <a:lnTo>
                    <a:pt x="347" y="187"/>
                  </a:lnTo>
                  <a:lnTo>
                    <a:pt x="331" y="192"/>
                  </a:lnTo>
                  <a:lnTo>
                    <a:pt x="302" y="192"/>
                  </a:lnTo>
                  <a:lnTo>
                    <a:pt x="290" y="206"/>
                  </a:lnTo>
                  <a:lnTo>
                    <a:pt x="244" y="191"/>
                  </a:lnTo>
                  <a:lnTo>
                    <a:pt x="221" y="192"/>
                  </a:lnTo>
                  <a:lnTo>
                    <a:pt x="163" y="179"/>
                  </a:lnTo>
                  <a:lnTo>
                    <a:pt x="155" y="165"/>
                  </a:lnTo>
                  <a:lnTo>
                    <a:pt x="155" y="150"/>
                  </a:lnTo>
                  <a:lnTo>
                    <a:pt x="151" y="141"/>
                  </a:lnTo>
                  <a:lnTo>
                    <a:pt x="144" y="137"/>
                  </a:lnTo>
                  <a:lnTo>
                    <a:pt x="108" y="139"/>
                  </a:lnTo>
                  <a:lnTo>
                    <a:pt x="58" y="144"/>
                  </a:lnTo>
                  <a:lnTo>
                    <a:pt x="53" y="132"/>
                  </a:lnTo>
                  <a:lnTo>
                    <a:pt x="43" y="128"/>
                  </a:lnTo>
                  <a:lnTo>
                    <a:pt x="28" y="123"/>
                  </a:lnTo>
                  <a:lnTo>
                    <a:pt x="13" y="119"/>
                  </a:lnTo>
                  <a:lnTo>
                    <a:pt x="13" y="105"/>
                  </a:lnTo>
                  <a:lnTo>
                    <a:pt x="13" y="85"/>
                  </a:lnTo>
                  <a:lnTo>
                    <a:pt x="0" y="74"/>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4" name="Freeform 421"/>
            <p:cNvSpPr>
              <a:spLocks/>
            </p:cNvSpPr>
            <p:nvPr/>
          </p:nvSpPr>
          <p:spPr bwMode="auto">
            <a:xfrm>
              <a:off x="3661" y="3372"/>
              <a:ext cx="27" cy="26"/>
            </a:xfrm>
            <a:custGeom>
              <a:avLst/>
              <a:gdLst>
                <a:gd name="T0" fmla="*/ 18 w 24"/>
                <a:gd name="T1" fmla="*/ 0 h 25"/>
                <a:gd name="T2" fmla="*/ 24 w 24"/>
                <a:gd name="T3" fmla="*/ 7 h 25"/>
                <a:gd name="T4" fmla="*/ 22 w 24"/>
                <a:gd name="T5" fmla="*/ 16 h 25"/>
                <a:gd name="T6" fmla="*/ 24 w 24"/>
                <a:gd name="T7" fmla="*/ 23 h 25"/>
                <a:gd name="T8" fmla="*/ 18 w 24"/>
                <a:gd name="T9" fmla="*/ 25 h 25"/>
                <a:gd name="T10" fmla="*/ 7 w 24"/>
                <a:gd name="T11" fmla="*/ 23 h 25"/>
                <a:gd name="T12" fmla="*/ 0 w 24"/>
                <a:gd name="T13" fmla="*/ 14 h 25"/>
                <a:gd name="T14" fmla="*/ 18 w 2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5">
                  <a:moveTo>
                    <a:pt x="18" y="0"/>
                  </a:moveTo>
                  <a:lnTo>
                    <a:pt x="24" y="7"/>
                  </a:lnTo>
                  <a:lnTo>
                    <a:pt x="22" y="16"/>
                  </a:lnTo>
                  <a:lnTo>
                    <a:pt x="24" y="23"/>
                  </a:lnTo>
                  <a:lnTo>
                    <a:pt x="18" y="25"/>
                  </a:lnTo>
                  <a:lnTo>
                    <a:pt x="7" y="23"/>
                  </a:lnTo>
                  <a:lnTo>
                    <a:pt x="0" y="14"/>
                  </a:lnTo>
                  <a:lnTo>
                    <a:pt x="18"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5" name="Freeform 422"/>
            <p:cNvSpPr>
              <a:spLocks/>
            </p:cNvSpPr>
            <p:nvPr/>
          </p:nvSpPr>
          <p:spPr bwMode="auto">
            <a:xfrm>
              <a:off x="3712" y="3383"/>
              <a:ext cx="191" cy="155"/>
            </a:xfrm>
            <a:custGeom>
              <a:avLst/>
              <a:gdLst>
                <a:gd name="T0" fmla="*/ 26 w 184"/>
                <a:gd name="T1" fmla="*/ 7 h 163"/>
                <a:gd name="T2" fmla="*/ 17 w 184"/>
                <a:gd name="T3" fmla="*/ 11 h 163"/>
                <a:gd name="T4" fmla="*/ 20 w 184"/>
                <a:gd name="T5" fmla="*/ 20 h 163"/>
                <a:gd name="T6" fmla="*/ 11 w 184"/>
                <a:gd name="T7" fmla="*/ 31 h 163"/>
                <a:gd name="T8" fmla="*/ 4 w 184"/>
                <a:gd name="T9" fmla="*/ 30 h 163"/>
                <a:gd name="T10" fmla="*/ 0 w 184"/>
                <a:gd name="T11" fmla="*/ 35 h 163"/>
                <a:gd name="T12" fmla="*/ 2 w 184"/>
                <a:gd name="T13" fmla="*/ 46 h 163"/>
                <a:gd name="T14" fmla="*/ 32 w 184"/>
                <a:gd name="T15" fmla="*/ 57 h 163"/>
                <a:gd name="T16" fmla="*/ 39 w 184"/>
                <a:gd name="T17" fmla="*/ 82 h 163"/>
                <a:gd name="T18" fmla="*/ 48 w 184"/>
                <a:gd name="T19" fmla="*/ 113 h 163"/>
                <a:gd name="T20" fmla="*/ 59 w 184"/>
                <a:gd name="T21" fmla="*/ 130 h 163"/>
                <a:gd name="T22" fmla="*/ 72 w 184"/>
                <a:gd name="T23" fmla="*/ 119 h 163"/>
                <a:gd name="T24" fmla="*/ 89 w 184"/>
                <a:gd name="T25" fmla="*/ 141 h 163"/>
                <a:gd name="T26" fmla="*/ 106 w 184"/>
                <a:gd name="T27" fmla="*/ 163 h 163"/>
                <a:gd name="T28" fmla="*/ 113 w 184"/>
                <a:gd name="T29" fmla="*/ 146 h 163"/>
                <a:gd name="T30" fmla="*/ 108 w 184"/>
                <a:gd name="T31" fmla="*/ 135 h 163"/>
                <a:gd name="T32" fmla="*/ 115 w 184"/>
                <a:gd name="T33" fmla="*/ 130 h 163"/>
                <a:gd name="T34" fmla="*/ 141 w 184"/>
                <a:gd name="T35" fmla="*/ 150 h 163"/>
                <a:gd name="T36" fmla="*/ 149 w 184"/>
                <a:gd name="T37" fmla="*/ 144 h 163"/>
                <a:gd name="T38" fmla="*/ 151 w 184"/>
                <a:gd name="T39" fmla="*/ 137 h 163"/>
                <a:gd name="T40" fmla="*/ 138 w 184"/>
                <a:gd name="T41" fmla="*/ 111 h 163"/>
                <a:gd name="T42" fmla="*/ 138 w 184"/>
                <a:gd name="T43" fmla="*/ 106 h 163"/>
                <a:gd name="T44" fmla="*/ 126 w 184"/>
                <a:gd name="T45" fmla="*/ 85 h 163"/>
                <a:gd name="T46" fmla="*/ 121 w 184"/>
                <a:gd name="T47" fmla="*/ 70 h 163"/>
                <a:gd name="T48" fmla="*/ 126 w 184"/>
                <a:gd name="T49" fmla="*/ 69 h 163"/>
                <a:gd name="T50" fmla="*/ 141 w 184"/>
                <a:gd name="T51" fmla="*/ 72 h 163"/>
                <a:gd name="T52" fmla="*/ 158 w 184"/>
                <a:gd name="T53" fmla="*/ 87 h 163"/>
                <a:gd name="T54" fmla="*/ 167 w 184"/>
                <a:gd name="T55" fmla="*/ 76 h 163"/>
                <a:gd name="T56" fmla="*/ 182 w 184"/>
                <a:gd name="T57" fmla="*/ 78 h 163"/>
                <a:gd name="T58" fmla="*/ 184 w 184"/>
                <a:gd name="T59" fmla="*/ 74 h 163"/>
                <a:gd name="T60" fmla="*/ 165 w 184"/>
                <a:gd name="T61" fmla="*/ 50 h 163"/>
                <a:gd name="T62" fmla="*/ 151 w 184"/>
                <a:gd name="T63" fmla="*/ 52 h 163"/>
                <a:gd name="T64" fmla="*/ 147 w 184"/>
                <a:gd name="T65" fmla="*/ 44 h 163"/>
                <a:gd name="T66" fmla="*/ 138 w 184"/>
                <a:gd name="T67" fmla="*/ 26 h 163"/>
                <a:gd name="T68" fmla="*/ 130 w 184"/>
                <a:gd name="T69" fmla="*/ 33 h 163"/>
                <a:gd name="T70" fmla="*/ 112 w 184"/>
                <a:gd name="T71" fmla="*/ 26 h 163"/>
                <a:gd name="T72" fmla="*/ 100 w 184"/>
                <a:gd name="T73" fmla="*/ 7 h 163"/>
                <a:gd name="T74" fmla="*/ 78 w 184"/>
                <a:gd name="T75" fmla="*/ 9 h 163"/>
                <a:gd name="T76" fmla="*/ 61 w 184"/>
                <a:gd name="T77" fmla="*/ 11 h 163"/>
                <a:gd name="T78" fmla="*/ 50 w 184"/>
                <a:gd name="T79" fmla="*/ 0 h 163"/>
                <a:gd name="T80" fmla="*/ 41 w 184"/>
                <a:gd name="T81" fmla="*/ 6 h 163"/>
                <a:gd name="T82" fmla="*/ 26 w 184"/>
                <a:gd name="T83" fmla="*/ 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 h="163">
                  <a:moveTo>
                    <a:pt x="26" y="7"/>
                  </a:moveTo>
                  <a:lnTo>
                    <a:pt x="17" y="11"/>
                  </a:lnTo>
                  <a:lnTo>
                    <a:pt x="20" y="20"/>
                  </a:lnTo>
                  <a:lnTo>
                    <a:pt x="11" y="31"/>
                  </a:lnTo>
                  <a:lnTo>
                    <a:pt x="4" y="30"/>
                  </a:lnTo>
                  <a:lnTo>
                    <a:pt x="0" y="35"/>
                  </a:lnTo>
                  <a:lnTo>
                    <a:pt x="2" y="46"/>
                  </a:lnTo>
                  <a:lnTo>
                    <a:pt x="32" y="57"/>
                  </a:lnTo>
                  <a:lnTo>
                    <a:pt x="39" y="82"/>
                  </a:lnTo>
                  <a:lnTo>
                    <a:pt x="48" y="113"/>
                  </a:lnTo>
                  <a:lnTo>
                    <a:pt x="59" y="130"/>
                  </a:lnTo>
                  <a:lnTo>
                    <a:pt x="72" y="119"/>
                  </a:lnTo>
                  <a:lnTo>
                    <a:pt x="89" y="141"/>
                  </a:lnTo>
                  <a:lnTo>
                    <a:pt x="106" y="163"/>
                  </a:lnTo>
                  <a:lnTo>
                    <a:pt x="113" y="146"/>
                  </a:lnTo>
                  <a:lnTo>
                    <a:pt x="108" y="135"/>
                  </a:lnTo>
                  <a:lnTo>
                    <a:pt x="115" y="130"/>
                  </a:lnTo>
                  <a:lnTo>
                    <a:pt x="141" y="150"/>
                  </a:lnTo>
                  <a:lnTo>
                    <a:pt x="149" y="144"/>
                  </a:lnTo>
                  <a:lnTo>
                    <a:pt x="151" y="137"/>
                  </a:lnTo>
                  <a:lnTo>
                    <a:pt x="138" y="111"/>
                  </a:lnTo>
                  <a:lnTo>
                    <a:pt x="138" y="106"/>
                  </a:lnTo>
                  <a:lnTo>
                    <a:pt x="126" y="85"/>
                  </a:lnTo>
                  <a:lnTo>
                    <a:pt x="121" y="70"/>
                  </a:lnTo>
                  <a:lnTo>
                    <a:pt x="126" y="69"/>
                  </a:lnTo>
                  <a:lnTo>
                    <a:pt x="141" y="72"/>
                  </a:lnTo>
                  <a:lnTo>
                    <a:pt x="158" y="87"/>
                  </a:lnTo>
                  <a:lnTo>
                    <a:pt x="167" y="76"/>
                  </a:lnTo>
                  <a:lnTo>
                    <a:pt x="182" y="78"/>
                  </a:lnTo>
                  <a:lnTo>
                    <a:pt x="184" y="74"/>
                  </a:lnTo>
                  <a:lnTo>
                    <a:pt x="165" y="50"/>
                  </a:lnTo>
                  <a:lnTo>
                    <a:pt x="151" y="52"/>
                  </a:lnTo>
                  <a:lnTo>
                    <a:pt x="147" y="44"/>
                  </a:lnTo>
                  <a:lnTo>
                    <a:pt x="138" y="26"/>
                  </a:lnTo>
                  <a:lnTo>
                    <a:pt x="130" y="33"/>
                  </a:lnTo>
                  <a:lnTo>
                    <a:pt x="112" y="26"/>
                  </a:lnTo>
                  <a:lnTo>
                    <a:pt x="100" y="7"/>
                  </a:lnTo>
                  <a:lnTo>
                    <a:pt x="78" y="9"/>
                  </a:lnTo>
                  <a:lnTo>
                    <a:pt x="61" y="11"/>
                  </a:lnTo>
                  <a:lnTo>
                    <a:pt x="50" y="0"/>
                  </a:lnTo>
                  <a:lnTo>
                    <a:pt x="41" y="6"/>
                  </a:lnTo>
                  <a:lnTo>
                    <a:pt x="26" y="7"/>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6" name="Freeform 423"/>
            <p:cNvSpPr>
              <a:spLocks/>
            </p:cNvSpPr>
            <p:nvPr/>
          </p:nvSpPr>
          <p:spPr bwMode="auto">
            <a:xfrm>
              <a:off x="3873" y="3320"/>
              <a:ext cx="107" cy="82"/>
            </a:xfrm>
            <a:custGeom>
              <a:avLst/>
              <a:gdLst>
                <a:gd name="T0" fmla="*/ 9 w 106"/>
                <a:gd name="T1" fmla="*/ 0 h 87"/>
                <a:gd name="T2" fmla="*/ 0 w 106"/>
                <a:gd name="T3" fmla="*/ 7 h 87"/>
                <a:gd name="T4" fmla="*/ 11 w 106"/>
                <a:gd name="T5" fmla="*/ 26 h 87"/>
                <a:gd name="T6" fmla="*/ 24 w 106"/>
                <a:gd name="T7" fmla="*/ 30 h 87"/>
                <a:gd name="T8" fmla="*/ 39 w 106"/>
                <a:gd name="T9" fmla="*/ 46 h 87"/>
                <a:gd name="T10" fmla="*/ 52 w 106"/>
                <a:gd name="T11" fmla="*/ 54 h 87"/>
                <a:gd name="T12" fmla="*/ 73 w 106"/>
                <a:gd name="T13" fmla="*/ 70 h 87"/>
                <a:gd name="T14" fmla="*/ 86 w 106"/>
                <a:gd name="T15" fmla="*/ 76 h 87"/>
                <a:gd name="T16" fmla="*/ 102 w 106"/>
                <a:gd name="T17" fmla="*/ 87 h 87"/>
                <a:gd name="T18" fmla="*/ 106 w 106"/>
                <a:gd name="T19" fmla="*/ 81 h 87"/>
                <a:gd name="T20" fmla="*/ 73 w 106"/>
                <a:gd name="T21" fmla="*/ 56 h 87"/>
                <a:gd name="T22" fmla="*/ 71 w 106"/>
                <a:gd name="T23" fmla="*/ 44 h 87"/>
                <a:gd name="T24" fmla="*/ 67 w 106"/>
                <a:gd name="T25" fmla="*/ 33 h 87"/>
                <a:gd name="T26" fmla="*/ 54 w 106"/>
                <a:gd name="T27" fmla="*/ 20 h 87"/>
                <a:gd name="T28" fmla="*/ 50 w 106"/>
                <a:gd name="T29" fmla="*/ 22 h 87"/>
                <a:gd name="T30" fmla="*/ 32 w 106"/>
                <a:gd name="T31" fmla="*/ 9 h 87"/>
                <a:gd name="T32" fmla="*/ 22 w 106"/>
                <a:gd name="T33" fmla="*/ 4 h 87"/>
                <a:gd name="T34" fmla="*/ 9 w 106"/>
                <a:gd name="T3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87">
                  <a:moveTo>
                    <a:pt x="9" y="0"/>
                  </a:moveTo>
                  <a:lnTo>
                    <a:pt x="0" y="7"/>
                  </a:lnTo>
                  <a:lnTo>
                    <a:pt x="11" y="26"/>
                  </a:lnTo>
                  <a:lnTo>
                    <a:pt x="24" y="30"/>
                  </a:lnTo>
                  <a:lnTo>
                    <a:pt x="39" y="46"/>
                  </a:lnTo>
                  <a:lnTo>
                    <a:pt x="52" y="54"/>
                  </a:lnTo>
                  <a:lnTo>
                    <a:pt x="73" y="70"/>
                  </a:lnTo>
                  <a:lnTo>
                    <a:pt x="86" y="76"/>
                  </a:lnTo>
                  <a:lnTo>
                    <a:pt x="102" y="87"/>
                  </a:lnTo>
                  <a:lnTo>
                    <a:pt x="106" y="81"/>
                  </a:lnTo>
                  <a:lnTo>
                    <a:pt x="73" y="56"/>
                  </a:lnTo>
                  <a:lnTo>
                    <a:pt x="71" y="44"/>
                  </a:lnTo>
                  <a:lnTo>
                    <a:pt x="67" y="33"/>
                  </a:lnTo>
                  <a:lnTo>
                    <a:pt x="54" y="20"/>
                  </a:lnTo>
                  <a:lnTo>
                    <a:pt x="50" y="22"/>
                  </a:lnTo>
                  <a:lnTo>
                    <a:pt x="32" y="9"/>
                  </a:lnTo>
                  <a:lnTo>
                    <a:pt x="22" y="4"/>
                  </a:lnTo>
                  <a:lnTo>
                    <a:pt x="9" y="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7" name="Freeform 425"/>
            <p:cNvSpPr>
              <a:spLocks/>
            </p:cNvSpPr>
            <p:nvPr/>
          </p:nvSpPr>
          <p:spPr bwMode="auto">
            <a:xfrm>
              <a:off x="3997" y="3224"/>
              <a:ext cx="31" cy="26"/>
            </a:xfrm>
            <a:custGeom>
              <a:avLst/>
              <a:gdLst>
                <a:gd name="T0" fmla="*/ 30 w 30"/>
                <a:gd name="T1" fmla="*/ 0 h 28"/>
                <a:gd name="T2" fmla="*/ 11 w 30"/>
                <a:gd name="T3" fmla="*/ 0 h 28"/>
                <a:gd name="T4" fmla="*/ 2 w 30"/>
                <a:gd name="T5" fmla="*/ 6 h 28"/>
                <a:gd name="T6" fmla="*/ 0 w 30"/>
                <a:gd name="T7" fmla="*/ 15 h 28"/>
                <a:gd name="T8" fmla="*/ 0 w 30"/>
                <a:gd name="T9" fmla="*/ 26 h 28"/>
                <a:gd name="T10" fmla="*/ 9 w 30"/>
                <a:gd name="T11" fmla="*/ 28 h 28"/>
                <a:gd name="T12" fmla="*/ 26 w 30"/>
                <a:gd name="T13" fmla="*/ 17 h 28"/>
                <a:gd name="T14" fmla="*/ 30 w 30"/>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8">
                  <a:moveTo>
                    <a:pt x="30" y="0"/>
                  </a:moveTo>
                  <a:lnTo>
                    <a:pt x="11" y="0"/>
                  </a:lnTo>
                  <a:lnTo>
                    <a:pt x="2" y="6"/>
                  </a:lnTo>
                  <a:lnTo>
                    <a:pt x="0" y="15"/>
                  </a:lnTo>
                  <a:lnTo>
                    <a:pt x="0" y="26"/>
                  </a:lnTo>
                  <a:lnTo>
                    <a:pt x="9" y="28"/>
                  </a:lnTo>
                  <a:lnTo>
                    <a:pt x="26" y="17"/>
                  </a:lnTo>
                  <a:lnTo>
                    <a:pt x="30"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8" name="Freeform 426"/>
            <p:cNvSpPr>
              <a:spLocks/>
            </p:cNvSpPr>
            <p:nvPr/>
          </p:nvSpPr>
          <p:spPr bwMode="auto">
            <a:xfrm>
              <a:off x="4210" y="3471"/>
              <a:ext cx="42" cy="23"/>
            </a:xfrm>
            <a:custGeom>
              <a:avLst/>
              <a:gdLst>
                <a:gd name="T0" fmla="*/ 42 w 42"/>
                <a:gd name="T1" fmla="*/ 6 h 22"/>
                <a:gd name="T2" fmla="*/ 23 w 42"/>
                <a:gd name="T3" fmla="*/ 22 h 22"/>
                <a:gd name="T4" fmla="*/ 9 w 42"/>
                <a:gd name="T5" fmla="*/ 22 h 22"/>
                <a:gd name="T6" fmla="*/ 0 w 42"/>
                <a:gd name="T7" fmla="*/ 15 h 22"/>
                <a:gd name="T8" fmla="*/ 6 w 42"/>
                <a:gd name="T9" fmla="*/ 2 h 22"/>
                <a:gd name="T10" fmla="*/ 27 w 42"/>
                <a:gd name="T11" fmla="*/ 0 h 22"/>
                <a:gd name="T12" fmla="*/ 42 w 42"/>
                <a:gd name="T13" fmla="*/ 6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2" y="6"/>
                  </a:moveTo>
                  <a:lnTo>
                    <a:pt x="23" y="22"/>
                  </a:lnTo>
                  <a:lnTo>
                    <a:pt x="9" y="22"/>
                  </a:lnTo>
                  <a:lnTo>
                    <a:pt x="0" y="15"/>
                  </a:lnTo>
                  <a:lnTo>
                    <a:pt x="6" y="2"/>
                  </a:lnTo>
                  <a:lnTo>
                    <a:pt x="27" y="0"/>
                  </a:lnTo>
                  <a:lnTo>
                    <a:pt x="42" y="6"/>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19" name="Freeform 427"/>
            <p:cNvSpPr>
              <a:spLocks/>
            </p:cNvSpPr>
            <p:nvPr/>
          </p:nvSpPr>
          <p:spPr bwMode="auto">
            <a:xfrm>
              <a:off x="4214" y="3520"/>
              <a:ext cx="47" cy="31"/>
            </a:xfrm>
            <a:custGeom>
              <a:avLst/>
              <a:gdLst>
                <a:gd name="T0" fmla="*/ 43 w 43"/>
                <a:gd name="T1" fmla="*/ 0 h 34"/>
                <a:gd name="T2" fmla="*/ 43 w 43"/>
                <a:gd name="T3" fmla="*/ 11 h 34"/>
                <a:gd name="T4" fmla="*/ 17 w 43"/>
                <a:gd name="T5" fmla="*/ 29 h 34"/>
                <a:gd name="T6" fmla="*/ 5 w 43"/>
                <a:gd name="T7" fmla="*/ 34 h 34"/>
                <a:gd name="T8" fmla="*/ 0 w 43"/>
                <a:gd name="T9" fmla="*/ 32 h 34"/>
                <a:gd name="T10" fmla="*/ 4 w 43"/>
                <a:gd name="T11" fmla="*/ 20 h 34"/>
                <a:gd name="T12" fmla="*/ 23 w 43"/>
                <a:gd name="T13" fmla="*/ 6 h 34"/>
                <a:gd name="T14" fmla="*/ 43 w 43"/>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34">
                  <a:moveTo>
                    <a:pt x="43" y="0"/>
                  </a:moveTo>
                  <a:lnTo>
                    <a:pt x="43" y="11"/>
                  </a:lnTo>
                  <a:lnTo>
                    <a:pt x="17" y="29"/>
                  </a:lnTo>
                  <a:lnTo>
                    <a:pt x="5" y="34"/>
                  </a:lnTo>
                  <a:lnTo>
                    <a:pt x="0" y="32"/>
                  </a:lnTo>
                  <a:lnTo>
                    <a:pt x="4" y="20"/>
                  </a:lnTo>
                  <a:lnTo>
                    <a:pt x="23" y="6"/>
                  </a:lnTo>
                  <a:lnTo>
                    <a:pt x="43"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0" name="Freeform 428"/>
            <p:cNvSpPr>
              <a:spLocks/>
            </p:cNvSpPr>
            <p:nvPr/>
          </p:nvSpPr>
          <p:spPr bwMode="auto">
            <a:xfrm>
              <a:off x="4055" y="3269"/>
              <a:ext cx="55" cy="35"/>
            </a:xfrm>
            <a:custGeom>
              <a:avLst/>
              <a:gdLst>
                <a:gd name="T0" fmla="*/ 28 w 52"/>
                <a:gd name="T1" fmla="*/ 0 h 37"/>
                <a:gd name="T2" fmla="*/ 52 w 52"/>
                <a:gd name="T3" fmla="*/ 26 h 37"/>
                <a:gd name="T4" fmla="*/ 48 w 52"/>
                <a:gd name="T5" fmla="*/ 33 h 37"/>
                <a:gd name="T6" fmla="*/ 35 w 52"/>
                <a:gd name="T7" fmla="*/ 37 h 37"/>
                <a:gd name="T8" fmla="*/ 33 w 52"/>
                <a:gd name="T9" fmla="*/ 28 h 37"/>
                <a:gd name="T10" fmla="*/ 28 w 52"/>
                <a:gd name="T11" fmla="*/ 24 h 37"/>
                <a:gd name="T12" fmla="*/ 20 w 52"/>
                <a:gd name="T13" fmla="*/ 28 h 37"/>
                <a:gd name="T14" fmla="*/ 11 w 52"/>
                <a:gd name="T15" fmla="*/ 22 h 37"/>
                <a:gd name="T16" fmla="*/ 7 w 52"/>
                <a:gd name="T17" fmla="*/ 17 h 37"/>
                <a:gd name="T18" fmla="*/ 13 w 52"/>
                <a:gd name="T19" fmla="*/ 13 h 37"/>
                <a:gd name="T20" fmla="*/ 2 w 52"/>
                <a:gd name="T21" fmla="*/ 19 h 37"/>
                <a:gd name="T22" fmla="*/ 0 w 52"/>
                <a:gd name="T23" fmla="*/ 13 h 37"/>
                <a:gd name="T24" fmla="*/ 15 w 52"/>
                <a:gd name="T25" fmla="*/ 7 h 37"/>
                <a:gd name="T26" fmla="*/ 28 w 52"/>
                <a:gd name="T2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37">
                  <a:moveTo>
                    <a:pt x="28" y="0"/>
                  </a:moveTo>
                  <a:lnTo>
                    <a:pt x="52" y="26"/>
                  </a:lnTo>
                  <a:lnTo>
                    <a:pt x="48" y="33"/>
                  </a:lnTo>
                  <a:lnTo>
                    <a:pt x="35" y="37"/>
                  </a:lnTo>
                  <a:lnTo>
                    <a:pt x="33" y="28"/>
                  </a:lnTo>
                  <a:lnTo>
                    <a:pt x="28" y="24"/>
                  </a:lnTo>
                  <a:lnTo>
                    <a:pt x="20" y="28"/>
                  </a:lnTo>
                  <a:lnTo>
                    <a:pt x="11" y="22"/>
                  </a:lnTo>
                  <a:lnTo>
                    <a:pt x="7" y="17"/>
                  </a:lnTo>
                  <a:lnTo>
                    <a:pt x="13" y="13"/>
                  </a:lnTo>
                  <a:lnTo>
                    <a:pt x="2" y="19"/>
                  </a:lnTo>
                  <a:lnTo>
                    <a:pt x="0" y="13"/>
                  </a:lnTo>
                  <a:lnTo>
                    <a:pt x="15" y="7"/>
                  </a:lnTo>
                  <a:lnTo>
                    <a:pt x="28"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1" name="Freeform 429"/>
            <p:cNvSpPr>
              <a:spLocks/>
            </p:cNvSpPr>
            <p:nvPr/>
          </p:nvSpPr>
          <p:spPr bwMode="auto">
            <a:xfrm>
              <a:off x="4060" y="3048"/>
              <a:ext cx="210" cy="164"/>
            </a:xfrm>
            <a:custGeom>
              <a:avLst/>
              <a:gdLst>
                <a:gd name="T0" fmla="*/ 35 w 200"/>
                <a:gd name="T1" fmla="*/ 28 h 171"/>
                <a:gd name="T2" fmla="*/ 32 w 200"/>
                <a:gd name="T3" fmla="*/ 71 h 171"/>
                <a:gd name="T4" fmla="*/ 0 w 200"/>
                <a:gd name="T5" fmla="*/ 117 h 171"/>
                <a:gd name="T6" fmla="*/ 7 w 200"/>
                <a:gd name="T7" fmla="*/ 126 h 171"/>
                <a:gd name="T8" fmla="*/ 43 w 200"/>
                <a:gd name="T9" fmla="*/ 123 h 171"/>
                <a:gd name="T10" fmla="*/ 26 w 200"/>
                <a:gd name="T11" fmla="*/ 143 h 171"/>
                <a:gd name="T12" fmla="*/ 19 w 200"/>
                <a:gd name="T13" fmla="*/ 151 h 171"/>
                <a:gd name="T14" fmla="*/ 22 w 200"/>
                <a:gd name="T15" fmla="*/ 171 h 171"/>
                <a:gd name="T16" fmla="*/ 50 w 200"/>
                <a:gd name="T17" fmla="*/ 139 h 171"/>
                <a:gd name="T18" fmla="*/ 67 w 200"/>
                <a:gd name="T19" fmla="*/ 130 h 171"/>
                <a:gd name="T20" fmla="*/ 97 w 200"/>
                <a:gd name="T21" fmla="*/ 91 h 171"/>
                <a:gd name="T22" fmla="*/ 132 w 200"/>
                <a:gd name="T23" fmla="*/ 71 h 171"/>
                <a:gd name="T24" fmla="*/ 187 w 200"/>
                <a:gd name="T25" fmla="*/ 69 h 171"/>
                <a:gd name="T26" fmla="*/ 200 w 200"/>
                <a:gd name="T27" fmla="*/ 63 h 171"/>
                <a:gd name="T28" fmla="*/ 198 w 200"/>
                <a:gd name="T29" fmla="*/ 52 h 171"/>
                <a:gd name="T30" fmla="*/ 172 w 200"/>
                <a:gd name="T31" fmla="*/ 30 h 171"/>
                <a:gd name="T32" fmla="*/ 158 w 200"/>
                <a:gd name="T33" fmla="*/ 32 h 171"/>
                <a:gd name="T34" fmla="*/ 154 w 200"/>
                <a:gd name="T35" fmla="*/ 26 h 171"/>
                <a:gd name="T36" fmla="*/ 139 w 200"/>
                <a:gd name="T37" fmla="*/ 26 h 171"/>
                <a:gd name="T38" fmla="*/ 117 w 200"/>
                <a:gd name="T39" fmla="*/ 2 h 171"/>
                <a:gd name="T40" fmla="*/ 93 w 200"/>
                <a:gd name="T41" fmla="*/ 0 h 171"/>
                <a:gd name="T42" fmla="*/ 71 w 200"/>
                <a:gd name="T43" fmla="*/ 6 h 171"/>
                <a:gd name="T44" fmla="*/ 52 w 200"/>
                <a:gd name="T45" fmla="*/ 15 h 171"/>
                <a:gd name="T46" fmla="*/ 35 w 200"/>
                <a:gd name="T47" fmla="*/ 2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0" h="171">
                  <a:moveTo>
                    <a:pt x="35" y="28"/>
                  </a:moveTo>
                  <a:lnTo>
                    <a:pt x="32" y="71"/>
                  </a:lnTo>
                  <a:lnTo>
                    <a:pt x="0" y="117"/>
                  </a:lnTo>
                  <a:lnTo>
                    <a:pt x="7" y="126"/>
                  </a:lnTo>
                  <a:lnTo>
                    <a:pt x="43" y="123"/>
                  </a:lnTo>
                  <a:lnTo>
                    <a:pt x="26" y="143"/>
                  </a:lnTo>
                  <a:lnTo>
                    <a:pt x="19" y="151"/>
                  </a:lnTo>
                  <a:lnTo>
                    <a:pt x="22" y="171"/>
                  </a:lnTo>
                  <a:lnTo>
                    <a:pt x="50" y="139"/>
                  </a:lnTo>
                  <a:lnTo>
                    <a:pt x="67" y="130"/>
                  </a:lnTo>
                  <a:lnTo>
                    <a:pt x="97" y="91"/>
                  </a:lnTo>
                  <a:lnTo>
                    <a:pt x="132" y="71"/>
                  </a:lnTo>
                  <a:lnTo>
                    <a:pt x="187" y="69"/>
                  </a:lnTo>
                  <a:lnTo>
                    <a:pt x="200" y="63"/>
                  </a:lnTo>
                  <a:lnTo>
                    <a:pt x="198" y="52"/>
                  </a:lnTo>
                  <a:lnTo>
                    <a:pt x="172" y="30"/>
                  </a:lnTo>
                  <a:lnTo>
                    <a:pt x="158" y="32"/>
                  </a:lnTo>
                  <a:lnTo>
                    <a:pt x="154" y="26"/>
                  </a:lnTo>
                  <a:lnTo>
                    <a:pt x="139" y="26"/>
                  </a:lnTo>
                  <a:lnTo>
                    <a:pt x="117" y="2"/>
                  </a:lnTo>
                  <a:lnTo>
                    <a:pt x="93" y="0"/>
                  </a:lnTo>
                  <a:lnTo>
                    <a:pt x="71" y="6"/>
                  </a:lnTo>
                  <a:lnTo>
                    <a:pt x="52" y="15"/>
                  </a:lnTo>
                  <a:lnTo>
                    <a:pt x="35" y="28"/>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2" name="Freeform 430"/>
            <p:cNvSpPr>
              <a:spLocks/>
            </p:cNvSpPr>
            <p:nvPr/>
          </p:nvSpPr>
          <p:spPr bwMode="auto">
            <a:xfrm>
              <a:off x="3345" y="2787"/>
              <a:ext cx="247" cy="215"/>
            </a:xfrm>
            <a:custGeom>
              <a:avLst/>
              <a:gdLst>
                <a:gd name="T0" fmla="*/ 228 w 247"/>
                <a:gd name="T1" fmla="*/ 30 h 215"/>
                <a:gd name="T2" fmla="*/ 216 w 247"/>
                <a:gd name="T3" fmla="*/ 30 h 215"/>
                <a:gd name="T4" fmla="*/ 202 w 247"/>
                <a:gd name="T5" fmla="*/ 21 h 215"/>
                <a:gd name="T6" fmla="*/ 184 w 247"/>
                <a:gd name="T7" fmla="*/ 13 h 215"/>
                <a:gd name="T8" fmla="*/ 163 w 247"/>
                <a:gd name="T9" fmla="*/ 23 h 215"/>
                <a:gd name="T10" fmla="*/ 143 w 247"/>
                <a:gd name="T11" fmla="*/ 18 h 215"/>
                <a:gd name="T12" fmla="*/ 125 w 247"/>
                <a:gd name="T13" fmla="*/ 26 h 215"/>
                <a:gd name="T14" fmla="*/ 124 w 247"/>
                <a:gd name="T15" fmla="*/ 18 h 215"/>
                <a:gd name="T16" fmla="*/ 108 w 247"/>
                <a:gd name="T17" fmla="*/ 18 h 215"/>
                <a:gd name="T18" fmla="*/ 90 w 247"/>
                <a:gd name="T19" fmla="*/ 0 h 215"/>
                <a:gd name="T20" fmla="*/ 61 w 247"/>
                <a:gd name="T21" fmla="*/ 29 h 215"/>
                <a:gd name="T22" fmla="*/ 18 w 247"/>
                <a:gd name="T23" fmla="*/ 16 h 215"/>
                <a:gd name="T24" fmla="*/ 0 w 247"/>
                <a:gd name="T25" fmla="*/ 20 h 215"/>
                <a:gd name="T26" fmla="*/ 0 w 247"/>
                <a:gd name="T27" fmla="*/ 30 h 215"/>
                <a:gd name="T28" fmla="*/ 47 w 247"/>
                <a:gd name="T29" fmla="*/ 76 h 215"/>
                <a:gd name="T30" fmla="*/ 58 w 247"/>
                <a:gd name="T31" fmla="*/ 106 h 215"/>
                <a:gd name="T32" fmla="*/ 83 w 247"/>
                <a:gd name="T33" fmla="*/ 124 h 215"/>
                <a:gd name="T34" fmla="*/ 94 w 247"/>
                <a:gd name="T35" fmla="*/ 121 h 215"/>
                <a:gd name="T36" fmla="*/ 155 w 247"/>
                <a:gd name="T37" fmla="*/ 182 h 215"/>
                <a:gd name="T38" fmla="*/ 159 w 247"/>
                <a:gd name="T39" fmla="*/ 196 h 215"/>
                <a:gd name="T40" fmla="*/ 155 w 247"/>
                <a:gd name="T41" fmla="*/ 205 h 215"/>
                <a:gd name="T42" fmla="*/ 159 w 247"/>
                <a:gd name="T43" fmla="*/ 215 h 215"/>
                <a:gd name="T44" fmla="*/ 177 w 247"/>
                <a:gd name="T45" fmla="*/ 206 h 215"/>
                <a:gd name="T46" fmla="*/ 191 w 247"/>
                <a:gd name="T47" fmla="*/ 201 h 215"/>
                <a:gd name="T48" fmla="*/ 191 w 247"/>
                <a:gd name="T49" fmla="*/ 181 h 215"/>
                <a:gd name="T50" fmla="*/ 208 w 247"/>
                <a:gd name="T51" fmla="*/ 167 h 215"/>
                <a:gd name="T52" fmla="*/ 216 w 247"/>
                <a:gd name="T53" fmla="*/ 153 h 215"/>
                <a:gd name="T54" fmla="*/ 234 w 247"/>
                <a:gd name="T55" fmla="*/ 146 h 215"/>
                <a:gd name="T56" fmla="*/ 238 w 247"/>
                <a:gd name="T57" fmla="*/ 128 h 215"/>
                <a:gd name="T58" fmla="*/ 234 w 247"/>
                <a:gd name="T59" fmla="*/ 112 h 215"/>
                <a:gd name="T60" fmla="*/ 244 w 247"/>
                <a:gd name="T61" fmla="*/ 105 h 215"/>
                <a:gd name="T62" fmla="*/ 233 w 247"/>
                <a:gd name="T63" fmla="*/ 85 h 215"/>
                <a:gd name="T64" fmla="*/ 247 w 247"/>
                <a:gd name="T65" fmla="*/ 51 h 215"/>
                <a:gd name="T66" fmla="*/ 228 w 247"/>
                <a:gd name="T67" fmla="*/ 3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 h="215">
                  <a:moveTo>
                    <a:pt x="228" y="30"/>
                  </a:moveTo>
                  <a:lnTo>
                    <a:pt x="216" y="30"/>
                  </a:lnTo>
                  <a:lnTo>
                    <a:pt x="202" y="21"/>
                  </a:lnTo>
                  <a:lnTo>
                    <a:pt x="184" y="13"/>
                  </a:lnTo>
                  <a:lnTo>
                    <a:pt x="163" y="23"/>
                  </a:lnTo>
                  <a:lnTo>
                    <a:pt x="143" y="18"/>
                  </a:lnTo>
                  <a:lnTo>
                    <a:pt x="125" y="26"/>
                  </a:lnTo>
                  <a:lnTo>
                    <a:pt x="124" y="18"/>
                  </a:lnTo>
                  <a:lnTo>
                    <a:pt x="108" y="18"/>
                  </a:lnTo>
                  <a:lnTo>
                    <a:pt x="90" y="0"/>
                  </a:lnTo>
                  <a:lnTo>
                    <a:pt x="61" y="29"/>
                  </a:lnTo>
                  <a:lnTo>
                    <a:pt x="18" y="16"/>
                  </a:lnTo>
                  <a:lnTo>
                    <a:pt x="0" y="20"/>
                  </a:lnTo>
                  <a:lnTo>
                    <a:pt x="0" y="30"/>
                  </a:lnTo>
                  <a:lnTo>
                    <a:pt x="47" y="76"/>
                  </a:lnTo>
                  <a:lnTo>
                    <a:pt x="58" y="106"/>
                  </a:lnTo>
                  <a:lnTo>
                    <a:pt x="83" y="124"/>
                  </a:lnTo>
                  <a:lnTo>
                    <a:pt x="94" y="121"/>
                  </a:lnTo>
                  <a:lnTo>
                    <a:pt x="155" y="182"/>
                  </a:lnTo>
                  <a:lnTo>
                    <a:pt x="159" y="196"/>
                  </a:lnTo>
                  <a:lnTo>
                    <a:pt x="155" y="205"/>
                  </a:lnTo>
                  <a:lnTo>
                    <a:pt x="159" y="215"/>
                  </a:lnTo>
                  <a:lnTo>
                    <a:pt x="177" y="206"/>
                  </a:lnTo>
                  <a:lnTo>
                    <a:pt x="191" y="201"/>
                  </a:lnTo>
                  <a:lnTo>
                    <a:pt x="191" y="181"/>
                  </a:lnTo>
                  <a:lnTo>
                    <a:pt x="208" y="167"/>
                  </a:lnTo>
                  <a:lnTo>
                    <a:pt x="216" y="153"/>
                  </a:lnTo>
                  <a:lnTo>
                    <a:pt x="234" y="146"/>
                  </a:lnTo>
                  <a:lnTo>
                    <a:pt x="238" y="128"/>
                  </a:lnTo>
                  <a:lnTo>
                    <a:pt x="234" y="112"/>
                  </a:lnTo>
                  <a:lnTo>
                    <a:pt x="244" y="105"/>
                  </a:lnTo>
                  <a:lnTo>
                    <a:pt x="233" y="85"/>
                  </a:lnTo>
                  <a:lnTo>
                    <a:pt x="247" y="51"/>
                  </a:lnTo>
                  <a:lnTo>
                    <a:pt x="228" y="3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3" name="Freeform 431"/>
            <p:cNvSpPr>
              <a:spLocks/>
            </p:cNvSpPr>
            <p:nvPr/>
          </p:nvSpPr>
          <p:spPr bwMode="auto">
            <a:xfrm>
              <a:off x="3576" y="3031"/>
              <a:ext cx="161" cy="234"/>
            </a:xfrm>
            <a:custGeom>
              <a:avLst/>
              <a:gdLst>
                <a:gd name="T0" fmla="*/ 11 w 149"/>
                <a:gd name="T1" fmla="*/ 56 h 248"/>
                <a:gd name="T2" fmla="*/ 20 w 149"/>
                <a:gd name="T3" fmla="*/ 63 h 248"/>
                <a:gd name="T4" fmla="*/ 20 w 149"/>
                <a:gd name="T5" fmla="*/ 74 h 248"/>
                <a:gd name="T6" fmla="*/ 19 w 149"/>
                <a:gd name="T7" fmla="*/ 81 h 248"/>
                <a:gd name="T8" fmla="*/ 13 w 149"/>
                <a:gd name="T9" fmla="*/ 91 h 248"/>
                <a:gd name="T10" fmla="*/ 13 w 149"/>
                <a:gd name="T11" fmla="*/ 115 h 248"/>
                <a:gd name="T12" fmla="*/ 17 w 149"/>
                <a:gd name="T13" fmla="*/ 124 h 248"/>
                <a:gd name="T14" fmla="*/ 4 w 149"/>
                <a:gd name="T15" fmla="*/ 144 h 248"/>
                <a:gd name="T16" fmla="*/ 7 w 149"/>
                <a:gd name="T17" fmla="*/ 148 h 248"/>
                <a:gd name="T18" fmla="*/ 0 w 149"/>
                <a:gd name="T19" fmla="*/ 159 h 248"/>
                <a:gd name="T20" fmla="*/ 6 w 149"/>
                <a:gd name="T21" fmla="*/ 170 h 248"/>
                <a:gd name="T22" fmla="*/ 7 w 149"/>
                <a:gd name="T23" fmla="*/ 178 h 248"/>
                <a:gd name="T24" fmla="*/ 11 w 149"/>
                <a:gd name="T25" fmla="*/ 168 h 248"/>
                <a:gd name="T26" fmla="*/ 22 w 149"/>
                <a:gd name="T27" fmla="*/ 181 h 248"/>
                <a:gd name="T28" fmla="*/ 20 w 149"/>
                <a:gd name="T29" fmla="*/ 194 h 248"/>
                <a:gd name="T30" fmla="*/ 15 w 149"/>
                <a:gd name="T31" fmla="*/ 200 h 248"/>
                <a:gd name="T32" fmla="*/ 22 w 149"/>
                <a:gd name="T33" fmla="*/ 211 h 248"/>
                <a:gd name="T34" fmla="*/ 31 w 149"/>
                <a:gd name="T35" fmla="*/ 215 h 248"/>
                <a:gd name="T36" fmla="*/ 47 w 149"/>
                <a:gd name="T37" fmla="*/ 224 h 248"/>
                <a:gd name="T38" fmla="*/ 60 w 149"/>
                <a:gd name="T39" fmla="*/ 235 h 248"/>
                <a:gd name="T40" fmla="*/ 62 w 149"/>
                <a:gd name="T41" fmla="*/ 242 h 248"/>
                <a:gd name="T42" fmla="*/ 77 w 149"/>
                <a:gd name="T43" fmla="*/ 248 h 248"/>
                <a:gd name="T44" fmla="*/ 90 w 149"/>
                <a:gd name="T45" fmla="*/ 242 h 248"/>
                <a:gd name="T46" fmla="*/ 106 w 149"/>
                <a:gd name="T47" fmla="*/ 233 h 248"/>
                <a:gd name="T48" fmla="*/ 114 w 149"/>
                <a:gd name="T49" fmla="*/ 217 h 248"/>
                <a:gd name="T50" fmla="*/ 121 w 149"/>
                <a:gd name="T51" fmla="*/ 207 h 248"/>
                <a:gd name="T52" fmla="*/ 134 w 149"/>
                <a:gd name="T53" fmla="*/ 183 h 248"/>
                <a:gd name="T54" fmla="*/ 138 w 149"/>
                <a:gd name="T55" fmla="*/ 165 h 248"/>
                <a:gd name="T56" fmla="*/ 140 w 149"/>
                <a:gd name="T57" fmla="*/ 148 h 248"/>
                <a:gd name="T58" fmla="*/ 149 w 149"/>
                <a:gd name="T59" fmla="*/ 137 h 248"/>
                <a:gd name="T60" fmla="*/ 134 w 149"/>
                <a:gd name="T61" fmla="*/ 133 h 248"/>
                <a:gd name="T62" fmla="*/ 129 w 149"/>
                <a:gd name="T63" fmla="*/ 126 h 248"/>
                <a:gd name="T64" fmla="*/ 121 w 149"/>
                <a:gd name="T65" fmla="*/ 128 h 248"/>
                <a:gd name="T66" fmla="*/ 108 w 149"/>
                <a:gd name="T67" fmla="*/ 122 h 248"/>
                <a:gd name="T68" fmla="*/ 105 w 149"/>
                <a:gd name="T69" fmla="*/ 105 h 248"/>
                <a:gd name="T70" fmla="*/ 101 w 149"/>
                <a:gd name="T71" fmla="*/ 93 h 248"/>
                <a:gd name="T72" fmla="*/ 108 w 149"/>
                <a:gd name="T73" fmla="*/ 80 h 248"/>
                <a:gd name="T74" fmla="*/ 108 w 149"/>
                <a:gd name="T75" fmla="*/ 41 h 248"/>
                <a:gd name="T76" fmla="*/ 108 w 149"/>
                <a:gd name="T77" fmla="*/ 28 h 248"/>
                <a:gd name="T78" fmla="*/ 101 w 149"/>
                <a:gd name="T79" fmla="*/ 20 h 248"/>
                <a:gd name="T80" fmla="*/ 88 w 149"/>
                <a:gd name="T81" fmla="*/ 19 h 248"/>
                <a:gd name="T82" fmla="*/ 79 w 149"/>
                <a:gd name="T83" fmla="*/ 15 h 248"/>
                <a:gd name="T84" fmla="*/ 71 w 149"/>
                <a:gd name="T85" fmla="*/ 2 h 248"/>
                <a:gd name="T86" fmla="*/ 62 w 149"/>
                <a:gd name="T87" fmla="*/ 0 h 248"/>
                <a:gd name="T88" fmla="*/ 58 w 149"/>
                <a:gd name="T89" fmla="*/ 6 h 248"/>
                <a:gd name="T90" fmla="*/ 57 w 149"/>
                <a:gd name="T91" fmla="*/ 2 h 248"/>
                <a:gd name="T92" fmla="*/ 41 w 149"/>
                <a:gd name="T93" fmla="*/ 4 h 248"/>
                <a:gd name="T94" fmla="*/ 33 w 149"/>
                <a:gd name="T95" fmla="*/ 0 h 248"/>
                <a:gd name="T96" fmla="*/ 22 w 149"/>
                <a:gd name="T97" fmla="*/ 7 h 248"/>
                <a:gd name="T98" fmla="*/ 20 w 149"/>
                <a:gd name="T99" fmla="*/ 30 h 248"/>
                <a:gd name="T100" fmla="*/ 17 w 149"/>
                <a:gd name="T101" fmla="*/ 44 h 248"/>
                <a:gd name="T102" fmla="*/ 11 w 149"/>
                <a:gd name="T103" fmla="*/ 5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248">
                  <a:moveTo>
                    <a:pt x="11" y="56"/>
                  </a:moveTo>
                  <a:lnTo>
                    <a:pt x="20" y="63"/>
                  </a:lnTo>
                  <a:lnTo>
                    <a:pt x="20" y="74"/>
                  </a:lnTo>
                  <a:lnTo>
                    <a:pt x="19" y="81"/>
                  </a:lnTo>
                  <a:lnTo>
                    <a:pt x="13" y="91"/>
                  </a:lnTo>
                  <a:lnTo>
                    <a:pt x="13" y="115"/>
                  </a:lnTo>
                  <a:lnTo>
                    <a:pt x="17" y="124"/>
                  </a:lnTo>
                  <a:lnTo>
                    <a:pt x="4" y="144"/>
                  </a:lnTo>
                  <a:lnTo>
                    <a:pt x="7" y="148"/>
                  </a:lnTo>
                  <a:lnTo>
                    <a:pt x="0" y="159"/>
                  </a:lnTo>
                  <a:lnTo>
                    <a:pt x="6" y="170"/>
                  </a:lnTo>
                  <a:lnTo>
                    <a:pt x="7" y="178"/>
                  </a:lnTo>
                  <a:lnTo>
                    <a:pt x="11" y="168"/>
                  </a:lnTo>
                  <a:lnTo>
                    <a:pt x="22" y="181"/>
                  </a:lnTo>
                  <a:lnTo>
                    <a:pt x="20" y="194"/>
                  </a:lnTo>
                  <a:lnTo>
                    <a:pt x="15" y="200"/>
                  </a:lnTo>
                  <a:lnTo>
                    <a:pt x="22" y="211"/>
                  </a:lnTo>
                  <a:lnTo>
                    <a:pt x="31" y="215"/>
                  </a:lnTo>
                  <a:lnTo>
                    <a:pt x="47" y="224"/>
                  </a:lnTo>
                  <a:lnTo>
                    <a:pt x="60" y="235"/>
                  </a:lnTo>
                  <a:lnTo>
                    <a:pt x="62" y="242"/>
                  </a:lnTo>
                  <a:lnTo>
                    <a:pt x="77" y="248"/>
                  </a:lnTo>
                  <a:lnTo>
                    <a:pt x="90" y="242"/>
                  </a:lnTo>
                  <a:lnTo>
                    <a:pt x="106" y="233"/>
                  </a:lnTo>
                  <a:lnTo>
                    <a:pt x="114" y="217"/>
                  </a:lnTo>
                  <a:lnTo>
                    <a:pt x="121" y="207"/>
                  </a:lnTo>
                  <a:lnTo>
                    <a:pt x="134" y="183"/>
                  </a:lnTo>
                  <a:lnTo>
                    <a:pt x="138" y="165"/>
                  </a:lnTo>
                  <a:lnTo>
                    <a:pt x="140" y="148"/>
                  </a:lnTo>
                  <a:lnTo>
                    <a:pt x="149" y="137"/>
                  </a:lnTo>
                  <a:lnTo>
                    <a:pt x="134" y="133"/>
                  </a:lnTo>
                  <a:lnTo>
                    <a:pt x="129" y="126"/>
                  </a:lnTo>
                  <a:lnTo>
                    <a:pt x="121" y="128"/>
                  </a:lnTo>
                  <a:lnTo>
                    <a:pt x="108" y="122"/>
                  </a:lnTo>
                  <a:lnTo>
                    <a:pt x="105" y="105"/>
                  </a:lnTo>
                  <a:lnTo>
                    <a:pt x="101" y="93"/>
                  </a:lnTo>
                  <a:lnTo>
                    <a:pt x="108" y="80"/>
                  </a:lnTo>
                  <a:lnTo>
                    <a:pt x="108" y="41"/>
                  </a:lnTo>
                  <a:lnTo>
                    <a:pt x="108" y="28"/>
                  </a:lnTo>
                  <a:lnTo>
                    <a:pt x="101" y="20"/>
                  </a:lnTo>
                  <a:lnTo>
                    <a:pt x="88" y="19"/>
                  </a:lnTo>
                  <a:lnTo>
                    <a:pt x="79" y="15"/>
                  </a:lnTo>
                  <a:lnTo>
                    <a:pt x="71" y="2"/>
                  </a:lnTo>
                  <a:lnTo>
                    <a:pt x="62" y="0"/>
                  </a:lnTo>
                  <a:lnTo>
                    <a:pt x="58" y="6"/>
                  </a:lnTo>
                  <a:lnTo>
                    <a:pt x="57" y="2"/>
                  </a:lnTo>
                  <a:lnTo>
                    <a:pt x="41" y="4"/>
                  </a:lnTo>
                  <a:lnTo>
                    <a:pt x="33" y="0"/>
                  </a:lnTo>
                  <a:lnTo>
                    <a:pt x="22" y="7"/>
                  </a:lnTo>
                  <a:lnTo>
                    <a:pt x="20" y="30"/>
                  </a:lnTo>
                  <a:lnTo>
                    <a:pt x="17" y="44"/>
                  </a:lnTo>
                  <a:lnTo>
                    <a:pt x="11" y="56"/>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4" name="Freeform 432"/>
            <p:cNvSpPr>
              <a:spLocks/>
            </p:cNvSpPr>
            <p:nvPr/>
          </p:nvSpPr>
          <p:spPr bwMode="auto">
            <a:xfrm>
              <a:off x="3504" y="2728"/>
              <a:ext cx="342" cy="363"/>
            </a:xfrm>
            <a:custGeom>
              <a:avLst/>
              <a:gdLst>
                <a:gd name="T0" fmla="*/ 121 w 328"/>
                <a:gd name="T1" fmla="*/ 3 h 388"/>
                <a:gd name="T2" fmla="*/ 169 w 328"/>
                <a:gd name="T3" fmla="*/ 1 h 388"/>
                <a:gd name="T4" fmla="*/ 181 w 328"/>
                <a:gd name="T5" fmla="*/ 12 h 388"/>
                <a:gd name="T6" fmla="*/ 188 w 328"/>
                <a:gd name="T7" fmla="*/ 21 h 388"/>
                <a:gd name="T8" fmla="*/ 197 w 328"/>
                <a:gd name="T9" fmla="*/ 58 h 388"/>
                <a:gd name="T10" fmla="*/ 224 w 328"/>
                <a:gd name="T11" fmla="*/ 66 h 388"/>
                <a:gd name="T12" fmla="*/ 236 w 328"/>
                <a:gd name="T13" fmla="*/ 118 h 388"/>
                <a:gd name="T14" fmla="*/ 253 w 328"/>
                <a:gd name="T15" fmla="*/ 132 h 388"/>
                <a:gd name="T16" fmla="*/ 283 w 328"/>
                <a:gd name="T17" fmla="*/ 127 h 388"/>
                <a:gd name="T18" fmla="*/ 304 w 328"/>
                <a:gd name="T19" fmla="*/ 156 h 388"/>
                <a:gd name="T20" fmla="*/ 302 w 328"/>
                <a:gd name="T21" fmla="*/ 180 h 388"/>
                <a:gd name="T22" fmla="*/ 298 w 328"/>
                <a:gd name="T23" fmla="*/ 193 h 388"/>
                <a:gd name="T24" fmla="*/ 307 w 328"/>
                <a:gd name="T25" fmla="*/ 229 h 388"/>
                <a:gd name="T26" fmla="*/ 328 w 328"/>
                <a:gd name="T27" fmla="*/ 244 h 388"/>
                <a:gd name="T28" fmla="*/ 299 w 328"/>
                <a:gd name="T29" fmla="*/ 290 h 388"/>
                <a:gd name="T30" fmla="*/ 296 w 328"/>
                <a:gd name="T31" fmla="*/ 344 h 388"/>
                <a:gd name="T32" fmla="*/ 272 w 328"/>
                <a:gd name="T33" fmla="*/ 356 h 388"/>
                <a:gd name="T34" fmla="*/ 242 w 328"/>
                <a:gd name="T35" fmla="*/ 362 h 388"/>
                <a:gd name="T36" fmla="*/ 206 w 328"/>
                <a:gd name="T37" fmla="*/ 370 h 388"/>
                <a:gd name="T38" fmla="*/ 179 w 328"/>
                <a:gd name="T39" fmla="*/ 353 h 388"/>
                <a:gd name="T40" fmla="*/ 154 w 328"/>
                <a:gd name="T41" fmla="*/ 341 h 388"/>
                <a:gd name="T42" fmla="*/ 136 w 328"/>
                <a:gd name="T43" fmla="*/ 325 h 388"/>
                <a:gd name="T44" fmla="*/ 105 w 328"/>
                <a:gd name="T45" fmla="*/ 325 h 388"/>
                <a:gd name="T46" fmla="*/ 91 w 328"/>
                <a:gd name="T47" fmla="*/ 359 h 388"/>
                <a:gd name="T48" fmla="*/ 13 w 328"/>
                <a:gd name="T49" fmla="*/ 320 h 388"/>
                <a:gd name="T50" fmla="*/ 18 w 328"/>
                <a:gd name="T51" fmla="*/ 284 h 388"/>
                <a:gd name="T52" fmla="*/ 33 w 328"/>
                <a:gd name="T53" fmla="*/ 253 h 388"/>
                <a:gd name="T54" fmla="*/ 55 w 328"/>
                <a:gd name="T55" fmla="*/ 228 h 388"/>
                <a:gd name="T56" fmla="*/ 75 w 328"/>
                <a:gd name="T57" fmla="*/ 202 h 388"/>
                <a:gd name="T58" fmla="*/ 84 w 328"/>
                <a:gd name="T59" fmla="*/ 177 h 388"/>
                <a:gd name="T60" fmla="*/ 85 w 328"/>
                <a:gd name="T61" fmla="*/ 123 h 388"/>
                <a:gd name="T62" fmla="*/ 72 w 328"/>
                <a:gd name="T63" fmla="*/ 79 h 388"/>
                <a:gd name="T64" fmla="*/ 55 w 328"/>
                <a:gd name="T65" fmla="*/ 27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 h="388">
                  <a:moveTo>
                    <a:pt x="55" y="27"/>
                  </a:moveTo>
                  <a:lnTo>
                    <a:pt x="121" y="3"/>
                  </a:lnTo>
                  <a:lnTo>
                    <a:pt x="151" y="0"/>
                  </a:lnTo>
                  <a:lnTo>
                    <a:pt x="169" y="1"/>
                  </a:lnTo>
                  <a:lnTo>
                    <a:pt x="176" y="6"/>
                  </a:lnTo>
                  <a:lnTo>
                    <a:pt x="181" y="12"/>
                  </a:lnTo>
                  <a:lnTo>
                    <a:pt x="182" y="19"/>
                  </a:lnTo>
                  <a:lnTo>
                    <a:pt x="188" y="21"/>
                  </a:lnTo>
                  <a:lnTo>
                    <a:pt x="196" y="36"/>
                  </a:lnTo>
                  <a:lnTo>
                    <a:pt x="197" y="58"/>
                  </a:lnTo>
                  <a:lnTo>
                    <a:pt x="205" y="66"/>
                  </a:lnTo>
                  <a:lnTo>
                    <a:pt x="224" y="66"/>
                  </a:lnTo>
                  <a:lnTo>
                    <a:pt x="236" y="97"/>
                  </a:lnTo>
                  <a:lnTo>
                    <a:pt x="236" y="118"/>
                  </a:lnTo>
                  <a:lnTo>
                    <a:pt x="244" y="132"/>
                  </a:lnTo>
                  <a:lnTo>
                    <a:pt x="253" y="132"/>
                  </a:lnTo>
                  <a:lnTo>
                    <a:pt x="272" y="118"/>
                  </a:lnTo>
                  <a:lnTo>
                    <a:pt x="283" y="127"/>
                  </a:lnTo>
                  <a:lnTo>
                    <a:pt x="284" y="145"/>
                  </a:lnTo>
                  <a:lnTo>
                    <a:pt x="304" y="156"/>
                  </a:lnTo>
                  <a:lnTo>
                    <a:pt x="301" y="175"/>
                  </a:lnTo>
                  <a:lnTo>
                    <a:pt x="302" y="180"/>
                  </a:lnTo>
                  <a:lnTo>
                    <a:pt x="305" y="183"/>
                  </a:lnTo>
                  <a:lnTo>
                    <a:pt x="298" y="193"/>
                  </a:lnTo>
                  <a:lnTo>
                    <a:pt x="296" y="205"/>
                  </a:lnTo>
                  <a:lnTo>
                    <a:pt x="307" y="229"/>
                  </a:lnTo>
                  <a:lnTo>
                    <a:pt x="323" y="232"/>
                  </a:lnTo>
                  <a:lnTo>
                    <a:pt x="328" y="244"/>
                  </a:lnTo>
                  <a:lnTo>
                    <a:pt x="323" y="268"/>
                  </a:lnTo>
                  <a:lnTo>
                    <a:pt x="299" y="290"/>
                  </a:lnTo>
                  <a:lnTo>
                    <a:pt x="305" y="328"/>
                  </a:lnTo>
                  <a:lnTo>
                    <a:pt x="296" y="344"/>
                  </a:lnTo>
                  <a:lnTo>
                    <a:pt x="302" y="362"/>
                  </a:lnTo>
                  <a:lnTo>
                    <a:pt x="272" y="356"/>
                  </a:lnTo>
                  <a:lnTo>
                    <a:pt x="257" y="362"/>
                  </a:lnTo>
                  <a:lnTo>
                    <a:pt x="242" y="362"/>
                  </a:lnTo>
                  <a:lnTo>
                    <a:pt x="224" y="367"/>
                  </a:lnTo>
                  <a:lnTo>
                    <a:pt x="206" y="370"/>
                  </a:lnTo>
                  <a:lnTo>
                    <a:pt x="178" y="388"/>
                  </a:lnTo>
                  <a:lnTo>
                    <a:pt x="179" y="353"/>
                  </a:lnTo>
                  <a:lnTo>
                    <a:pt x="173" y="344"/>
                  </a:lnTo>
                  <a:lnTo>
                    <a:pt x="154" y="341"/>
                  </a:lnTo>
                  <a:lnTo>
                    <a:pt x="148" y="326"/>
                  </a:lnTo>
                  <a:lnTo>
                    <a:pt x="136" y="325"/>
                  </a:lnTo>
                  <a:lnTo>
                    <a:pt x="131" y="329"/>
                  </a:lnTo>
                  <a:lnTo>
                    <a:pt x="105" y="325"/>
                  </a:lnTo>
                  <a:lnTo>
                    <a:pt x="96" y="332"/>
                  </a:lnTo>
                  <a:lnTo>
                    <a:pt x="91" y="359"/>
                  </a:lnTo>
                  <a:lnTo>
                    <a:pt x="81" y="380"/>
                  </a:lnTo>
                  <a:lnTo>
                    <a:pt x="13" y="320"/>
                  </a:lnTo>
                  <a:lnTo>
                    <a:pt x="0" y="292"/>
                  </a:lnTo>
                  <a:lnTo>
                    <a:pt x="18" y="284"/>
                  </a:lnTo>
                  <a:lnTo>
                    <a:pt x="33" y="276"/>
                  </a:lnTo>
                  <a:lnTo>
                    <a:pt x="33" y="253"/>
                  </a:lnTo>
                  <a:lnTo>
                    <a:pt x="48" y="244"/>
                  </a:lnTo>
                  <a:lnTo>
                    <a:pt x="55" y="228"/>
                  </a:lnTo>
                  <a:lnTo>
                    <a:pt x="72" y="217"/>
                  </a:lnTo>
                  <a:lnTo>
                    <a:pt x="75" y="202"/>
                  </a:lnTo>
                  <a:lnTo>
                    <a:pt x="73" y="186"/>
                  </a:lnTo>
                  <a:lnTo>
                    <a:pt x="84" y="177"/>
                  </a:lnTo>
                  <a:lnTo>
                    <a:pt x="69" y="154"/>
                  </a:lnTo>
                  <a:lnTo>
                    <a:pt x="85" y="123"/>
                  </a:lnTo>
                  <a:lnTo>
                    <a:pt x="67" y="102"/>
                  </a:lnTo>
                  <a:lnTo>
                    <a:pt x="72" y="79"/>
                  </a:lnTo>
                  <a:lnTo>
                    <a:pt x="55" y="58"/>
                  </a:lnTo>
                  <a:lnTo>
                    <a:pt x="55" y="27"/>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5" name="Freeform 433"/>
            <p:cNvSpPr>
              <a:spLocks/>
            </p:cNvSpPr>
            <p:nvPr/>
          </p:nvSpPr>
          <p:spPr bwMode="auto">
            <a:xfrm>
              <a:off x="3724" y="1640"/>
              <a:ext cx="47" cy="34"/>
            </a:xfrm>
            <a:custGeom>
              <a:avLst/>
              <a:gdLst>
                <a:gd name="T0" fmla="*/ 26 w 44"/>
                <a:gd name="T1" fmla="*/ 0 h 37"/>
                <a:gd name="T2" fmla="*/ 6 w 44"/>
                <a:gd name="T3" fmla="*/ 13 h 37"/>
                <a:gd name="T4" fmla="*/ 0 w 44"/>
                <a:gd name="T5" fmla="*/ 20 h 37"/>
                <a:gd name="T6" fmla="*/ 13 w 44"/>
                <a:gd name="T7" fmla="*/ 24 h 37"/>
                <a:gd name="T8" fmla="*/ 24 w 44"/>
                <a:gd name="T9" fmla="*/ 37 h 37"/>
                <a:gd name="T10" fmla="*/ 33 w 44"/>
                <a:gd name="T11" fmla="*/ 28 h 37"/>
                <a:gd name="T12" fmla="*/ 44 w 44"/>
                <a:gd name="T13" fmla="*/ 20 h 37"/>
                <a:gd name="T14" fmla="*/ 35 w 44"/>
                <a:gd name="T15" fmla="*/ 11 h 37"/>
                <a:gd name="T16" fmla="*/ 26 w 44"/>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7">
                  <a:moveTo>
                    <a:pt x="26" y="0"/>
                  </a:moveTo>
                  <a:lnTo>
                    <a:pt x="6" y="13"/>
                  </a:lnTo>
                  <a:lnTo>
                    <a:pt x="0" y="20"/>
                  </a:lnTo>
                  <a:lnTo>
                    <a:pt x="13" y="24"/>
                  </a:lnTo>
                  <a:lnTo>
                    <a:pt x="24" y="37"/>
                  </a:lnTo>
                  <a:lnTo>
                    <a:pt x="33" y="28"/>
                  </a:lnTo>
                  <a:lnTo>
                    <a:pt x="44" y="20"/>
                  </a:lnTo>
                  <a:lnTo>
                    <a:pt x="35" y="11"/>
                  </a:lnTo>
                  <a:lnTo>
                    <a:pt x="26"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6" name="Freeform 434"/>
            <p:cNvSpPr>
              <a:spLocks/>
            </p:cNvSpPr>
            <p:nvPr/>
          </p:nvSpPr>
          <p:spPr bwMode="auto">
            <a:xfrm>
              <a:off x="2296" y="1833"/>
              <a:ext cx="39" cy="27"/>
            </a:xfrm>
            <a:custGeom>
              <a:avLst/>
              <a:gdLst>
                <a:gd name="T0" fmla="*/ 19 w 37"/>
                <a:gd name="T1" fmla="*/ 0 h 27"/>
                <a:gd name="T2" fmla="*/ 35 w 37"/>
                <a:gd name="T3" fmla="*/ 2 h 27"/>
                <a:gd name="T4" fmla="*/ 37 w 37"/>
                <a:gd name="T5" fmla="*/ 12 h 27"/>
                <a:gd name="T6" fmla="*/ 20 w 37"/>
                <a:gd name="T7" fmla="*/ 23 h 27"/>
                <a:gd name="T8" fmla="*/ 2 w 37"/>
                <a:gd name="T9" fmla="*/ 27 h 27"/>
                <a:gd name="T10" fmla="*/ 0 w 37"/>
                <a:gd name="T11" fmla="*/ 15 h 27"/>
                <a:gd name="T12" fmla="*/ 19 w 3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37" h="27">
                  <a:moveTo>
                    <a:pt x="19" y="0"/>
                  </a:moveTo>
                  <a:lnTo>
                    <a:pt x="35" y="2"/>
                  </a:lnTo>
                  <a:lnTo>
                    <a:pt x="37" y="12"/>
                  </a:lnTo>
                  <a:lnTo>
                    <a:pt x="20" y="23"/>
                  </a:lnTo>
                  <a:lnTo>
                    <a:pt x="2" y="27"/>
                  </a:lnTo>
                  <a:lnTo>
                    <a:pt x="0" y="15"/>
                  </a:lnTo>
                  <a:lnTo>
                    <a:pt x="19"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7" name="Freeform 435"/>
            <p:cNvSpPr>
              <a:spLocks/>
            </p:cNvSpPr>
            <p:nvPr/>
          </p:nvSpPr>
          <p:spPr bwMode="auto">
            <a:xfrm>
              <a:off x="2269" y="1670"/>
              <a:ext cx="40" cy="24"/>
            </a:xfrm>
            <a:custGeom>
              <a:avLst/>
              <a:gdLst>
                <a:gd name="T0" fmla="*/ 31 w 37"/>
                <a:gd name="T1" fmla="*/ 0 h 27"/>
                <a:gd name="T2" fmla="*/ 37 w 37"/>
                <a:gd name="T3" fmla="*/ 13 h 27"/>
                <a:gd name="T4" fmla="*/ 19 w 37"/>
                <a:gd name="T5" fmla="*/ 23 h 27"/>
                <a:gd name="T6" fmla="*/ 4 w 37"/>
                <a:gd name="T7" fmla="*/ 27 h 27"/>
                <a:gd name="T8" fmla="*/ 0 w 37"/>
                <a:gd name="T9" fmla="*/ 14 h 27"/>
                <a:gd name="T10" fmla="*/ 7 w 37"/>
                <a:gd name="T11" fmla="*/ 5 h 27"/>
                <a:gd name="T12" fmla="*/ 31 w 3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37" h="27">
                  <a:moveTo>
                    <a:pt x="31" y="0"/>
                  </a:moveTo>
                  <a:lnTo>
                    <a:pt x="37" y="13"/>
                  </a:lnTo>
                  <a:lnTo>
                    <a:pt x="19" y="23"/>
                  </a:lnTo>
                  <a:lnTo>
                    <a:pt x="4" y="27"/>
                  </a:lnTo>
                  <a:lnTo>
                    <a:pt x="0" y="14"/>
                  </a:lnTo>
                  <a:lnTo>
                    <a:pt x="7" y="5"/>
                  </a:lnTo>
                  <a:lnTo>
                    <a:pt x="31"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8" name="Freeform 436"/>
            <p:cNvSpPr>
              <a:spLocks/>
            </p:cNvSpPr>
            <p:nvPr/>
          </p:nvSpPr>
          <p:spPr bwMode="auto">
            <a:xfrm>
              <a:off x="2326" y="1542"/>
              <a:ext cx="21" cy="46"/>
            </a:xfrm>
            <a:custGeom>
              <a:avLst/>
              <a:gdLst>
                <a:gd name="T0" fmla="*/ 9 w 20"/>
                <a:gd name="T1" fmla="*/ 52 h 52"/>
                <a:gd name="T2" fmla="*/ 20 w 20"/>
                <a:gd name="T3" fmla="*/ 39 h 52"/>
                <a:gd name="T4" fmla="*/ 16 w 20"/>
                <a:gd name="T5" fmla="*/ 22 h 52"/>
                <a:gd name="T6" fmla="*/ 13 w 20"/>
                <a:gd name="T7" fmla="*/ 13 h 52"/>
                <a:gd name="T8" fmla="*/ 9 w 20"/>
                <a:gd name="T9" fmla="*/ 0 h 52"/>
                <a:gd name="T10" fmla="*/ 0 w 20"/>
                <a:gd name="T11" fmla="*/ 6 h 52"/>
                <a:gd name="T12" fmla="*/ 5 w 20"/>
                <a:gd name="T13" fmla="*/ 24 h 52"/>
                <a:gd name="T14" fmla="*/ 9 w 20"/>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2">
                  <a:moveTo>
                    <a:pt x="9" y="52"/>
                  </a:moveTo>
                  <a:lnTo>
                    <a:pt x="20" y="39"/>
                  </a:lnTo>
                  <a:lnTo>
                    <a:pt x="16" y="22"/>
                  </a:lnTo>
                  <a:lnTo>
                    <a:pt x="13" y="13"/>
                  </a:lnTo>
                  <a:lnTo>
                    <a:pt x="9" y="0"/>
                  </a:lnTo>
                  <a:lnTo>
                    <a:pt x="0" y="6"/>
                  </a:lnTo>
                  <a:lnTo>
                    <a:pt x="5" y="24"/>
                  </a:lnTo>
                  <a:lnTo>
                    <a:pt x="9" y="5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29" name="Freeform 437"/>
            <p:cNvSpPr>
              <a:spLocks/>
            </p:cNvSpPr>
            <p:nvPr/>
          </p:nvSpPr>
          <p:spPr bwMode="auto">
            <a:xfrm>
              <a:off x="2171" y="1729"/>
              <a:ext cx="103" cy="96"/>
            </a:xfrm>
            <a:custGeom>
              <a:avLst/>
              <a:gdLst>
                <a:gd name="T0" fmla="*/ 34 w 97"/>
                <a:gd name="T1" fmla="*/ 0 h 99"/>
                <a:gd name="T2" fmla="*/ 56 w 97"/>
                <a:gd name="T3" fmla="*/ 0 h 99"/>
                <a:gd name="T4" fmla="*/ 73 w 97"/>
                <a:gd name="T5" fmla="*/ 4 h 99"/>
                <a:gd name="T6" fmla="*/ 84 w 97"/>
                <a:gd name="T7" fmla="*/ 20 h 99"/>
                <a:gd name="T8" fmla="*/ 95 w 97"/>
                <a:gd name="T9" fmla="*/ 46 h 99"/>
                <a:gd name="T10" fmla="*/ 97 w 97"/>
                <a:gd name="T11" fmla="*/ 68 h 99"/>
                <a:gd name="T12" fmla="*/ 86 w 97"/>
                <a:gd name="T13" fmla="*/ 79 h 99"/>
                <a:gd name="T14" fmla="*/ 82 w 97"/>
                <a:gd name="T15" fmla="*/ 94 h 99"/>
                <a:gd name="T16" fmla="*/ 71 w 97"/>
                <a:gd name="T17" fmla="*/ 99 h 99"/>
                <a:gd name="T18" fmla="*/ 60 w 97"/>
                <a:gd name="T19" fmla="*/ 86 h 99"/>
                <a:gd name="T20" fmla="*/ 50 w 97"/>
                <a:gd name="T21" fmla="*/ 62 h 99"/>
                <a:gd name="T22" fmla="*/ 43 w 97"/>
                <a:gd name="T23" fmla="*/ 53 h 99"/>
                <a:gd name="T24" fmla="*/ 24 w 97"/>
                <a:gd name="T25" fmla="*/ 51 h 99"/>
                <a:gd name="T26" fmla="*/ 0 w 97"/>
                <a:gd name="T27" fmla="*/ 26 h 99"/>
                <a:gd name="T28" fmla="*/ 34 w 97"/>
                <a:gd name="T2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99">
                  <a:moveTo>
                    <a:pt x="34" y="0"/>
                  </a:moveTo>
                  <a:lnTo>
                    <a:pt x="56" y="0"/>
                  </a:lnTo>
                  <a:lnTo>
                    <a:pt x="73" y="4"/>
                  </a:lnTo>
                  <a:lnTo>
                    <a:pt x="84" y="20"/>
                  </a:lnTo>
                  <a:lnTo>
                    <a:pt x="95" y="46"/>
                  </a:lnTo>
                  <a:lnTo>
                    <a:pt x="97" y="68"/>
                  </a:lnTo>
                  <a:lnTo>
                    <a:pt x="86" y="79"/>
                  </a:lnTo>
                  <a:lnTo>
                    <a:pt x="82" y="94"/>
                  </a:lnTo>
                  <a:lnTo>
                    <a:pt x="71" y="99"/>
                  </a:lnTo>
                  <a:lnTo>
                    <a:pt x="60" y="86"/>
                  </a:lnTo>
                  <a:lnTo>
                    <a:pt x="50" y="62"/>
                  </a:lnTo>
                  <a:lnTo>
                    <a:pt x="43" y="53"/>
                  </a:lnTo>
                  <a:lnTo>
                    <a:pt x="24" y="51"/>
                  </a:lnTo>
                  <a:lnTo>
                    <a:pt x="0" y="26"/>
                  </a:lnTo>
                  <a:lnTo>
                    <a:pt x="34"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0" name="Freeform 438"/>
            <p:cNvSpPr>
              <a:spLocks/>
            </p:cNvSpPr>
            <p:nvPr/>
          </p:nvSpPr>
          <p:spPr bwMode="auto">
            <a:xfrm>
              <a:off x="2320" y="1486"/>
              <a:ext cx="54" cy="33"/>
            </a:xfrm>
            <a:custGeom>
              <a:avLst/>
              <a:gdLst>
                <a:gd name="T0" fmla="*/ 44 w 50"/>
                <a:gd name="T1" fmla="*/ 0 h 37"/>
                <a:gd name="T2" fmla="*/ 50 w 50"/>
                <a:gd name="T3" fmla="*/ 9 h 37"/>
                <a:gd name="T4" fmla="*/ 31 w 50"/>
                <a:gd name="T5" fmla="*/ 20 h 37"/>
                <a:gd name="T6" fmla="*/ 13 w 50"/>
                <a:gd name="T7" fmla="*/ 37 h 37"/>
                <a:gd name="T8" fmla="*/ 2 w 50"/>
                <a:gd name="T9" fmla="*/ 33 h 37"/>
                <a:gd name="T10" fmla="*/ 0 w 50"/>
                <a:gd name="T11" fmla="*/ 13 h 37"/>
                <a:gd name="T12" fmla="*/ 0 w 50"/>
                <a:gd name="T13" fmla="*/ 6 h 37"/>
                <a:gd name="T14" fmla="*/ 30 w 50"/>
                <a:gd name="T15" fmla="*/ 0 h 37"/>
                <a:gd name="T16" fmla="*/ 44 w 50"/>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7">
                  <a:moveTo>
                    <a:pt x="44" y="0"/>
                  </a:moveTo>
                  <a:lnTo>
                    <a:pt x="50" y="9"/>
                  </a:lnTo>
                  <a:lnTo>
                    <a:pt x="31" y="20"/>
                  </a:lnTo>
                  <a:lnTo>
                    <a:pt x="13" y="37"/>
                  </a:lnTo>
                  <a:lnTo>
                    <a:pt x="2" y="33"/>
                  </a:lnTo>
                  <a:lnTo>
                    <a:pt x="0" y="13"/>
                  </a:lnTo>
                  <a:lnTo>
                    <a:pt x="0" y="6"/>
                  </a:lnTo>
                  <a:lnTo>
                    <a:pt x="30" y="0"/>
                  </a:lnTo>
                  <a:lnTo>
                    <a:pt x="44"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1" name="Freeform 439"/>
            <p:cNvSpPr>
              <a:spLocks/>
            </p:cNvSpPr>
            <p:nvPr/>
          </p:nvSpPr>
          <p:spPr bwMode="auto">
            <a:xfrm>
              <a:off x="2269" y="3163"/>
              <a:ext cx="34" cy="23"/>
            </a:xfrm>
            <a:custGeom>
              <a:avLst/>
              <a:gdLst>
                <a:gd name="T0" fmla="*/ 31 w 31"/>
                <a:gd name="T1" fmla="*/ 0 h 22"/>
                <a:gd name="T2" fmla="*/ 16 w 31"/>
                <a:gd name="T3" fmla="*/ 0 h 22"/>
                <a:gd name="T4" fmla="*/ 0 w 31"/>
                <a:gd name="T5" fmla="*/ 15 h 22"/>
                <a:gd name="T6" fmla="*/ 8 w 31"/>
                <a:gd name="T7" fmla="*/ 22 h 22"/>
                <a:gd name="T8" fmla="*/ 23 w 31"/>
                <a:gd name="T9" fmla="*/ 22 h 22"/>
                <a:gd name="T10" fmla="*/ 31 w 31"/>
                <a:gd name="T11" fmla="*/ 0 h 22"/>
              </a:gdLst>
              <a:ahLst/>
              <a:cxnLst>
                <a:cxn ang="0">
                  <a:pos x="T0" y="T1"/>
                </a:cxn>
                <a:cxn ang="0">
                  <a:pos x="T2" y="T3"/>
                </a:cxn>
                <a:cxn ang="0">
                  <a:pos x="T4" y="T5"/>
                </a:cxn>
                <a:cxn ang="0">
                  <a:pos x="T6" y="T7"/>
                </a:cxn>
                <a:cxn ang="0">
                  <a:pos x="T8" y="T9"/>
                </a:cxn>
                <a:cxn ang="0">
                  <a:pos x="T10" y="T11"/>
                </a:cxn>
              </a:cxnLst>
              <a:rect l="0" t="0" r="r" b="b"/>
              <a:pathLst>
                <a:path w="31" h="22">
                  <a:moveTo>
                    <a:pt x="31" y="0"/>
                  </a:moveTo>
                  <a:lnTo>
                    <a:pt x="16" y="0"/>
                  </a:lnTo>
                  <a:lnTo>
                    <a:pt x="0" y="15"/>
                  </a:lnTo>
                  <a:lnTo>
                    <a:pt x="8" y="22"/>
                  </a:lnTo>
                  <a:lnTo>
                    <a:pt x="23" y="22"/>
                  </a:lnTo>
                  <a:lnTo>
                    <a:pt x="31"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2" name="Freeform 440"/>
            <p:cNvSpPr>
              <a:spLocks/>
            </p:cNvSpPr>
            <p:nvPr/>
          </p:nvSpPr>
          <p:spPr bwMode="auto">
            <a:xfrm>
              <a:off x="2361" y="3111"/>
              <a:ext cx="76" cy="52"/>
            </a:xfrm>
            <a:custGeom>
              <a:avLst/>
              <a:gdLst>
                <a:gd name="T0" fmla="*/ 53 w 72"/>
                <a:gd name="T1" fmla="*/ 0 h 56"/>
                <a:gd name="T2" fmla="*/ 45 w 72"/>
                <a:gd name="T3" fmla="*/ 7 h 56"/>
                <a:gd name="T4" fmla="*/ 15 w 72"/>
                <a:gd name="T5" fmla="*/ 11 h 56"/>
                <a:gd name="T6" fmla="*/ 0 w 72"/>
                <a:gd name="T7" fmla="*/ 30 h 56"/>
                <a:gd name="T8" fmla="*/ 22 w 72"/>
                <a:gd name="T9" fmla="*/ 45 h 56"/>
                <a:gd name="T10" fmla="*/ 34 w 72"/>
                <a:gd name="T11" fmla="*/ 56 h 56"/>
                <a:gd name="T12" fmla="*/ 57 w 72"/>
                <a:gd name="T13" fmla="*/ 52 h 56"/>
                <a:gd name="T14" fmla="*/ 72 w 72"/>
                <a:gd name="T15" fmla="*/ 45 h 56"/>
                <a:gd name="T16" fmla="*/ 68 w 72"/>
                <a:gd name="T17" fmla="*/ 30 h 56"/>
                <a:gd name="T18" fmla="*/ 57 w 72"/>
                <a:gd name="T19" fmla="*/ 19 h 56"/>
                <a:gd name="T20" fmla="*/ 53 w 72"/>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6">
                  <a:moveTo>
                    <a:pt x="53" y="0"/>
                  </a:moveTo>
                  <a:lnTo>
                    <a:pt x="45" y="7"/>
                  </a:lnTo>
                  <a:lnTo>
                    <a:pt x="15" y="11"/>
                  </a:lnTo>
                  <a:lnTo>
                    <a:pt x="0" y="30"/>
                  </a:lnTo>
                  <a:lnTo>
                    <a:pt x="22" y="45"/>
                  </a:lnTo>
                  <a:lnTo>
                    <a:pt x="34" y="56"/>
                  </a:lnTo>
                  <a:lnTo>
                    <a:pt x="57" y="52"/>
                  </a:lnTo>
                  <a:lnTo>
                    <a:pt x="72" y="45"/>
                  </a:lnTo>
                  <a:lnTo>
                    <a:pt x="68" y="30"/>
                  </a:lnTo>
                  <a:lnTo>
                    <a:pt x="57" y="19"/>
                  </a:lnTo>
                  <a:lnTo>
                    <a:pt x="53"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3" name="Freeform 441"/>
            <p:cNvSpPr>
              <a:spLocks/>
            </p:cNvSpPr>
            <p:nvPr/>
          </p:nvSpPr>
          <p:spPr bwMode="auto">
            <a:xfrm>
              <a:off x="2479" y="3115"/>
              <a:ext cx="23" cy="28"/>
            </a:xfrm>
            <a:custGeom>
              <a:avLst/>
              <a:gdLst>
                <a:gd name="T0" fmla="*/ 15 w 23"/>
                <a:gd name="T1" fmla="*/ 0 h 29"/>
                <a:gd name="T2" fmla="*/ 0 w 23"/>
                <a:gd name="T3" fmla="*/ 7 h 29"/>
                <a:gd name="T4" fmla="*/ 12 w 23"/>
                <a:gd name="T5" fmla="*/ 18 h 29"/>
                <a:gd name="T6" fmla="*/ 23 w 23"/>
                <a:gd name="T7" fmla="*/ 29 h 29"/>
                <a:gd name="T8" fmla="*/ 15 w 23"/>
                <a:gd name="T9" fmla="*/ 0 h 29"/>
              </a:gdLst>
              <a:ahLst/>
              <a:cxnLst>
                <a:cxn ang="0">
                  <a:pos x="T0" y="T1"/>
                </a:cxn>
                <a:cxn ang="0">
                  <a:pos x="T2" y="T3"/>
                </a:cxn>
                <a:cxn ang="0">
                  <a:pos x="T4" y="T5"/>
                </a:cxn>
                <a:cxn ang="0">
                  <a:pos x="T6" y="T7"/>
                </a:cxn>
                <a:cxn ang="0">
                  <a:pos x="T8" y="T9"/>
                </a:cxn>
              </a:cxnLst>
              <a:rect l="0" t="0" r="r" b="b"/>
              <a:pathLst>
                <a:path w="23" h="29">
                  <a:moveTo>
                    <a:pt x="15" y="0"/>
                  </a:moveTo>
                  <a:lnTo>
                    <a:pt x="0" y="7"/>
                  </a:lnTo>
                  <a:lnTo>
                    <a:pt x="12" y="18"/>
                  </a:lnTo>
                  <a:lnTo>
                    <a:pt x="23" y="29"/>
                  </a:lnTo>
                  <a:lnTo>
                    <a:pt x="1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4" name="Freeform 442"/>
            <p:cNvSpPr>
              <a:spLocks/>
            </p:cNvSpPr>
            <p:nvPr/>
          </p:nvSpPr>
          <p:spPr bwMode="auto">
            <a:xfrm>
              <a:off x="2789" y="3086"/>
              <a:ext cx="123" cy="185"/>
            </a:xfrm>
            <a:custGeom>
              <a:avLst/>
              <a:gdLst>
                <a:gd name="T0" fmla="*/ 70 w 118"/>
                <a:gd name="T1" fmla="*/ 0 h 193"/>
                <a:gd name="T2" fmla="*/ 52 w 118"/>
                <a:gd name="T3" fmla="*/ 11 h 193"/>
                <a:gd name="T4" fmla="*/ 37 w 118"/>
                <a:gd name="T5" fmla="*/ 22 h 193"/>
                <a:gd name="T6" fmla="*/ 22 w 118"/>
                <a:gd name="T7" fmla="*/ 26 h 193"/>
                <a:gd name="T8" fmla="*/ 0 w 118"/>
                <a:gd name="T9" fmla="*/ 22 h 193"/>
                <a:gd name="T10" fmla="*/ 4 w 118"/>
                <a:gd name="T11" fmla="*/ 45 h 193"/>
                <a:gd name="T12" fmla="*/ 15 w 118"/>
                <a:gd name="T13" fmla="*/ 59 h 193"/>
                <a:gd name="T14" fmla="*/ 11 w 118"/>
                <a:gd name="T15" fmla="*/ 97 h 193"/>
                <a:gd name="T16" fmla="*/ 11 w 118"/>
                <a:gd name="T17" fmla="*/ 115 h 193"/>
                <a:gd name="T18" fmla="*/ 15 w 118"/>
                <a:gd name="T19" fmla="*/ 130 h 193"/>
                <a:gd name="T20" fmla="*/ 4 w 118"/>
                <a:gd name="T21" fmla="*/ 160 h 193"/>
                <a:gd name="T22" fmla="*/ 7 w 118"/>
                <a:gd name="T23" fmla="*/ 182 h 193"/>
                <a:gd name="T24" fmla="*/ 22 w 118"/>
                <a:gd name="T25" fmla="*/ 193 h 193"/>
                <a:gd name="T26" fmla="*/ 44 w 118"/>
                <a:gd name="T27" fmla="*/ 178 h 193"/>
                <a:gd name="T28" fmla="*/ 52 w 118"/>
                <a:gd name="T29" fmla="*/ 174 h 193"/>
                <a:gd name="T30" fmla="*/ 74 w 118"/>
                <a:gd name="T31" fmla="*/ 178 h 193"/>
                <a:gd name="T32" fmla="*/ 89 w 118"/>
                <a:gd name="T33" fmla="*/ 163 h 193"/>
                <a:gd name="T34" fmla="*/ 89 w 118"/>
                <a:gd name="T35" fmla="*/ 148 h 193"/>
                <a:gd name="T36" fmla="*/ 107 w 118"/>
                <a:gd name="T37" fmla="*/ 119 h 193"/>
                <a:gd name="T38" fmla="*/ 114 w 118"/>
                <a:gd name="T39" fmla="*/ 100 h 193"/>
                <a:gd name="T40" fmla="*/ 107 w 118"/>
                <a:gd name="T41" fmla="*/ 82 h 193"/>
                <a:gd name="T42" fmla="*/ 118 w 118"/>
                <a:gd name="T43" fmla="*/ 59 h 193"/>
                <a:gd name="T44" fmla="*/ 111 w 118"/>
                <a:gd name="T45" fmla="*/ 26 h 193"/>
                <a:gd name="T46" fmla="*/ 107 w 118"/>
                <a:gd name="T47" fmla="*/ 7 h 193"/>
                <a:gd name="T48" fmla="*/ 70 w 118"/>
                <a:gd name="T49"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8" h="193">
                  <a:moveTo>
                    <a:pt x="70" y="0"/>
                  </a:moveTo>
                  <a:lnTo>
                    <a:pt x="52" y="11"/>
                  </a:lnTo>
                  <a:lnTo>
                    <a:pt x="37" y="22"/>
                  </a:lnTo>
                  <a:lnTo>
                    <a:pt x="22" y="26"/>
                  </a:lnTo>
                  <a:lnTo>
                    <a:pt x="0" y="22"/>
                  </a:lnTo>
                  <a:lnTo>
                    <a:pt x="4" y="45"/>
                  </a:lnTo>
                  <a:lnTo>
                    <a:pt x="15" y="59"/>
                  </a:lnTo>
                  <a:lnTo>
                    <a:pt x="11" y="97"/>
                  </a:lnTo>
                  <a:lnTo>
                    <a:pt x="11" y="115"/>
                  </a:lnTo>
                  <a:lnTo>
                    <a:pt x="15" y="130"/>
                  </a:lnTo>
                  <a:lnTo>
                    <a:pt x="4" y="160"/>
                  </a:lnTo>
                  <a:lnTo>
                    <a:pt x="7" y="182"/>
                  </a:lnTo>
                  <a:lnTo>
                    <a:pt x="22" y="193"/>
                  </a:lnTo>
                  <a:lnTo>
                    <a:pt x="44" y="178"/>
                  </a:lnTo>
                  <a:lnTo>
                    <a:pt x="52" y="174"/>
                  </a:lnTo>
                  <a:lnTo>
                    <a:pt x="74" y="178"/>
                  </a:lnTo>
                  <a:lnTo>
                    <a:pt x="89" y="163"/>
                  </a:lnTo>
                  <a:lnTo>
                    <a:pt x="89" y="148"/>
                  </a:lnTo>
                  <a:lnTo>
                    <a:pt x="107" y="119"/>
                  </a:lnTo>
                  <a:lnTo>
                    <a:pt x="114" y="100"/>
                  </a:lnTo>
                  <a:lnTo>
                    <a:pt x="107" y="82"/>
                  </a:lnTo>
                  <a:lnTo>
                    <a:pt x="118" y="59"/>
                  </a:lnTo>
                  <a:lnTo>
                    <a:pt x="111" y="26"/>
                  </a:lnTo>
                  <a:lnTo>
                    <a:pt x="107" y="7"/>
                  </a:lnTo>
                  <a:lnTo>
                    <a:pt x="70" y="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5" name="Freeform 443"/>
            <p:cNvSpPr>
              <a:spLocks/>
            </p:cNvSpPr>
            <p:nvPr/>
          </p:nvSpPr>
          <p:spPr bwMode="auto">
            <a:xfrm>
              <a:off x="3073" y="3371"/>
              <a:ext cx="230" cy="129"/>
            </a:xfrm>
            <a:custGeom>
              <a:avLst/>
              <a:gdLst>
                <a:gd name="T0" fmla="*/ 205 w 216"/>
                <a:gd name="T1" fmla="*/ 0 h 136"/>
                <a:gd name="T2" fmla="*/ 216 w 216"/>
                <a:gd name="T3" fmla="*/ 11 h 136"/>
                <a:gd name="T4" fmla="*/ 209 w 216"/>
                <a:gd name="T5" fmla="*/ 22 h 136"/>
                <a:gd name="T6" fmla="*/ 201 w 216"/>
                <a:gd name="T7" fmla="*/ 40 h 136"/>
                <a:gd name="T8" fmla="*/ 190 w 216"/>
                <a:gd name="T9" fmla="*/ 51 h 136"/>
                <a:gd name="T10" fmla="*/ 194 w 216"/>
                <a:gd name="T11" fmla="*/ 85 h 136"/>
                <a:gd name="T12" fmla="*/ 201 w 216"/>
                <a:gd name="T13" fmla="*/ 110 h 136"/>
                <a:gd name="T14" fmla="*/ 182 w 216"/>
                <a:gd name="T15" fmla="*/ 121 h 136"/>
                <a:gd name="T16" fmla="*/ 179 w 216"/>
                <a:gd name="T17" fmla="*/ 132 h 136"/>
                <a:gd name="T18" fmla="*/ 164 w 216"/>
                <a:gd name="T19" fmla="*/ 136 h 136"/>
                <a:gd name="T20" fmla="*/ 142 w 216"/>
                <a:gd name="T21" fmla="*/ 114 h 136"/>
                <a:gd name="T22" fmla="*/ 127 w 216"/>
                <a:gd name="T23" fmla="*/ 114 h 136"/>
                <a:gd name="T24" fmla="*/ 115 w 216"/>
                <a:gd name="T25" fmla="*/ 96 h 136"/>
                <a:gd name="T26" fmla="*/ 93 w 216"/>
                <a:gd name="T27" fmla="*/ 85 h 136"/>
                <a:gd name="T28" fmla="*/ 78 w 216"/>
                <a:gd name="T29" fmla="*/ 81 h 136"/>
                <a:gd name="T30" fmla="*/ 63 w 216"/>
                <a:gd name="T31" fmla="*/ 74 h 136"/>
                <a:gd name="T32" fmla="*/ 48 w 216"/>
                <a:gd name="T33" fmla="*/ 62 h 136"/>
                <a:gd name="T34" fmla="*/ 22 w 216"/>
                <a:gd name="T35" fmla="*/ 44 h 136"/>
                <a:gd name="T36" fmla="*/ 11 w 216"/>
                <a:gd name="T37" fmla="*/ 40 h 136"/>
                <a:gd name="T38" fmla="*/ 0 w 216"/>
                <a:gd name="T39" fmla="*/ 29 h 136"/>
                <a:gd name="T40" fmla="*/ 0 w 216"/>
                <a:gd name="T41" fmla="*/ 15 h 136"/>
                <a:gd name="T42" fmla="*/ 4 w 216"/>
                <a:gd name="T43" fmla="*/ 4 h 136"/>
                <a:gd name="T44" fmla="*/ 26 w 216"/>
                <a:gd name="T45" fmla="*/ 7 h 136"/>
                <a:gd name="T46" fmla="*/ 60 w 216"/>
                <a:gd name="T47" fmla="*/ 7 h 136"/>
                <a:gd name="T48" fmla="*/ 67 w 216"/>
                <a:gd name="T49" fmla="*/ 18 h 136"/>
                <a:gd name="T50" fmla="*/ 104 w 216"/>
                <a:gd name="T51" fmla="*/ 18 h 136"/>
                <a:gd name="T52" fmla="*/ 130 w 216"/>
                <a:gd name="T53" fmla="*/ 18 h 136"/>
                <a:gd name="T54" fmla="*/ 164 w 216"/>
                <a:gd name="T55" fmla="*/ 11 h 136"/>
                <a:gd name="T56" fmla="*/ 205 w 216"/>
                <a:gd name="T5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6" h="136">
                  <a:moveTo>
                    <a:pt x="205" y="0"/>
                  </a:moveTo>
                  <a:lnTo>
                    <a:pt x="216" y="11"/>
                  </a:lnTo>
                  <a:lnTo>
                    <a:pt x="209" y="22"/>
                  </a:lnTo>
                  <a:lnTo>
                    <a:pt x="201" y="40"/>
                  </a:lnTo>
                  <a:lnTo>
                    <a:pt x="190" y="51"/>
                  </a:lnTo>
                  <a:lnTo>
                    <a:pt x="194" y="85"/>
                  </a:lnTo>
                  <a:lnTo>
                    <a:pt x="201" y="110"/>
                  </a:lnTo>
                  <a:lnTo>
                    <a:pt x="182" y="121"/>
                  </a:lnTo>
                  <a:lnTo>
                    <a:pt x="179" y="132"/>
                  </a:lnTo>
                  <a:lnTo>
                    <a:pt x="164" y="136"/>
                  </a:lnTo>
                  <a:lnTo>
                    <a:pt x="142" y="114"/>
                  </a:lnTo>
                  <a:lnTo>
                    <a:pt x="127" y="114"/>
                  </a:lnTo>
                  <a:lnTo>
                    <a:pt x="115" y="96"/>
                  </a:lnTo>
                  <a:lnTo>
                    <a:pt x="93" y="85"/>
                  </a:lnTo>
                  <a:lnTo>
                    <a:pt x="78" y="81"/>
                  </a:lnTo>
                  <a:lnTo>
                    <a:pt x="63" y="74"/>
                  </a:lnTo>
                  <a:lnTo>
                    <a:pt x="48" y="62"/>
                  </a:lnTo>
                  <a:lnTo>
                    <a:pt x="22" y="44"/>
                  </a:lnTo>
                  <a:lnTo>
                    <a:pt x="11" y="40"/>
                  </a:lnTo>
                  <a:lnTo>
                    <a:pt x="0" y="29"/>
                  </a:lnTo>
                  <a:lnTo>
                    <a:pt x="0" y="15"/>
                  </a:lnTo>
                  <a:lnTo>
                    <a:pt x="4" y="4"/>
                  </a:lnTo>
                  <a:lnTo>
                    <a:pt x="26" y="7"/>
                  </a:lnTo>
                  <a:lnTo>
                    <a:pt x="60" y="7"/>
                  </a:lnTo>
                  <a:lnTo>
                    <a:pt x="67" y="18"/>
                  </a:lnTo>
                  <a:lnTo>
                    <a:pt x="104" y="18"/>
                  </a:lnTo>
                  <a:lnTo>
                    <a:pt x="130" y="18"/>
                  </a:lnTo>
                  <a:lnTo>
                    <a:pt x="164" y="11"/>
                  </a:lnTo>
                  <a:lnTo>
                    <a:pt x="205" y="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6" name="Freeform 444"/>
            <p:cNvSpPr>
              <a:spLocks/>
            </p:cNvSpPr>
            <p:nvPr/>
          </p:nvSpPr>
          <p:spPr bwMode="auto">
            <a:xfrm>
              <a:off x="2847" y="2945"/>
              <a:ext cx="70" cy="114"/>
            </a:xfrm>
            <a:custGeom>
              <a:avLst/>
              <a:gdLst>
                <a:gd name="T0" fmla="*/ 67 w 67"/>
                <a:gd name="T1" fmla="*/ 0 h 122"/>
                <a:gd name="T2" fmla="*/ 45 w 67"/>
                <a:gd name="T3" fmla="*/ 26 h 122"/>
                <a:gd name="T4" fmla="*/ 19 w 67"/>
                <a:gd name="T5" fmla="*/ 26 h 122"/>
                <a:gd name="T6" fmla="*/ 0 w 67"/>
                <a:gd name="T7" fmla="*/ 41 h 122"/>
                <a:gd name="T8" fmla="*/ 4 w 67"/>
                <a:gd name="T9" fmla="*/ 62 h 122"/>
                <a:gd name="T10" fmla="*/ 4 w 67"/>
                <a:gd name="T11" fmla="*/ 96 h 122"/>
                <a:gd name="T12" fmla="*/ 19 w 67"/>
                <a:gd name="T13" fmla="*/ 122 h 122"/>
                <a:gd name="T14" fmla="*/ 37 w 67"/>
                <a:gd name="T15" fmla="*/ 115 h 122"/>
                <a:gd name="T16" fmla="*/ 41 w 67"/>
                <a:gd name="T17" fmla="*/ 100 h 122"/>
                <a:gd name="T18" fmla="*/ 60 w 67"/>
                <a:gd name="T19" fmla="*/ 66 h 122"/>
                <a:gd name="T20" fmla="*/ 60 w 67"/>
                <a:gd name="T21" fmla="*/ 48 h 122"/>
                <a:gd name="T22" fmla="*/ 67 w 67"/>
                <a:gd name="T2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122">
                  <a:moveTo>
                    <a:pt x="67" y="0"/>
                  </a:moveTo>
                  <a:lnTo>
                    <a:pt x="45" y="26"/>
                  </a:lnTo>
                  <a:lnTo>
                    <a:pt x="19" y="26"/>
                  </a:lnTo>
                  <a:lnTo>
                    <a:pt x="0" y="41"/>
                  </a:lnTo>
                  <a:lnTo>
                    <a:pt x="4" y="62"/>
                  </a:lnTo>
                  <a:lnTo>
                    <a:pt x="4" y="96"/>
                  </a:lnTo>
                  <a:lnTo>
                    <a:pt x="19" y="122"/>
                  </a:lnTo>
                  <a:lnTo>
                    <a:pt x="37" y="115"/>
                  </a:lnTo>
                  <a:lnTo>
                    <a:pt x="41" y="100"/>
                  </a:lnTo>
                  <a:lnTo>
                    <a:pt x="60" y="66"/>
                  </a:lnTo>
                  <a:lnTo>
                    <a:pt x="60" y="48"/>
                  </a:lnTo>
                  <a:lnTo>
                    <a:pt x="67" y="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7" name="Freeform 445"/>
            <p:cNvSpPr>
              <a:spLocks/>
            </p:cNvSpPr>
            <p:nvPr/>
          </p:nvSpPr>
          <p:spPr bwMode="auto">
            <a:xfrm>
              <a:off x="3645" y="3071"/>
              <a:ext cx="452" cy="363"/>
            </a:xfrm>
            <a:custGeom>
              <a:avLst/>
              <a:gdLst>
                <a:gd name="T0" fmla="*/ 78 w 429"/>
                <a:gd name="T1" fmla="*/ 102 h 386"/>
                <a:gd name="T2" fmla="*/ 55 w 429"/>
                <a:gd name="T3" fmla="*/ 167 h 386"/>
                <a:gd name="T4" fmla="*/ 44 w 429"/>
                <a:gd name="T5" fmla="*/ 182 h 386"/>
                <a:gd name="T6" fmla="*/ 24 w 429"/>
                <a:gd name="T7" fmla="*/ 200 h 386"/>
                <a:gd name="T8" fmla="*/ 0 w 429"/>
                <a:gd name="T9" fmla="*/ 204 h 386"/>
                <a:gd name="T10" fmla="*/ 31 w 429"/>
                <a:gd name="T11" fmla="*/ 260 h 386"/>
                <a:gd name="T12" fmla="*/ 57 w 429"/>
                <a:gd name="T13" fmla="*/ 260 h 386"/>
                <a:gd name="T14" fmla="*/ 48 w 429"/>
                <a:gd name="T15" fmla="*/ 278 h 386"/>
                <a:gd name="T16" fmla="*/ 57 w 429"/>
                <a:gd name="T17" fmla="*/ 308 h 386"/>
                <a:gd name="T18" fmla="*/ 76 w 429"/>
                <a:gd name="T19" fmla="*/ 330 h 386"/>
                <a:gd name="T20" fmla="*/ 91 w 429"/>
                <a:gd name="T21" fmla="*/ 317 h 386"/>
                <a:gd name="T22" fmla="*/ 107 w 429"/>
                <a:gd name="T23" fmla="*/ 319 h 386"/>
                <a:gd name="T24" fmla="*/ 159 w 429"/>
                <a:gd name="T25" fmla="*/ 325 h 386"/>
                <a:gd name="T26" fmla="*/ 190 w 429"/>
                <a:gd name="T27" fmla="*/ 341 h 386"/>
                <a:gd name="T28" fmla="*/ 207 w 429"/>
                <a:gd name="T29" fmla="*/ 362 h 386"/>
                <a:gd name="T30" fmla="*/ 229 w 429"/>
                <a:gd name="T31" fmla="*/ 353 h 386"/>
                <a:gd name="T32" fmla="*/ 270 w 429"/>
                <a:gd name="T33" fmla="*/ 386 h 386"/>
                <a:gd name="T34" fmla="*/ 277 w 429"/>
                <a:gd name="T35" fmla="*/ 367 h 386"/>
                <a:gd name="T36" fmla="*/ 276 w 429"/>
                <a:gd name="T37" fmla="*/ 336 h 386"/>
                <a:gd name="T38" fmla="*/ 259 w 429"/>
                <a:gd name="T39" fmla="*/ 323 h 386"/>
                <a:gd name="T40" fmla="*/ 215 w 429"/>
                <a:gd name="T41" fmla="*/ 295 h 386"/>
                <a:gd name="T42" fmla="*/ 189 w 429"/>
                <a:gd name="T43" fmla="*/ 286 h 386"/>
                <a:gd name="T44" fmla="*/ 179 w 429"/>
                <a:gd name="T45" fmla="*/ 273 h 386"/>
                <a:gd name="T46" fmla="*/ 194 w 429"/>
                <a:gd name="T47" fmla="*/ 258 h 386"/>
                <a:gd name="T48" fmla="*/ 183 w 429"/>
                <a:gd name="T49" fmla="*/ 236 h 386"/>
                <a:gd name="T50" fmla="*/ 202 w 429"/>
                <a:gd name="T51" fmla="*/ 245 h 386"/>
                <a:gd name="T52" fmla="*/ 215 w 429"/>
                <a:gd name="T53" fmla="*/ 238 h 386"/>
                <a:gd name="T54" fmla="*/ 190 w 429"/>
                <a:gd name="T55" fmla="*/ 202 h 386"/>
                <a:gd name="T56" fmla="*/ 170 w 429"/>
                <a:gd name="T57" fmla="*/ 160 h 386"/>
                <a:gd name="T58" fmla="*/ 165 w 429"/>
                <a:gd name="T59" fmla="*/ 134 h 386"/>
                <a:gd name="T60" fmla="*/ 176 w 429"/>
                <a:gd name="T61" fmla="*/ 117 h 386"/>
                <a:gd name="T62" fmla="*/ 185 w 429"/>
                <a:gd name="T63" fmla="*/ 139 h 386"/>
                <a:gd name="T64" fmla="*/ 190 w 429"/>
                <a:gd name="T65" fmla="*/ 147 h 386"/>
                <a:gd name="T66" fmla="*/ 227 w 429"/>
                <a:gd name="T67" fmla="*/ 176 h 386"/>
                <a:gd name="T68" fmla="*/ 231 w 429"/>
                <a:gd name="T69" fmla="*/ 156 h 386"/>
                <a:gd name="T70" fmla="*/ 257 w 429"/>
                <a:gd name="T71" fmla="*/ 176 h 386"/>
                <a:gd name="T72" fmla="*/ 246 w 429"/>
                <a:gd name="T73" fmla="*/ 152 h 386"/>
                <a:gd name="T74" fmla="*/ 257 w 429"/>
                <a:gd name="T75" fmla="*/ 141 h 386"/>
                <a:gd name="T76" fmla="*/ 287 w 429"/>
                <a:gd name="T77" fmla="*/ 148 h 386"/>
                <a:gd name="T78" fmla="*/ 274 w 429"/>
                <a:gd name="T79" fmla="*/ 130 h 386"/>
                <a:gd name="T80" fmla="*/ 246 w 429"/>
                <a:gd name="T81" fmla="*/ 113 h 386"/>
                <a:gd name="T82" fmla="*/ 248 w 429"/>
                <a:gd name="T83" fmla="*/ 98 h 386"/>
                <a:gd name="T84" fmla="*/ 298 w 429"/>
                <a:gd name="T85" fmla="*/ 87 h 386"/>
                <a:gd name="T86" fmla="*/ 349 w 429"/>
                <a:gd name="T87" fmla="*/ 82 h 386"/>
                <a:gd name="T88" fmla="*/ 377 w 429"/>
                <a:gd name="T89" fmla="*/ 87 h 386"/>
                <a:gd name="T90" fmla="*/ 405 w 429"/>
                <a:gd name="T91" fmla="*/ 76 h 386"/>
                <a:gd name="T92" fmla="*/ 427 w 429"/>
                <a:gd name="T93" fmla="*/ 48 h 386"/>
                <a:gd name="T94" fmla="*/ 427 w 429"/>
                <a:gd name="T95" fmla="*/ 6 h 386"/>
                <a:gd name="T96" fmla="*/ 407 w 429"/>
                <a:gd name="T97" fmla="*/ 0 h 386"/>
                <a:gd name="T98" fmla="*/ 401 w 429"/>
                <a:gd name="T99" fmla="*/ 20 h 386"/>
                <a:gd name="T100" fmla="*/ 388 w 429"/>
                <a:gd name="T101" fmla="*/ 35 h 386"/>
                <a:gd name="T102" fmla="*/ 370 w 429"/>
                <a:gd name="T103" fmla="*/ 45 h 386"/>
                <a:gd name="T104" fmla="*/ 337 w 429"/>
                <a:gd name="T105" fmla="*/ 33 h 386"/>
                <a:gd name="T106" fmla="*/ 305 w 429"/>
                <a:gd name="T107" fmla="*/ 20 h 386"/>
                <a:gd name="T108" fmla="*/ 270 w 429"/>
                <a:gd name="T109" fmla="*/ 45 h 386"/>
                <a:gd name="T110" fmla="*/ 231 w 429"/>
                <a:gd name="T111" fmla="*/ 56 h 386"/>
                <a:gd name="T112" fmla="*/ 202 w 429"/>
                <a:gd name="T113" fmla="*/ 61 h 386"/>
                <a:gd name="T114" fmla="*/ 183 w 429"/>
                <a:gd name="T115" fmla="*/ 78 h 386"/>
                <a:gd name="T116" fmla="*/ 153 w 429"/>
                <a:gd name="T117" fmla="*/ 82 h 386"/>
                <a:gd name="T118" fmla="*/ 126 w 429"/>
                <a:gd name="T119" fmla="*/ 97 h 386"/>
                <a:gd name="T120" fmla="*/ 98 w 429"/>
                <a:gd name="T121" fmla="*/ 97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9" h="386">
                  <a:moveTo>
                    <a:pt x="87" y="95"/>
                  </a:moveTo>
                  <a:lnTo>
                    <a:pt x="78" y="102"/>
                  </a:lnTo>
                  <a:lnTo>
                    <a:pt x="68" y="135"/>
                  </a:lnTo>
                  <a:lnTo>
                    <a:pt x="55" y="167"/>
                  </a:lnTo>
                  <a:lnTo>
                    <a:pt x="50" y="171"/>
                  </a:lnTo>
                  <a:lnTo>
                    <a:pt x="44" y="182"/>
                  </a:lnTo>
                  <a:lnTo>
                    <a:pt x="37" y="193"/>
                  </a:lnTo>
                  <a:lnTo>
                    <a:pt x="24" y="200"/>
                  </a:lnTo>
                  <a:lnTo>
                    <a:pt x="13" y="204"/>
                  </a:lnTo>
                  <a:lnTo>
                    <a:pt x="0" y="204"/>
                  </a:lnTo>
                  <a:lnTo>
                    <a:pt x="17" y="241"/>
                  </a:lnTo>
                  <a:lnTo>
                    <a:pt x="31" y="260"/>
                  </a:lnTo>
                  <a:lnTo>
                    <a:pt x="44" y="260"/>
                  </a:lnTo>
                  <a:lnTo>
                    <a:pt x="57" y="260"/>
                  </a:lnTo>
                  <a:lnTo>
                    <a:pt x="61" y="269"/>
                  </a:lnTo>
                  <a:lnTo>
                    <a:pt x="48" y="278"/>
                  </a:lnTo>
                  <a:lnTo>
                    <a:pt x="48" y="290"/>
                  </a:lnTo>
                  <a:lnTo>
                    <a:pt x="57" y="308"/>
                  </a:lnTo>
                  <a:lnTo>
                    <a:pt x="68" y="323"/>
                  </a:lnTo>
                  <a:lnTo>
                    <a:pt x="76" y="330"/>
                  </a:lnTo>
                  <a:lnTo>
                    <a:pt x="80" y="319"/>
                  </a:lnTo>
                  <a:lnTo>
                    <a:pt x="91" y="317"/>
                  </a:lnTo>
                  <a:lnTo>
                    <a:pt x="104" y="328"/>
                  </a:lnTo>
                  <a:lnTo>
                    <a:pt x="107" y="319"/>
                  </a:lnTo>
                  <a:lnTo>
                    <a:pt x="128" y="321"/>
                  </a:lnTo>
                  <a:lnTo>
                    <a:pt x="159" y="325"/>
                  </a:lnTo>
                  <a:lnTo>
                    <a:pt x="181" y="332"/>
                  </a:lnTo>
                  <a:lnTo>
                    <a:pt x="190" y="341"/>
                  </a:lnTo>
                  <a:lnTo>
                    <a:pt x="200" y="354"/>
                  </a:lnTo>
                  <a:lnTo>
                    <a:pt x="207" y="362"/>
                  </a:lnTo>
                  <a:lnTo>
                    <a:pt x="216" y="354"/>
                  </a:lnTo>
                  <a:lnTo>
                    <a:pt x="229" y="353"/>
                  </a:lnTo>
                  <a:lnTo>
                    <a:pt x="248" y="366"/>
                  </a:lnTo>
                  <a:lnTo>
                    <a:pt x="270" y="386"/>
                  </a:lnTo>
                  <a:lnTo>
                    <a:pt x="276" y="382"/>
                  </a:lnTo>
                  <a:lnTo>
                    <a:pt x="277" y="367"/>
                  </a:lnTo>
                  <a:lnTo>
                    <a:pt x="277" y="351"/>
                  </a:lnTo>
                  <a:lnTo>
                    <a:pt x="276" y="336"/>
                  </a:lnTo>
                  <a:lnTo>
                    <a:pt x="266" y="319"/>
                  </a:lnTo>
                  <a:lnTo>
                    <a:pt x="259" y="323"/>
                  </a:lnTo>
                  <a:lnTo>
                    <a:pt x="242" y="315"/>
                  </a:lnTo>
                  <a:lnTo>
                    <a:pt x="215" y="295"/>
                  </a:lnTo>
                  <a:lnTo>
                    <a:pt x="207" y="288"/>
                  </a:lnTo>
                  <a:lnTo>
                    <a:pt x="189" y="286"/>
                  </a:lnTo>
                  <a:lnTo>
                    <a:pt x="179" y="280"/>
                  </a:lnTo>
                  <a:lnTo>
                    <a:pt x="179" y="273"/>
                  </a:lnTo>
                  <a:lnTo>
                    <a:pt x="190" y="262"/>
                  </a:lnTo>
                  <a:lnTo>
                    <a:pt x="194" y="258"/>
                  </a:lnTo>
                  <a:lnTo>
                    <a:pt x="187" y="249"/>
                  </a:lnTo>
                  <a:lnTo>
                    <a:pt x="183" y="236"/>
                  </a:lnTo>
                  <a:lnTo>
                    <a:pt x="187" y="230"/>
                  </a:lnTo>
                  <a:lnTo>
                    <a:pt x="202" y="245"/>
                  </a:lnTo>
                  <a:lnTo>
                    <a:pt x="215" y="251"/>
                  </a:lnTo>
                  <a:lnTo>
                    <a:pt x="215" y="238"/>
                  </a:lnTo>
                  <a:lnTo>
                    <a:pt x="207" y="223"/>
                  </a:lnTo>
                  <a:lnTo>
                    <a:pt x="190" y="202"/>
                  </a:lnTo>
                  <a:lnTo>
                    <a:pt x="172" y="174"/>
                  </a:lnTo>
                  <a:lnTo>
                    <a:pt x="170" y="160"/>
                  </a:lnTo>
                  <a:lnTo>
                    <a:pt x="168" y="147"/>
                  </a:lnTo>
                  <a:lnTo>
                    <a:pt x="165" y="134"/>
                  </a:lnTo>
                  <a:lnTo>
                    <a:pt x="163" y="121"/>
                  </a:lnTo>
                  <a:lnTo>
                    <a:pt x="176" y="117"/>
                  </a:lnTo>
                  <a:lnTo>
                    <a:pt x="174" y="126"/>
                  </a:lnTo>
                  <a:lnTo>
                    <a:pt x="185" y="139"/>
                  </a:lnTo>
                  <a:lnTo>
                    <a:pt x="192" y="139"/>
                  </a:lnTo>
                  <a:lnTo>
                    <a:pt x="190" y="147"/>
                  </a:lnTo>
                  <a:lnTo>
                    <a:pt x="226" y="182"/>
                  </a:lnTo>
                  <a:lnTo>
                    <a:pt x="227" y="176"/>
                  </a:lnTo>
                  <a:lnTo>
                    <a:pt x="220" y="160"/>
                  </a:lnTo>
                  <a:lnTo>
                    <a:pt x="231" y="156"/>
                  </a:lnTo>
                  <a:lnTo>
                    <a:pt x="248" y="163"/>
                  </a:lnTo>
                  <a:lnTo>
                    <a:pt x="257" y="176"/>
                  </a:lnTo>
                  <a:lnTo>
                    <a:pt x="259" y="167"/>
                  </a:lnTo>
                  <a:lnTo>
                    <a:pt x="246" y="152"/>
                  </a:lnTo>
                  <a:lnTo>
                    <a:pt x="248" y="145"/>
                  </a:lnTo>
                  <a:lnTo>
                    <a:pt x="257" y="141"/>
                  </a:lnTo>
                  <a:lnTo>
                    <a:pt x="281" y="152"/>
                  </a:lnTo>
                  <a:lnTo>
                    <a:pt x="287" y="148"/>
                  </a:lnTo>
                  <a:lnTo>
                    <a:pt x="285" y="137"/>
                  </a:lnTo>
                  <a:lnTo>
                    <a:pt x="274" y="130"/>
                  </a:lnTo>
                  <a:lnTo>
                    <a:pt x="257" y="122"/>
                  </a:lnTo>
                  <a:lnTo>
                    <a:pt x="246" y="113"/>
                  </a:lnTo>
                  <a:lnTo>
                    <a:pt x="244" y="106"/>
                  </a:lnTo>
                  <a:lnTo>
                    <a:pt x="248" y="98"/>
                  </a:lnTo>
                  <a:lnTo>
                    <a:pt x="272" y="95"/>
                  </a:lnTo>
                  <a:lnTo>
                    <a:pt x="298" y="87"/>
                  </a:lnTo>
                  <a:lnTo>
                    <a:pt x="316" y="89"/>
                  </a:lnTo>
                  <a:lnTo>
                    <a:pt x="349" y="82"/>
                  </a:lnTo>
                  <a:lnTo>
                    <a:pt x="355" y="78"/>
                  </a:lnTo>
                  <a:lnTo>
                    <a:pt x="377" y="87"/>
                  </a:lnTo>
                  <a:lnTo>
                    <a:pt x="396" y="97"/>
                  </a:lnTo>
                  <a:lnTo>
                    <a:pt x="405" y="76"/>
                  </a:lnTo>
                  <a:lnTo>
                    <a:pt x="422" y="54"/>
                  </a:lnTo>
                  <a:lnTo>
                    <a:pt x="427" y="48"/>
                  </a:lnTo>
                  <a:lnTo>
                    <a:pt x="429" y="9"/>
                  </a:lnTo>
                  <a:lnTo>
                    <a:pt x="427" y="6"/>
                  </a:lnTo>
                  <a:lnTo>
                    <a:pt x="418" y="0"/>
                  </a:lnTo>
                  <a:lnTo>
                    <a:pt x="407" y="0"/>
                  </a:lnTo>
                  <a:lnTo>
                    <a:pt x="401" y="6"/>
                  </a:lnTo>
                  <a:lnTo>
                    <a:pt x="401" y="20"/>
                  </a:lnTo>
                  <a:lnTo>
                    <a:pt x="403" y="32"/>
                  </a:lnTo>
                  <a:lnTo>
                    <a:pt x="388" y="35"/>
                  </a:lnTo>
                  <a:lnTo>
                    <a:pt x="377" y="43"/>
                  </a:lnTo>
                  <a:lnTo>
                    <a:pt x="370" y="45"/>
                  </a:lnTo>
                  <a:lnTo>
                    <a:pt x="346" y="39"/>
                  </a:lnTo>
                  <a:lnTo>
                    <a:pt x="337" y="33"/>
                  </a:lnTo>
                  <a:lnTo>
                    <a:pt x="324" y="41"/>
                  </a:lnTo>
                  <a:lnTo>
                    <a:pt x="305" y="20"/>
                  </a:lnTo>
                  <a:lnTo>
                    <a:pt x="285" y="35"/>
                  </a:lnTo>
                  <a:lnTo>
                    <a:pt x="270" y="45"/>
                  </a:lnTo>
                  <a:lnTo>
                    <a:pt x="255" y="52"/>
                  </a:lnTo>
                  <a:lnTo>
                    <a:pt x="231" y="56"/>
                  </a:lnTo>
                  <a:lnTo>
                    <a:pt x="215" y="61"/>
                  </a:lnTo>
                  <a:lnTo>
                    <a:pt x="202" y="61"/>
                  </a:lnTo>
                  <a:lnTo>
                    <a:pt x="196" y="63"/>
                  </a:lnTo>
                  <a:lnTo>
                    <a:pt x="183" y="78"/>
                  </a:lnTo>
                  <a:lnTo>
                    <a:pt x="172" y="78"/>
                  </a:lnTo>
                  <a:lnTo>
                    <a:pt x="153" y="82"/>
                  </a:lnTo>
                  <a:lnTo>
                    <a:pt x="135" y="80"/>
                  </a:lnTo>
                  <a:lnTo>
                    <a:pt x="126" y="97"/>
                  </a:lnTo>
                  <a:lnTo>
                    <a:pt x="111" y="98"/>
                  </a:lnTo>
                  <a:lnTo>
                    <a:pt x="98" y="97"/>
                  </a:lnTo>
                  <a:lnTo>
                    <a:pt x="87" y="95"/>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8" name="Freeform 446"/>
            <p:cNvSpPr>
              <a:spLocks/>
            </p:cNvSpPr>
            <p:nvPr/>
          </p:nvSpPr>
          <p:spPr bwMode="auto">
            <a:xfrm>
              <a:off x="3442" y="1785"/>
              <a:ext cx="39" cy="87"/>
            </a:xfrm>
            <a:custGeom>
              <a:avLst/>
              <a:gdLst>
                <a:gd name="T0" fmla="*/ 37 w 37"/>
                <a:gd name="T1" fmla="*/ 0 h 92"/>
                <a:gd name="T2" fmla="*/ 35 w 37"/>
                <a:gd name="T3" fmla="*/ 31 h 92"/>
                <a:gd name="T4" fmla="*/ 24 w 37"/>
                <a:gd name="T5" fmla="*/ 55 h 92"/>
                <a:gd name="T6" fmla="*/ 7 w 37"/>
                <a:gd name="T7" fmla="*/ 70 h 92"/>
                <a:gd name="T8" fmla="*/ 11 w 37"/>
                <a:gd name="T9" fmla="*/ 86 h 92"/>
                <a:gd name="T10" fmla="*/ 4 w 37"/>
                <a:gd name="T11" fmla="*/ 92 h 92"/>
                <a:gd name="T12" fmla="*/ 0 w 37"/>
                <a:gd name="T13" fmla="*/ 72 h 92"/>
                <a:gd name="T14" fmla="*/ 6 w 37"/>
                <a:gd name="T15" fmla="*/ 57 h 92"/>
                <a:gd name="T16" fmla="*/ 11 w 37"/>
                <a:gd name="T17" fmla="*/ 40 h 92"/>
                <a:gd name="T18" fmla="*/ 37 w 37"/>
                <a:gd name="T1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92">
                  <a:moveTo>
                    <a:pt x="37" y="0"/>
                  </a:moveTo>
                  <a:lnTo>
                    <a:pt x="35" y="31"/>
                  </a:lnTo>
                  <a:lnTo>
                    <a:pt x="24" y="55"/>
                  </a:lnTo>
                  <a:lnTo>
                    <a:pt x="7" y="70"/>
                  </a:lnTo>
                  <a:lnTo>
                    <a:pt x="11" y="86"/>
                  </a:lnTo>
                  <a:lnTo>
                    <a:pt x="4" y="92"/>
                  </a:lnTo>
                  <a:lnTo>
                    <a:pt x="0" y="72"/>
                  </a:lnTo>
                  <a:lnTo>
                    <a:pt x="6" y="57"/>
                  </a:lnTo>
                  <a:lnTo>
                    <a:pt x="11" y="40"/>
                  </a:lnTo>
                  <a:lnTo>
                    <a:pt x="37"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39" name="Freeform 447"/>
            <p:cNvSpPr>
              <a:spLocks/>
            </p:cNvSpPr>
            <p:nvPr/>
          </p:nvSpPr>
          <p:spPr bwMode="auto">
            <a:xfrm>
              <a:off x="3530" y="1743"/>
              <a:ext cx="50" cy="72"/>
            </a:xfrm>
            <a:custGeom>
              <a:avLst/>
              <a:gdLst>
                <a:gd name="T0" fmla="*/ 39 w 50"/>
                <a:gd name="T1" fmla="*/ 0 h 73"/>
                <a:gd name="T2" fmla="*/ 50 w 50"/>
                <a:gd name="T3" fmla="*/ 0 h 73"/>
                <a:gd name="T4" fmla="*/ 37 w 50"/>
                <a:gd name="T5" fmla="*/ 15 h 73"/>
                <a:gd name="T6" fmla="*/ 35 w 50"/>
                <a:gd name="T7" fmla="*/ 26 h 73"/>
                <a:gd name="T8" fmla="*/ 39 w 50"/>
                <a:gd name="T9" fmla="*/ 41 h 73"/>
                <a:gd name="T10" fmla="*/ 26 w 50"/>
                <a:gd name="T11" fmla="*/ 56 h 73"/>
                <a:gd name="T12" fmla="*/ 9 w 50"/>
                <a:gd name="T13" fmla="*/ 73 h 73"/>
                <a:gd name="T14" fmla="*/ 6 w 50"/>
                <a:gd name="T15" fmla="*/ 56 h 73"/>
                <a:gd name="T16" fmla="*/ 0 w 50"/>
                <a:gd name="T17" fmla="*/ 49 h 73"/>
                <a:gd name="T18" fmla="*/ 0 w 50"/>
                <a:gd name="T19" fmla="*/ 36 h 73"/>
                <a:gd name="T20" fmla="*/ 15 w 50"/>
                <a:gd name="T21" fmla="*/ 22 h 73"/>
                <a:gd name="T22" fmla="*/ 39 w 50"/>
                <a:gd name="T2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3">
                  <a:moveTo>
                    <a:pt x="39" y="0"/>
                  </a:moveTo>
                  <a:lnTo>
                    <a:pt x="50" y="0"/>
                  </a:lnTo>
                  <a:lnTo>
                    <a:pt x="37" y="15"/>
                  </a:lnTo>
                  <a:lnTo>
                    <a:pt x="35" y="26"/>
                  </a:lnTo>
                  <a:lnTo>
                    <a:pt x="39" y="41"/>
                  </a:lnTo>
                  <a:lnTo>
                    <a:pt x="26" y="56"/>
                  </a:lnTo>
                  <a:lnTo>
                    <a:pt x="9" y="73"/>
                  </a:lnTo>
                  <a:lnTo>
                    <a:pt x="6" y="56"/>
                  </a:lnTo>
                  <a:lnTo>
                    <a:pt x="0" y="49"/>
                  </a:lnTo>
                  <a:lnTo>
                    <a:pt x="0" y="36"/>
                  </a:lnTo>
                  <a:lnTo>
                    <a:pt x="15" y="22"/>
                  </a:lnTo>
                  <a:lnTo>
                    <a:pt x="39"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0" name="Freeform 448"/>
            <p:cNvSpPr>
              <a:spLocks/>
            </p:cNvSpPr>
            <p:nvPr/>
          </p:nvSpPr>
          <p:spPr bwMode="auto">
            <a:xfrm>
              <a:off x="3214" y="1002"/>
              <a:ext cx="584" cy="935"/>
            </a:xfrm>
            <a:custGeom>
              <a:avLst/>
              <a:gdLst>
                <a:gd name="T0" fmla="*/ 564 w 584"/>
                <a:gd name="T1" fmla="*/ 30 h 935"/>
                <a:gd name="T2" fmla="*/ 584 w 584"/>
                <a:gd name="T3" fmla="*/ 72 h 935"/>
                <a:gd name="T4" fmla="*/ 510 w 584"/>
                <a:gd name="T5" fmla="*/ 76 h 935"/>
                <a:gd name="T6" fmla="*/ 494 w 584"/>
                <a:gd name="T7" fmla="*/ 107 h 935"/>
                <a:gd name="T8" fmla="*/ 471 w 584"/>
                <a:gd name="T9" fmla="*/ 150 h 935"/>
                <a:gd name="T10" fmla="*/ 475 w 584"/>
                <a:gd name="T11" fmla="*/ 191 h 935"/>
                <a:gd name="T12" fmla="*/ 447 w 584"/>
                <a:gd name="T13" fmla="*/ 226 h 935"/>
                <a:gd name="T14" fmla="*/ 400 w 584"/>
                <a:gd name="T15" fmla="*/ 265 h 935"/>
                <a:gd name="T16" fmla="*/ 361 w 584"/>
                <a:gd name="T17" fmla="*/ 292 h 935"/>
                <a:gd name="T18" fmla="*/ 317 w 584"/>
                <a:gd name="T19" fmla="*/ 335 h 935"/>
                <a:gd name="T20" fmla="*/ 305 w 584"/>
                <a:gd name="T21" fmla="*/ 366 h 935"/>
                <a:gd name="T22" fmla="*/ 289 w 584"/>
                <a:gd name="T23" fmla="*/ 421 h 935"/>
                <a:gd name="T24" fmla="*/ 297 w 584"/>
                <a:gd name="T25" fmla="*/ 502 h 935"/>
                <a:gd name="T26" fmla="*/ 349 w 584"/>
                <a:gd name="T27" fmla="*/ 565 h 935"/>
                <a:gd name="T28" fmla="*/ 333 w 584"/>
                <a:gd name="T29" fmla="*/ 604 h 935"/>
                <a:gd name="T30" fmla="*/ 297 w 584"/>
                <a:gd name="T31" fmla="*/ 594 h 935"/>
                <a:gd name="T32" fmla="*/ 233 w 584"/>
                <a:gd name="T33" fmla="*/ 599 h 935"/>
                <a:gd name="T34" fmla="*/ 281 w 584"/>
                <a:gd name="T35" fmla="*/ 607 h 935"/>
                <a:gd name="T36" fmla="*/ 329 w 584"/>
                <a:gd name="T37" fmla="*/ 632 h 935"/>
                <a:gd name="T38" fmla="*/ 297 w 584"/>
                <a:gd name="T39" fmla="*/ 642 h 935"/>
                <a:gd name="T40" fmla="*/ 269 w 584"/>
                <a:gd name="T41" fmla="*/ 680 h 935"/>
                <a:gd name="T42" fmla="*/ 258 w 584"/>
                <a:gd name="T43" fmla="*/ 705 h 935"/>
                <a:gd name="T44" fmla="*/ 243 w 584"/>
                <a:gd name="T45" fmla="*/ 758 h 935"/>
                <a:gd name="T46" fmla="*/ 226 w 584"/>
                <a:gd name="T47" fmla="*/ 824 h 935"/>
                <a:gd name="T48" fmla="*/ 194 w 584"/>
                <a:gd name="T49" fmla="*/ 880 h 935"/>
                <a:gd name="T50" fmla="*/ 137 w 584"/>
                <a:gd name="T51" fmla="*/ 887 h 935"/>
                <a:gd name="T52" fmla="*/ 117 w 584"/>
                <a:gd name="T53" fmla="*/ 906 h 935"/>
                <a:gd name="T54" fmla="*/ 82 w 584"/>
                <a:gd name="T55" fmla="*/ 925 h 935"/>
                <a:gd name="T56" fmla="*/ 39 w 584"/>
                <a:gd name="T57" fmla="*/ 925 h 935"/>
                <a:gd name="T58" fmla="*/ 34 w 584"/>
                <a:gd name="T59" fmla="*/ 869 h 935"/>
                <a:gd name="T60" fmla="*/ 39 w 584"/>
                <a:gd name="T61" fmla="*/ 848 h 935"/>
                <a:gd name="T62" fmla="*/ 51 w 584"/>
                <a:gd name="T63" fmla="*/ 827 h 935"/>
                <a:gd name="T64" fmla="*/ 23 w 584"/>
                <a:gd name="T65" fmla="*/ 786 h 935"/>
                <a:gd name="T66" fmla="*/ 5 w 584"/>
                <a:gd name="T67" fmla="*/ 737 h 935"/>
                <a:gd name="T68" fmla="*/ 5 w 584"/>
                <a:gd name="T69" fmla="*/ 667 h 935"/>
                <a:gd name="T70" fmla="*/ 7 w 584"/>
                <a:gd name="T71" fmla="*/ 618 h 935"/>
                <a:gd name="T72" fmla="*/ 31 w 584"/>
                <a:gd name="T73" fmla="*/ 561 h 935"/>
                <a:gd name="T74" fmla="*/ 74 w 584"/>
                <a:gd name="T75" fmla="*/ 526 h 935"/>
                <a:gd name="T76" fmla="*/ 62 w 584"/>
                <a:gd name="T77" fmla="*/ 450 h 935"/>
                <a:gd name="T78" fmla="*/ 90 w 584"/>
                <a:gd name="T79" fmla="*/ 421 h 935"/>
                <a:gd name="T80" fmla="*/ 67 w 584"/>
                <a:gd name="T81" fmla="*/ 356 h 935"/>
                <a:gd name="T82" fmla="*/ 86 w 584"/>
                <a:gd name="T83" fmla="*/ 292 h 935"/>
                <a:gd name="T84" fmla="*/ 117 w 584"/>
                <a:gd name="T85" fmla="*/ 226 h 935"/>
                <a:gd name="T86" fmla="*/ 176 w 584"/>
                <a:gd name="T87" fmla="*/ 226 h 935"/>
                <a:gd name="T88" fmla="*/ 168 w 584"/>
                <a:gd name="T89" fmla="*/ 166 h 935"/>
                <a:gd name="T90" fmla="*/ 180 w 584"/>
                <a:gd name="T91" fmla="*/ 142 h 935"/>
                <a:gd name="T92" fmla="*/ 194 w 584"/>
                <a:gd name="T93" fmla="*/ 80 h 935"/>
                <a:gd name="T94" fmla="*/ 230 w 584"/>
                <a:gd name="T95" fmla="*/ 30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4" h="935">
                  <a:moveTo>
                    <a:pt x="242" y="0"/>
                  </a:moveTo>
                  <a:lnTo>
                    <a:pt x="560" y="2"/>
                  </a:lnTo>
                  <a:lnTo>
                    <a:pt x="564" y="30"/>
                  </a:lnTo>
                  <a:lnTo>
                    <a:pt x="577" y="48"/>
                  </a:lnTo>
                  <a:lnTo>
                    <a:pt x="584" y="65"/>
                  </a:lnTo>
                  <a:lnTo>
                    <a:pt x="584" y="72"/>
                  </a:lnTo>
                  <a:lnTo>
                    <a:pt x="573" y="76"/>
                  </a:lnTo>
                  <a:lnTo>
                    <a:pt x="522" y="76"/>
                  </a:lnTo>
                  <a:lnTo>
                    <a:pt x="510" y="76"/>
                  </a:lnTo>
                  <a:lnTo>
                    <a:pt x="502" y="82"/>
                  </a:lnTo>
                  <a:lnTo>
                    <a:pt x="502" y="97"/>
                  </a:lnTo>
                  <a:lnTo>
                    <a:pt x="494" y="107"/>
                  </a:lnTo>
                  <a:lnTo>
                    <a:pt x="471" y="125"/>
                  </a:lnTo>
                  <a:lnTo>
                    <a:pt x="475" y="140"/>
                  </a:lnTo>
                  <a:lnTo>
                    <a:pt x="471" y="150"/>
                  </a:lnTo>
                  <a:lnTo>
                    <a:pt x="463" y="156"/>
                  </a:lnTo>
                  <a:lnTo>
                    <a:pt x="471" y="178"/>
                  </a:lnTo>
                  <a:lnTo>
                    <a:pt x="475" y="191"/>
                  </a:lnTo>
                  <a:lnTo>
                    <a:pt x="467" y="202"/>
                  </a:lnTo>
                  <a:lnTo>
                    <a:pt x="452" y="213"/>
                  </a:lnTo>
                  <a:lnTo>
                    <a:pt x="447" y="226"/>
                  </a:lnTo>
                  <a:lnTo>
                    <a:pt x="444" y="244"/>
                  </a:lnTo>
                  <a:lnTo>
                    <a:pt x="416" y="255"/>
                  </a:lnTo>
                  <a:lnTo>
                    <a:pt x="400" y="265"/>
                  </a:lnTo>
                  <a:lnTo>
                    <a:pt x="377" y="279"/>
                  </a:lnTo>
                  <a:lnTo>
                    <a:pt x="379" y="289"/>
                  </a:lnTo>
                  <a:lnTo>
                    <a:pt x="361" y="292"/>
                  </a:lnTo>
                  <a:lnTo>
                    <a:pt x="353" y="299"/>
                  </a:lnTo>
                  <a:lnTo>
                    <a:pt x="333" y="325"/>
                  </a:lnTo>
                  <a:lnTo>
                    <a:pt x="317" y="335"/>
                  </a:lnTo>
                  <a:lnTo>
                    <a:pt x="322" y="352"/>
                  </a:lnTo>
                  <a:lnTo>
                    <a:pt x="313" y="358"/>
                  </a:lnTo>
                  <a:lnTo>
                    <a:pt x="305" y="366"/>
                  </a:lnTo>
                  <a:lnTo>
                    <a:pt x="313" y="394"/>
                  </a:lnTo>
                  <a:lnTo>
                    <a:pt x="308" y="411"/>
                  </a:lnTo>
                  <a:lnTo>
                    <a:pt x="289" y="421"/>
                  </a:lnTo>
                  <a:lnTo>
                    <a:pt x="285" y="450"/>
                  </a:lnTo>
                  <a:lnTo>
                    <a:pt x="289" y="484"/>
                  </a:lnTo>
                  <a:lnTo>
                    <a:pt x="297" y="502"/>
                  </a:lnTo>
                  <a:lnTo>
                    <a:pt x="325" y="524"/>
                  </a:lnTo>
                  <a:lnTo>
                    <a:pt x="337" y="544"/>
                  </a:lnTo>
                  <a:lnTo>
                    <a:pt x="349" y="565"/>
                  </a:lnTo>
                  <a:lnTo>
                    <a:pt x="356" y="579"/>
                  </a:lnTo>
                  <a:lnTo>
                    <a:pt x="349" y="594"/>
                  </a:lnTo>
                  <a:lnTo>
                    <a:pt x="333" y="604"/>
                  </a:lnTo>
                  <a:lnTo>
                    <a:pt x="322" y="599"/>
                  </a:lnTo>
                  <a:lnTo>
                    <a:pt x="313" y="589"/>
                  </a:lnTo>
                  <a:lnTo>
                    <a:pt x="297" y="594"/>
                  </a:lnTo>
                  <a:lnTo>
                    <a:pt x="292" y="604"/>
                  </a:lnTo>
                  <a:lnTo>
                    <a:pt x="269" y="604"/>
                  </a:lnTo>
                  <a:lnTo>
                    <a:pt x="233" y="599"/>
                  </a:lnTo>
                  <a:lnTo>
                    <a:pt x="226" y="607"/>
                  </a:lnTo>
                  <a:lnTo>
                    <a:pt x="249" y="618"/>
                  </a:lnTo>
                  <a:lnTo>
                    <a:pt x="281" y="607"/>
                  </a:lnTo>
                  <a:lnTo>
                    <a:pt x="289" y="620"/>
                  </a:lnTo>
                  <a:lnTo>
                    <a:pt x="313" y="625"/>
                  </a:lnTo>
                  <a:lnTo>
                    <a:pt x="329" y="632"/>
                  </a:lnTo>
                  <a:lnTo>
                    <a:pt x="322" y="638"/>
                  </a:lnTo>
                  <a:lnTo>
                    <a:pt x="300" y="635"/>
                  </a:lnTo>
                  <a:lnTo>
                    <a:pt x="297" y="642"/>
                  </a:lnTo>
                  <a:lnTo>
                    <a:pt x="300" y="652"/>
                  </a:lnTo>
                  <a:lnTo>
                    <a:pt x="289" y="667"/>
                  </a:lnTo>
                  <a:lnTo>
                    <a:pt x="269" y="680"/>
                  </a:lnTo>
                  <a:lnTo>
                    <a:pt x="261" y="684"/>
                  </a:lnTo>
                  <a:lnTo>
                    <a:pt x="254" y="688"/>
                  </a:lnTo>
                  <a:lnTo>
                    <a:pt x="258" y="705"/>
                  </a:lnTo>
                  <a:lnTo>
                    <a:pt x="249" y="715"/>
                  </a:lnTo>
                  <a:lnTo>
                    <a:pt x="238" y="737"/>
                  </a:lnTo>
                  <a:lnTo>
                    <a:pt x="243" y="758"/>
                  </a:lnTo>
                  <a:lnTo>
                    <a:pt x="233" y="789"/>
                  </a:lnTo>
                  <a:lnTo>
                    <a:pt x="226" y="803"/>
                  </a:lnTo>
                  <a:lnTo>
                    <a:pt x="226" y="824"/>
                  </a:lnTo>
                  <a:lnTo>
                    <a:pt x="215" y="837"/>
                  </a:lnTo>
                  <a:lnTo>
                    <a:pt x="199" y="863"/>
                  </a:lnTo>
                  <a:lnTo>
                    <a:pt x="194" y="880"/>
                  </a:lnTo>
                  <a:lnTo>
                    <a:pt x="168" y="876"/>
                  </a:lnTo>
                  <a:lnTo>
                    <a:pt x="140" y="876"/>
                  </a:lnTo>
                  <a:lnTo>
                    <a:pt x="137" y="887"/>
                  </a:lnTo>
                  <a:lnTo>
                    <a:pt x="121" y="890"/>
                  </a:lnTo>
                  <a:lnTo>
                    <a:pt x="113" y="895"/>
                  </a:lnTo>
                  <a:lnTo>
                    <a:pt x="117" y="906"/>
                  </a:lnTo>
                  <a:lnTo>
                    <a:pt x="113" y="925"/>
                  </a:lnTo>
                  <a:lnTo>
                    <a:pt x="93" y="935"/>
                  </a:lnTo>
                  <a:lnTo>
                    <a:pt x="82" y="925"/>
                  </a:lnTo>
                  <a:lnTo>
                    <a:pt x="67" y="935"/>
                  </a:lnTo>
                  <a:lnTo>
                    <a:pt x="46" y="935"/>
                  </a:lnTo>
                  <a:lnTo>
                    <a:pt x="39" y="925"/>
                  </a:lnTo>
                  <a:lnTo>
                    <a:pt x="46" y="917"/>
                  </a:lnTo>
                  <a:lnTo>
                    <a:pt x="51" y="897"/>
                  </a:lnTo>
                  <a:lnTo>
                    <a:pt x="34" y="869"/>
                  </a:lnTo>
                  <a:lnTo>
                    <a:pt x="28" y="856"/>
                  </a:lnTo>
                  <a:lnTo>
                    <a:pt x="31" y="848"/>
                  </a:lnTo>
                  <a:lnTo>
                    <a:pt x="39" y="848"/>
                  </a:lnTo>
                  <a:lnTo>
                    <a:pt x="44" y="842"/>
                  </a:lnTo>
                  <a:lnTo>
                    <a:pt x="46" y="834"/>
                  </a:lnTo>
                  <a:lnTo>
                    <a:pt x="51" y="827"/>
                  </a:lnTo>
                  <a:lnTo>
                    <a:pt x="46" y="821"/>
                  </a:lnTo>
                  <a:lnTo>
                    <a:pt x="39" y="806"/>
                  </a:lnTo>
                  <a:lnTo>
                    <a:pt x="23" y="786"/>
                  </a:lnTo>
                  <a:lnTo>
                    <a:pt x="28" y="764"/>
                  </a:lnTo>
                  <a:lnTo>
                    <a:pt x="16" y="748"/>
                  </a:lnTo>
                  <a:lnTo>
                    <a:pt x="5" y="737"/>
                  </a:lnTo>
                  <a:lnTo>
                    <a:pt x="11" y="719"/>
                  </a:lnTo>
                  <a:lnTo>
                    <a:pt x="20" y="684"/>
                  </a:lnTo>
                  <a:lnTo>
                    <a:pt x="5" y="667"/>
                  </a:lnTo>
                  <a:lnTo>
                    <a:pt x="0" y="649"/>
                  </a:lnTo>
                  <a:lnTo>
                    <a:pt x="0" y="638"/>
                  </a:lnTo>
                  <a:lnTo>
                    <a:pt x="7" y="618"/>
                  </a:lnTo>
                  <a:lnTo>
                    <a:pt x="20" y="620"/>
                  </a:lnTo>
                  <a:lnTo>
                    <a:pt x="31" y="594"/>
                  </a:lnTo>
                  <a:lnTo>
                    <a:pt x="31" y="561"/>
                  </a:lnTo>
                  <a:lnTo>
                    <a:pt x="34" y="551"/>
                  </a:lnTo>
                  <a:lnTo>
                    <a:pt x="51" y="541"/>
                  </a:lnTo>
                  <a:lnTo>
                    <a:pt x="74" y="526"/>
                  </a:lnTo>
                  <a:lnTo>
                    <a:pt x="74" y="510"/>
                  </a:lnTo>
                  <a:lnTo>
                    <a:pt x="70" y="457"/>
                  </a:lnTo>
                  <a:lnTo>
                    <a:pt x="62" y="450"/>
                  </a:lnTo>
                  <a:lnTo>
                    <a:pt x="62" y="435"/>
                  </a:lnTo>
                  <a:lnTo>
                    <a:pt x="82" y="428"/>
                  </a:lnTo>
                  <a:lnTo>
                    <a:pt x="90" y="421"/>
                  </a:lnTo>
                  <a:lnTo>
                    <a:pt x="78" y="401"/>
                  </a:lnTo>
                  <a:lnTo>
                    <a:pt x="62" y="380"/>
                  </a:lnTo>
                  <a:lnTo>
                    <a:pt x="67" y="356"/>
                  </a:lnTo>
                  <a:lnTo>
                    <a:pt x="70" y="338"/>
                  </a:lnTo>
                  <a:lnTo>
                    <a:pt x="86" y="307"/>
                  </a:lnTo>
                  <a:lnTo>
                    <a:pt x="86" y="292"/>
                  </a:lnTo>
                  <a:lnTo>
                    <a:pt x="86" y="265"/>
                  </a:lnTo>
                  <a:lnTo>
                    <a:pt x="98" y="240"/>
                  </a:lnTo>
                  <a:lnTo>
                    <a:pt x="117" y="226"/>
                  </a:lnTo>
                  <a:lnTo>
                    <a:pt x="137" y="215"/>
                  </a:lnTo>
                  <a:lnTo>
                    <a:pt x="155" y="219"/>
                  </a:lnTo>
                  <a:lnTo>
                    <a:pt x="176" y="226"/>
                  </a:lnTo>
                  <a:lnTo>
                    <a:pt x="183" y="202"/>
                  </a:lnTo>
                  <a:lnTo>
                    <a:pt x="176" y="181"/>
                  </a:lnTo>
                  <a:lnTo>
                    <a:pt x="168" y="166"/>
                  </a:lnTo>
                  <a:lnTo>
                    <a:pt x="164" y="156"/>
                  </a:lnTo>
                  <a:lnTo>
                    <a:pt x="168" y="145"/>
                  </a:lnTo>
                  <a:lnTo>
                    <a:pt x="180" y="142"/>
                  </a:lnTo>
                  <a:lnTo>
                    <a:pt x="183" y="118"/>
                  </a:lnTo>
                  <a:lnTo>
                    <a:pt x="192" y="97"/>
                  </a:lnTo>
                  <a:lnTo>
                    <a:pt x="194" y="80"/>
                  </a:lnTo>
                  <a:lnTo>
                    <a:pt x="194" y="61"/>
                  </a:lnTo>
                  <a:lnTo>
                    <a:pt x="206" y="44"/>
                  </a:lnTo>
                  <a:lnTo>
                    <a:pt x="230" y="30"/>
                  </a:lnTo>
                  <a:lnTo>
                    <a:pt x="246" y="27"/>
                  </a:lnTo>
                  <a:lnTo>
                    <a:pt x="251" y="4"/>
                  </a:lnTo>
                </a:path>
              </a:pathLst>
            </a:custGeom>
            <a:solidFill>
              <a:schemeClr val="accent2">
                <a:lumMod val="60000"/>
                <a:lumOff val="40000"/>
              </a:schemeClr>
            </a:solidFill>
            <a:ln w="9525" cap="flat" cmpd="sng">
              <a:solidFill>
                <a:schemeClr val="accent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1" name="Freeform 449"/>
            <p:cNvSpPr>
              <a:spLocks/>
            </p:cNvSpPr>
            <p:nvPr/>
          </p:nvSpPr>
          <p:spPr bwMode="auto">
            <a:xfrm>
              <a:off x="1502" y="2732"/>
              <a:ext cx="324" cy="411"/>
            </a:xfrm>
            <a:custGeom>
              <a:avLst/>
              <a:gdLst>
                <a:gd name="T0" fmla="*/ 177 w 307"/>
                <a:gd name="T1" fmla="*/ 0 h 436"/>
                <a:gd name="T2" fmla="*/ 194 w 307"/>
                <a:gd name="T3" fmla="*/ 37 h 436"/>
                <a:gd name="T4" fmla="*/ 211 w 307"/>
                <a:gd name="T5" fmla="*/ 38 h 436"/>
                <a:gd name="T6" fmla="*/ 256 w 307"/>
                <a:gd name="T7" fmla="*/ 45 h 436"/>
                <a:gd name="T8" fmla="*/ 279 w 307"/>
                <a:gd name="T9" fmla="*/ 56 h 436"/>
                <a:gd name="T10" fmla="*/ 299 w 307"/>
                <a:gd name="T11" fmla="*/ 89 h 436"/>
                <a:gd name="T12" fmla="*/ 304 w 307"/>
                <a:gd name="T13" fmla="*/ 103 h 436"/>
                <a:gd name="T14" fmla="*/ 248 w 307"/>
                <a:gd name="T15" fmla="*/ 126 h 436"/>
                <a:gd name="T16" fmla="*/ 232 w 307"/>
                <a:gd name="T17" fmla="*/ 167 h 436"/>
                <a:gd name="T18" fmla="*/ 216 w 307"/>
                <a:gd name="T19" fmla="*/ 205 h 436"/>
                <a:gd name="T20" fmla="*/ 205 w 307"/>
                <a:gd name="T21" fmla="*/ 234 h 436"/>
                <a:gd name="T22" fmla="*/ 180 w 307"/>
                <a:gd name="T23" fmla="*/ 227 h 436"/>
                <a:gd name="T24" fmla="*/ 175 w 307"/>
                <a:gd name="T25" fmla="*/ 257 h 436"/>
                <a:gd name="T26" fmla="*/ 178 w 307"/>
                <a:gd name="T27" fmla="*/ 287 h 436"/>
                <a:gd name="T28" fmla="*/ 155 w 307"/>
                <a:gd name="T29" fmla="*/ 314 h 436"/>
                <a:gd name="T30" fmla="*/ 152 w 307"/>
                <a:gd name="T31" fmla="*/ 354 h 436"/>
                <a:gd name="T32" fmla="*/ 156 w 307"/>
                <a:gd name="T33" fmla="*/ 378 h 436"/>
                <a:gd name="T34" fmla="*/ 116 w 307"/>
                <a:gd name="T35" fmla="*/ 398 h 436"/>
                <a:gd name="T36" fmla="*/ 115 w 307"/>
                <a:gd name="T37" fmla="*/ 432 h 436"/>
                <a:gd name="T38" fmla="*/ 59 w 307"/>
                <a:gd name="T39" fmla="*/ 436 h 436"/>
                <a:gd name="T40" fmla="*/ 19 w 307"/>
                <a:gd name="T41" fmla="*/ 406 h 436"/>
                <a:gd name="T42" fmla="*/ 0 w 307"/>
                <a:gd name="T43" fmla="*/ 395 h 436"/>
                <a:gd name="T44" fmla="*/ 22 w 307"/>
                <a:gd name="T45" fmla="*/ 362 h 436"/>
                <a:gd name="T46" fmla="*/ 48 w 307"/>
                <a:gd name="T47" fmla="*/ 314 h 436"/>
                <a:gd name="T48" fmla="*/ 44 w 307"/>
                <a:gd name="T49" fmla="*/ 288 h 436"/>
                <a:gd name="T50" fmla="*/ 30 w 307"/>
                <a:gd name="T51" fmla="*/ 272 h 436"/>
                <a:gd name="T52" fmla="*/ 52 w 307"/>
                <a:gd name="T53" fmla="*/ 252 h 436"/>
                <a:gd name="T54" fmla="*/ 22 w 307"/>
                <a:gd name="T55" fmla="*/ 256 h 436"/>
                <a:gd name="T56" fmla="*/ 30 w 307"/>
                <a:gd name="T57" fmla="*/ 226 h 436"/>
                <a:gd name="T58" fmla="*/ 41 w 307"/>
                <a:gd name="T59" fmla="*/ 200 h 436"/>
                <a:gd name="T60" fmla="*/ 52 w 307"/>
                <a:gd name="T61" fmla="*/ 186 h 436"/>
                <a:gd name="T62" fmla="*/ 82 w 307"/>
                <a:gd name="T63" fmla="*/ 167 h 436"/>
                <a:gd name="T64" fmla="*/ 122 w 307"/>
                <a:gd name="T65" fmla="*/ 115 h 436"/>
                <a:gd name="T66" fmla="*/ 137 w 307"/>
                <a:gd name="T67" fmla="*/ 78 h 436"/>
                <a:gd name="T68" fmla="*/ 148 w 307"/>
                <a:gd name="T69" fmla="*/ 3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7" h="436">
                  <a:moveTo>
                    <a:pt x="155" y="4"/>
                  </a:moveTo>
                  <a:lnTo>
                    <a:pt x="177" y="0"/>
                  </a:lnTo>
                  <a:lnTo>
                    <a:pt x="192" y="17"/>
                  </a:lnTo>
                  <a:lnTo>
                    <a:pt x="194" y="37"/>
                  </a:lnTo>
                  <a:lnTo>
                    <a:pt x="200" y="41"/>
                  </a:lnTo>
                  <a:lnTo>
                    <a:pt x="211" y="38"/>
                  </a:lnTo>
                  <a:lnTo>
                    <a:pt x="246" y="52"/>
                  </a:lnTo>
                  <a:lnTo>
                    <a:pt x="256" y="45"/>
                  </a:lnTo>
                  <a:lnTo>
                    <a:pt x="270" y="44"/>
                  </a:lnTo>
                  <a:lnTo>
                    <a:pt x="279" y="56"/>
                  </a:lnTo>
                  <a:lnTo>
                    <a:pt x="287" y="76"/>
                  </a:lnTo>
                  <a:lnTo>
                    <a:pt x="299" y="89"/>
                  </a:lnTo>
                  <a:lnTo>
                    <a:pt x="307" y="96"/>
                  </a:lnTo>
                  <a:lnTo>
                    <a:pt x="304" y="103"/>
                  </a:lnTo>
                  <a:lnTo>
                    <a:pt x="277" y="110"/>
                  </a:lnTo>
                  <a:lnTo>
                    <a:pt x="248" y="126"/>
                  </a:lnTo>
                  <a:lnTo>
                    <a:pt x="249" y="153"/>
                  </a:lnTo>
                  <a:lnTo>
                    <a:pt x="232" y="167"/>
                  </a:lnTo>
                  <a:lnTo>
                    <a:pt x="218" y="179"/>
                  </a:lnTo>
                  <a:lnTo>
                    <a:pt x="216" y="205"/>
                  </a:lnTo>
                  <a:lnTo>
                    <a:pt x="216" y="222"/>
                  </a:lnTo>
                  <a:lnTo>
                    <a:pt x="205" y="234"/>
                  </a:lnTo>
                  <a:lnTo>
                    <a:pt x="196" y="222"/>
                  </a:lnTo>
                  <a:lnTo>
                    <a:pt x="180" y="227"/>
                  </a:lnTo>
                  <a:lnTo>
                    <a:pt x="178" y="235"/>
                  </a:lnTo>
                  <a:lnTo>
                    <a:pt x="175" y="257"/>
                  </a:lnTo>
                  <a:lnTo>
                    <a:pt x="181" y="265"/>
                  </a:lnTo>
                  <a:lnTo>
                    <a:pt x="178" y="287"/>
                  </a:lnTo>
                  <a:lnTo>
                    <a:pt x="168" y="297"/>
                  </a:lnTo>
                  <a:lnTo>
                    <a:pt x="155" y="314"/>
                  </a:lnTo>
                  <a:lnTo>
                    <a:pt x="149" y="328"/>
                  </a:lnTo>
                  <a:lnTo>
                    <a:pt x="152" y="354"/>
                  </a:lnTo>
                  <a:lnTo>
                    <a:pt x="163" y="369"/>
                  </a:lnTo>
                  <a:lnTo>
                    <a:pt x="156" y="378"/>
                  </a:lnTo>
                  <a:lnTo>
                    <a:pt x="127" y="387"/>
                  </a:lnTo>
                  <a:lnTo>
                    <a:pt x="116" y="398"/>
                  </a:lnTo>
                  <a:lnTo>
                    <a:pt x="115" y="410"/>
                  </a:lnTo>
                  <a:lnTo>
                    <a:pt x="115" y="432"/>
                  </a:lnTo>
                  <a:lnTo>
                    <a:pt x="82" y="432"/>
                  </a:lnTo>
                  <a:lnTo>
                    <a:pt x="59" y="436"/>
                  </a:lnTo>
                  <a:lnTo>
                    <a:pt x="33" y="406"/>
                  </a:lnTo>
                  <a:lnTo>
                    <a:pt x="19" y="406"/>
                  </a:lnTo>
                  <a:lnTo>
                    <a:pt x="7" y="406"/>
                  </a:lnTo>
                  <a:lnTo>
                    <a:pt x="0" y="395"/>
                  </a:lnTo>
                  <a:lnTo>
                    <a:pt x="7" y="384"/>
                  </a:lnTo>
                  <a:lnTo>
                    <a:pt x="22" y="362"/>
                  </a:lnTo>
                  <a:lnTo>
                    <a:pt x="30" y="340"/>
                  </a:lnTo>
                  <a:lnTo>
                    <a:pt x="48" y="314"/>
                  </a:lnTo>
                  <a:lnTo>
                    <a:pt x="52" y="299"/>
                  </a:lnTo>
                  <a:lnTo>
                    <a:pt x="44" y="288"/>
                  </a:lnTo>
                  <a:lnTo>
                    <a:pt x="33" y="278"/>
                  </a:lnTo>
                  <a:lnTo>
                    <a:pt x="30" y="272"/>
                  </a:lnTo>
                  <a:lnTo>
                    <a:pt x="44" y="267"/>
                  </a:lnTo>
                  <a:lnTo>
                    <a:pt x="52" y="252"/>
                  </a:lnTo>
                  <a:lnTo>
                    <a:pt x="37" y="248"/>
                  </a:lnTo>
                  <a:lnTo>
                    <a:pt x="22" y="256"/>
                  </a:lnTo>
                  <a:lnTo>
                    <a:pt x="22" y="237"/>
                  </a:lnTo>
                  <a:lnTo>
                    <a:pt x="30" y="226"/>
                  </a:lnTo>
                  <a:lnTo>
                    <a:pt x="37" y="215"/>
                  </a:lnTo>
                  <a:lnTo>
                    <a:pt x="41" y="200"/>
                  </a:lnTo>
                  <a:lnTo>
                    <a:pt x="44" y="189"/>
                  </a:lnTo>
                  <a:lnTo>
                    <a:pt x="52" y="186"/>
                  </a:lnTo>
                  <a:lnTo>
                    <a:pt x="63" y="193"/>
                  </a:lnTo>
                  <a:lnTo>
                    <a:pt x="82" y="167"/>
                  </a:lnTo>
                  <a:lnTo>
                    <a:pt x="93" y="149"/>
                  </a:lnTo>
                  <a:lnTo>
                    <a:pt x="122" y="115"/>
                  </a:lnTo>
                  <a:lnTo>
                    <a:pt x="122" y="101"/>
                  </a:lnTo>
                  <a:lnTo>
                    <a:pt x="137" y="78"/>
                  </a:lnTo>
                  <a:lnTo>
                    <a:pt x="141" y="52"/>
                  </a:lnTo>
                  <a:lnTo>
                    <a:pt x="148" y="38"/>
                  </a:lnTo>
                  <a:lnTo>
                    <a:pt x="155" y="4"/>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2" name="Freeform 450"/>
            <p:cNvSpPr>
              <a:spLocks/>
            </p:cNvSpPr>
            <p:nvPr/>
          </p:nvSpPr>
          <p:spPr bwMode="auto">
            <a:xfrm>
              <a:off x="1623" y="2603"/>
              <a:ext cx="850" cy="676"/>
            </a:xfrm>
            <a:custGeom>
              <a:avLst/>
              <a:gdLst>
                <a:gd name="T0" fmla="*/ 39 w 850"/>
                <a:gd name="T1" fmla="*/ 122 h 676"/>
                <a:gd name="T2" fmla="*/ 66 w 850"/>
                <a:gd name="T3" fmla="*/ 73 h 676"/>
                <a:gd name="T4" fmla="*/ 59 w 850"/>
                <a:gd name="T5" fmla="*/ 56 h 676"/>
                <a:gd name="T6" fmla="*/ 46 w 850"/>
                <a:gd name="T7" fmla="*/ 39 h 676"/>
                <a:gd name="T8" fmla="*/ 93 w 850"/>
                <a:gd name="T9" fmla="*/ 18 h 676"/>
                <a:gd name="T10" fmla="*/ 128 w 850"/>
                <a:gd name="T11" fmla="*/ 10 h 676"/>
                <a:gd name="T12" fmla="*/ 164 w 850"/>
                <a:gd name="T13" fmla="*/ 4 h 676"/>
                <a:gd name="T14" fmla="*/ 234 w 850"/>
                <a:gd name="T15" fmla="*/ 53 h 676"/>
                <a:gd name="T16" fmla="*/ 283 w 850"/>
                <a:gd name="T17" fmla="*/ 56 h 676"/>
                <a:gd name="T18" fmla="*/ 418 w 850"/>
                <a:gd name="T19" fmla="*/ 112 h 676"/>
                <a:gd name="T20" fmla="*/ 476 w 850"/>
                <a:gd name="T21" fmla="*/ 125 h 676"/>
                <a:gd name="T22" fmla="*/ 516 w 850"/>
                <a:gd name="T23" fmla="*/ 153 h 676"/>
                <a:gd name="T24" fmla="*/ 554 w 850"/>
                <a:gd name="T25" fmla="*/ 157 h 676"/>
                <a:gd name="T26" fmla="*/ 554 w 850"/>
                <a:gd name="T27" fmla="*/ 174 h 676"/>
                <a:gd name="T28" fmla="*/ 616 w 850"/>
                <a:gd name="T29" fmla="*/ 227 h 676"/>
                <a:gd name="T30" fmla="*/ 667 w 850"/>
                <a:gd name="T31" fmla="*/ 248 h 676"/>
                <a:gd name="T32" fmla="*/ 744 w 850"/>
                <a:gd name="T33" fmla="*/ 268 h 676"/>
                <a:gd name="T34" fmla="*/ 760 w 850"/>
                <a:gd name="T35" fmla="*/ 293 h 676"/>
                <a:gd name="T36" fmla="*/ 807 w 850"/>
                <a:gd name="T37" fmla="*/ 303 h 676"/>
                <a:gd name="T38" fmla="*/ 838 w 850"/>
                <a:gd name="T39" fmla="*/ 307 h 676"/>
                <a:gd name="T40" fmla="*/ 850 w 850"/>
                <a:gd name="T41" fmla="*/ 317 h 676"/>
                <a:gd name="T42" fmla="*/ 838 w 850"/>
                <a:gd name="T43" fmla="*/ 346 h 676"/>
                <a:gd name="T44" fmla="*/ 748 w 850"/>
                <a:gd name="T45" fmla="*/ 387 h 676"/>
                <a:gd name="T46" fmla="*/ 644 w 850"/>
                <a:gd name="T47" fmla="*/ 408 h 676"/>
                <a:gd name="T48" fmla="*/ 628 w 850"/>
                <a:gd name="T49" fmla="*/ 428 h 676"/>
                <a:gd name="T50" fmla="*/ 596 w 850"/>
                <a:gd name="T51" fmla="*/ 457 h 676"/>
                <a:gd name="T52" fmla="*/ 562 w 850"/>
                <a:gd name="T53" fmla="*/ 474 h 676"/>
                <a:gd name="T54" fmla="*/ 546 w 850"/>
                <a:gd name="T55" fmla="*/ 516 h 676"/>
                <a:gd name="T56" fmla="*/ 562 w 850"/>
                <a:gd name="T57" fmla="*/ 539 h 676"/>
                <a:gd name="T58" fmla="*/ 558 w 850"/>
                <a:gd name="T59" fmla="*/ 564 h 676"/>
                <a:gd name="T60" fmla="*/ 519 w 850"/>
                <a:gd name="T61" fmla="*/ 586 h 676"/>
                <a:gd name="T62" fmla="*/ 476 w 850"/>
                <a:gd name="T63" fmla="*/ 620 h 676"/>
                <a:gd name="T64" fmla="*/ 468 w 850"/>
                <a:gd name="T65" fmla="*/ 637 h 676"/>
                <a:gd name="T66" fmla="*/ 414 w 850"/>
                <a:gd name="T67" fmla="*/ 641 h 676"/>
                <a:gd name="T68" fmla="*/ 391 w 850"/>
                <a:gd name="T69" fmla="*/ 652 h 676"/>
                <a:gd name="T70" fmla="*/ 359 w 850"/>
                <a:gd name="T71" fmla="*/ 672 h 676"/>
                <a:gd name="T72" fmla="*/ 325 w 850"/>
                <a:gd name="T73" fmla="*/ 669 h 676"/>
                <a:gd name="T74" fmla="*/ 218 w 850"/>
                <a:gd name="T75" fmla="*/ 641 h 676"/>
                <a:gd name="T76" fmla="*/ 164 w 850"/>
                <a:gd name="T77" fmla="*/ 645 h 676"/>
                <a:gd name="T78" fmla="*/ 121 w 850"/>
                <a:gd name="T79" fmla="*/ 658 h 676"/>
                <a:gd name="T80" fmla="*/ 89 w 850"/>
                <a:gd name="T81" fmla="*/ 676 h 676"/>
                <a:gd name="T82" fmla="*/ 46 w 850"/>
                <a:gd name="T83" fmla="*/ 575 h 676"/>
                <a:gd name="T84" fmla="*/ 4 w 850"/>
                <a:gd name="T85" fmla="*/ 537 h 676"/>
                <a:gd name="T86" fmla="*/ 0 w 850"/>
                <a:gd name="T87" fmla="*/ 505 h 676"/>
                <a:gd name="T88" fmla="*/ 43 w 850"/>
                <a:gd name="T89" fmla="*/ 484 h 676"/>
                <a:gd name="T90" fmla="*/ 39 w 850"/>
                <a:gd name="T91" fmla="*/ 463 h 676"/>
                <a:gd name="T92" fmla="*/ 46 w 850"/>
                <a:gd name="T93" fmla="*/ 418 h 676"/>
                <a:gd name="T94" fmla="*/ 70 w 850"/>
                <a:gd name="T95" fmla="*/ 380 h 676"/>
                <a:gd name="T96" fmla="*/ 70 w 850"/>
                <a:gd name="T97" fmla="*/ 342 h 676"/>
                <a:gd name="T98" fmla="*/ 85 w 850"/>
                <a:gd name="T99" fmla="*/ 339 h 676"/>
                <a:gd name="T100" fmla="*/ 105 w 850"/>
                <a:gd name="T101" fmla="*/ 335 h 676"/>
                <a:gd name="T102" fmla="*/ 139 w 850"/>
                <a:gd name="T103" fmla="*/ 272 h 676"/>
                <a:gd name="T104" fmla="*/ 139 w 850"/>
                <a:gd name="T105" fmla="*/ 248 h 676"/>
                <a:gd name="T106" fmla="*/ 195 w 850"/>
                <a:gd name="T107" fmla="*/ 227 h 676"/>
                <a:gd name="T108" fmla="*/ 183 w 850"/>
                <a:gd name="T109" fmla="*/ 202 h 676"/>
                <a:gd name="T110" fmla="*/ 159 w 850"/>
                <a:gd name="T111" fmla="*/ 168 h 676"/>
                <a:gd name="T112" fmla="*/ 121 w 850"/>
                <a:gd name="T113" fmla="*/ 171 h 676"/>
                <a:gd name="T114" fmla="*/ 89 w 850"/>
                <a:gd name="T115" fmla="*/ 168 h 676"/>
                <a:gd name="T116" fmla="*/ 82 w 850"/>
                <a:gd name="T117" fmla="*/ 147 h 676"/>
                <a:gd name="T118" fmla="*/ 62 w 850"/>
                <a:gd name="T119" fmla="*/ 129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0" h="676">
                  <a:moveTo>
                    <a:pt x="43" y="133"/>
                  </a:moveTo>
                  <a:lnTo>
                    <a:pt x="39" y="122"/>
                  </a:lnTo>
                  <a:lnTo>
                    <a:pt x="43" y="108"/>
                  </a:lnTo>
                  <a:lnTo>
                    <a:pt x="66" y="73"/>
                  </a:lnTo>
                  <a:lnTo>
                    <a:pt x="55" y="66"/>
                  </a:lnTo>
                  <a:lnTo>
                    <a:pt x="59" y="56"/>
                  </a:lnTo>
                  <a:lnTo>
                    <a:pt x="46" y="53"/>
                  </a:lnTo>
                  <a:lnTo>
                    <a:pt x="46" y="39"/>
                  </a:lnTo>
                  <a:lnTo>
                    <a:pt x="55" y="28"/>
                  </a:lnTo>
                  <a:lnTo>
                    <a:pt x="93" y="18"/>
                  </a:lnTo>
                  <a:lnTo>
                    <a:pt x="125" y="21"/>
                  </a:lnTo>
                  <a:lnTo>
                    <a:pt x="128" y="10"/>
                  </a:lnTo>
                  <a:lnTo>
                    <a:pt x="151" y="0"/>
                  </a:lnTo>
                  <a:lnTo>
                    <a:pt x="164" y="4"/>
                  </a:lnTo>
                  <a:lnTo>
                    <a:pt x="191" y="35"/>
                  </a:lnTo>
                  <a:lnTo>
                    <a:pt x="234" y="53"/>
                  </a:lnTo>
                  <a:lnTo>
                    <a:pt x="273" y="53"/>
                  </a:lnTo>
                  <a:lnTo>
                    <a:pt x="283" y="56"/>
                  </a:lnTo>
                  <a:lnTo>
                    <a:pt x="387" y="108"/>
                  </a:lnTo>
                  <a:lnTo>
                    <a:pt x="418" y="112"/>
                  </a:lnTo>
                  <a:lnTo>
                    <a:pt x="441" y="133"/>
                  </a:lnTo>
                  <a:lnTo>
                    <a:pt x="476" y="125"/>
                  </a:lnTo>
                  <a:lnTo>
                    <a:pt x="496" y="137"/>
                  </a:lnTo>
                  <a:lnTo>
                    <a:pt x="516" y="153"/>
                  </a:lnTo>
                  <a:lnTo>
                    <a:pt x="539" y="153"/>
                  </a:lnTo>
                  <a:lnTo>
                    <a:pt x="554" y="157"/>
                  </a:lnTo>
                  <a:lnTo>
                    <a:pt x="562" y="164"/>
                  </a:lnTo>
                  <a:lnTo>
                    <a:pt x="554" y="174"/>
                  </a:lnTo>
                  <a:lnTo>
                    <a:pt x="554" y="188"/>
                  </a:lnTo>
                  <a:lnTo>
                    <a:pt x="616" y="227"/>
                  </a:lnTo>
                  <a:lnTo>
                    <a:pt x="651" y="251"/>
                  </a:lnTo>
                  <a:lnTo>
                    <a:pt x="667" y="248"/>
                  </a:lnTo>
                  <a:lnTo>
                    <a:pt x="685" y="244"/>
                  </a:lnTo>
                  <a:lnTo>
                    <a:pt x="744" y="268"/>
                  </a:lnTo>
                  <a:lnTo>
                    <a:pt x="751" y="286"/>
                  </a:lnTo>
                  <a:lnTo>
                    <a:pt x="760" y="293"/>
                  </a:lnTo>
                  <a:lnTo>
                    <a:pt x="779" y="291"/>
                  </a:lnTo>
                  <a:lnTo>
                    <a:pt x="807" y="303"/>
                  </a:lnTo>
                  <a:lnTo>
                    <a:pt x="823" y="303"/>
                  </a:lnTo>
                  <a:lnTo>
                    <a:pt x="838" y="307"/>
                  </a:lnTo>
                  <a:lnTo>
                    <a:pt x="843" y="303"/>
                  </a:lnTo>
                  <a:lnTo>
                    <a:pt x="850" y="317"/>
                  </a:lnTo>
                  <a:lnTo>
                    <a:pt x="850" y="335"/>
                  </a:lnTo>
                  <a:lnTo>
                    <a:pt x="838" y="346"/>
                  </a:lnTo>
                  <a:lnTo>
                    <a:pt x="776" y="387"/>
                  </a:lnTo>
                  <a:lnTo>
                    <a:pt x="748" y="387"/>
                  </a:lnTo>
                  <a:lnTo>
                    <a:pt x="671" y="404"/>
                  </a:lnTo>
                  <a:lnTo>
                    <a:pt x="644" y="408"/>
                  </a:lnTo>
                  <a:lnTo>
                    <a:pt x="644" y="428"/>
                  </a:lnTo>
                  <a:lnTo>
                    <a:pt x="628" y="428"/>
                  </a:lnTo>
                  <a:lnTo>
                    <a:pt x="612" y="439"/>
                  </a:lnTo>
                  <a:lnTo>
                    <a:pt x="596" y="457"/>
                  </a:lnTo>
                  <a:lnTo>
                    <a:pt x="581" y="470"/>
                  </a:lnTo>
                  <a:lnTo>
                    <a:pt x="562" y="474"/>
                  </a:lnTo>
                  <a:lnTo>
                    <a:pt x="546" y="491"/>
                  </a:lnTo>
                  <a:lnTo>
                    <a:pt x="546" y="516"/>
                  </a:lnTo>
                  <a:lnTo>
                    <a:pt x="558" y="529"/>
                  </a:lnTo>
                  <a:lnTo>
                    <a:pt x="562" y="539"/>
                  </a:lnTo>
                  <a:lnTo>
                    <a:pt x="562" y="557"/>
                  </a:lnTo>
                  <a:lnTo>
                    <a:pt x="558" y="564"/>
                  </a:lnTo>
                  <a:lnTo>
                    <a:pt x="542" y="568"/>
                  </a:lnTo>
                  <a:lnTo>
                    <a:pt x="519" y="586"/>
                  </a:lnTo>
                  <a:lnTo>
                    <a:pt x="488" y="610"/>
                  </a:lnTo>
                  <a:lnTo>
                    <a:pt x="476" y="620"/>
                  </a:lnTo>
                  <a:lnTo>
                    <a:pt x="468" y="627"/>
                  </a:lnTo>
                  <a:lnTo>
                    <a:pt x="468" y="637"/>
                  </a:lnTo>
                  <a:lnTo>
                    <a:pt x="434" y="637"/>
                  </a:lnTo>
                  <a:lnTo>
                    <a:pt x="414" y="641"/>
                  </a:lnTo>
                  <a:lnTo>
                    <a:pt x="398" y="645"/>
                  </a:lnTo>
                  <a:lnTo>
                    <a:pt x="391" y="652"/>
                  </a:lnTo>
                  <a:lnTo>
                    <a:pt x="379" y="666"/>
                  </a:lnTo>
                  <a:lnTo>
                    <a:pt x="359" y="672"/>
                  </a:lnTo>
                  <a:lnTo>
                    <a:pt x="348" y="672"/>
                  </a:lnTo>
                  <a:lnTo>
                    <a:pt x="325" y="669"/>
                  </a:lnTo>
                  <a:lnTo>
                    <a:pt x="286" y="666"/>
                  </a:lnTo>
                  <a:lnTo>
                    <a:pt x="218" y="641"/>
                  </a:lnTo>
                  <a:lnTo>
                    <a:pt x="191" y="637"/>
                  </a:lnTo>
                  <a:lnTo>
                    <a:pt x="164" y="645"/>
                  </a:lnTo>
                  <a:lnTo>
                    <a:pt x="144" y="655"/>
                  </a:lnTo>
                  <a:lnTo>
                    <a:pt x="121" y="658"/>
                  </a:lnTo>
                  <a:lnTo>
                    <a:pt x="101" y="669"/>
                  </a:lnTo>
                  <a:lnTo>
                    <a:pt x="89" y="676"/>
                  </a:lnTo>
                  <a:lnTo>
                    <a:pt x="46" y="635"/>
                  </a:lnTo>
                  <a:lnTo>
                    <a:pt x="46" y="575"/>
                  </a:lnTo>
                  <a:lnTo>
                    <a:pt x="27" y="554"/>
                  </a:lnTo>
                  <a:lnTo>
                    <a:pt x="4" y="537"/>
                  </a:lnTo>
                  <a:lnTo>
                    <a:pt x="0" y="526"/>
                  </a:lnTo>
                  <a:lnTo>
                    <a:pt x="0" y="505"/>
                  </a:lnTo>
                  <a:lnTo>
                    <a:pt x="12" y="494"/>
                  </a:lnTo>
                  <a:lnTo>
                    <a:pt x="43" y="484"/>
                  </a:lnTo>
                  <a:lnTo>
                    <a:pt x="50" y="477"/>
                  </a:lnTo>
                  <a:lnTo>
                    <a:pt x="39" y="463"/>
                  </a:lnTo>
                  <a:lnTo>
                    <a:pt x="35" y="439"/>
                  </a:lnTo>
                  <a:lnTo>
                    <a:pt x="46" y="418"/>
                  </a:lnTo>
                  <a:lnTo>
                    <a:pt x="70" y="397"/>
                  </a:lnTo>
                  <a:lnTo>
                    <a:pt x="70" y="380"/>
                  </a:lnTo>
                  <a:lnTo>
                    <a:pt x="62" y="366"/>
                  </a:lnTo>
                  <a:lnTo>
                    <a:pt x="70" y="342"/>
                  </a:lnTo>
                  <a:lnTo>
                    <a:pt x="73" y="339"/>
                  </a:lnTo>
                  <a:lnTo>
                    <a:pt x="85" y="339"/>
                  </a:lnTo>
                  <a:lnTo>
                    <a:pt x="93" y="349"/>
                  </a:lnTo>
                  <a:lnTo>
                    <a:pt x="105" y="335"/>
                  </a:lnTo>
                  <a:lnTo>
                    <a:pt x="109" y="297"/>
                  </a:lnTo>
                  <a:lnTo>
                    <a:pt x="139" y="272"/>
                  </a:lnTo>
                  <a:lnTo>
                    <a:pt x="139" y="258"/>
                  </a:lnTo>
                  <a:lnTo>
                    <a:pt x="139" y="248"/>
                  </a:lnTo>
                  <a:lnTo>
                    <a:pt x="171" y="231"/>
                  </a:lnTo>
                  <a:lnTo>
                    <a:pt x="195" y="227"/>
                  </a:lnTo>
                  <a:lnTo>
                    <a:pt x="203" y="219"/>
                  </a:lnTo>
                  <a:lnTo>
                    <a:pt x="183" y="202"/>
                  </a:lnTo>
                  <a:lnTo>
                    <a:pt x="167" y="174"/>
                  </a:lnTo>
                  <a:lnTo>
                    <a:pt x="159" y="168"/>
                  </a:lnTo>
                  <a:lnTo>
                    <a:pt x="136" y="178"/>
                  </a:lnTo>
                  <a:lnTo>
                    <a:pt x="121" y="171"/>
                  </a:lnTo>
                  <a:lnTo>
                    <a:pt x="97" y="164"/>
                  </a:lnTo>
                  <a:lnTo>
                    <a:pt x="89" y="168"/>
                  </a:lnTo>
                  <a:lnTo>
                    <a:pt x="82" y="160"/>
                  </a:lnTo>
                  <a:lnTo>
                    <a:pt x="82" y="147"/>
                  </a:lnTo>
                  <a:lnTo>
                    <a:pt x="70" y="133"/>
                  </a:lnTo>
                  <a:lnTo>
                    <a:pt x="62" y="129"/>
                  </a:lnTo>
                  <a:lnTo>
                    <a:pt x="43" y="133"/>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3" name="Freeform 451"/>
            <p:cNvSpPr>
              <a:spLocks/>
            </p:cNvSpPr>
            <p:nvPr/>
          </p:nvSpPr>
          <p:spPr bwMode="auto">
            <a:xfrm>
              <a:off x="2760" y="2621"/>
              <a:ext cx="771" cy="786"/>
            </a:xfrm>
            <a:custGeom>
              <a:avLst/>
              <a:gdLst>
                <a:gd name="T0" fmla="*/ 564 w 736"/>
                <a:gd name="T1" fmla="*/ 819 h 830"/>
                <a:gd name="T2" fmla="*/ 608 w 736"/>
                <a:gd name="T3" fmla="*/ 741 h 830"/>
                <a:gd name="T4" fmla="*/ 627 w 736"/>
                <a:gd name="T5" fmla="*/ 715 h 830"/>
                <a:gd name="T6" fmla="*/ 612 w 736"/>
                <a:gd name="T7" fmla="*/ 678 h 830"/>
                <a:gd name="T8" fmla="*/ 594 w 736"/>
                <a:gd name="T9" fmla="*/ 674 h 830"/>
                <a:gd name="T10" fmla="*/ 608 w 736"/>
                <a:gd name="T11" fmla="*/ 645 h 830"/>
                <a:gd name="T12" fmla="*/ 631 w 736"/>
                <a:gd name="T13" fmla="*/ 604 h 830"/>
                <a:gd name="T14" fmla="*/ 701 w 736"/>
                <a:gd name="T15" fmla="*/ 652 h 830"/>
                <a:gd name="T16" fmla="*/ 730 w 736"/>
                <a:gd name="T17" fmla="*/ 652 h 830"/>
                <a:gd name="T18" fmla="*/ 708 w 736"/>
                <a:gd name="T19" fmla="*/ 596 h 830"/>
                <a:gd name="T20" fmla="*/ 686 w 736"/>
                <a:gd name="T21" fmla="*/ 593 h 830"/>
                <a:gd name="T22" fmla="*/ 608 w 736"/>
                <a:gd name="T23" fmla="*/ 530 h 830"/>
                <a:gd name="T24" fmla="*/ 560 w 736"/>
                <a:gd name="T25" fmla="*/ 496 h 830"/>
                <a:gd name="T26" fmla="*/ 564 w 736"/>
                <a:gd name="T27" fmla="*/ 474 h 830"/>
                <a:gd name="T28" fmla="*/ 490 w 736"/>
                <a:gd name="T29" fmla="*/ 440 h 830"/>
                <a:gd name="T30" fmla="*/ 457 w 736"/>
                <a:gd name="T31" fmla="*/ 411 h 830"/>
                <a:gd name="T32" fmla="*/ 379 w 736"/>
                <a:gd name="T33" fmla="*/ 293 h 830"/>
                <a:gd name="T34" fmla="*/ 364 w 736"/>
                <a:gd name="T35" fmla="*/ 200 h 830"/>
                <a:gd name="T36" fmla="*/ 342 w 736"/>
                <a:gd name="T37" fmla="*/ 163 h 830"/>
                <a:gd name="T38" fmla="*/ 405 w 736"/>
                <a:gd name="T39" fmla="*/ 134 h 830"/>
                <a:gd name="T40" fmla="*/ 434 w 736"/>
                <a:gd name="T41" fmla="*/ 70 h 830"/>
                <a:gd name="T42" fmla="*/ 368 w 736"/>
                <a:gd name="T43" fmla="*/ 41 h 830"/>
                <a:gd name="T44" fmla="*/ 357 w 736"/>
                <a:gd name="T45" fmla="*/ 15 h 830"/>
                <a:gd name="T46" fmla="*/ 264 w 736"/>
                <a:gd name="T47" fmla="*/ 4 h 830"/>
                <a:gd name="T48" fmla="*/ 219 w 736"/>
                <a:gd name="T49" fmla="*/ 52 h 830"/>
                <a:gd name="T50" fmla="*/ 181 w 736"/>
                <a:gd name="T51" fmla="*/ 48 h 830"/>
                <a:gd name="T52" fmla="*/ 133 w 736"/>
                <a:gd name="T53" fmla="*/ 63 h 830"/>
                <a:gd name="T54" fmla="*/ 115 w 736"/>
                <a:gd name="T55" fmla="*/ 30 h 830"/>
                <a:gd name="T56" fmla="*/ 89 w 736"/>
                <a:gd name="T57" fmla="*/ 59 h 830"/>
                <a:gd name="T58" fmla="*/ 22 w 736"/>
                <a:gd name="T59" fmla="*/ 85 h 830"/>
                <a:gd name="T60" fmla="*/ 7 w 736"/>
                <a:gd name="T61" fmla="*/ 137 h 830"/>
                <a:gd name="T62" fmla="*/ 0 w 736"/>
                <a:gd name="T63" fmla="*/ 189 h 830"/>
                <a:gd name="T64" fmla="*/ 30 w 736"/>
                <a:gd name="T65" fmla="*/ 208 h 830"/>
                <a:gd name="T66" fmla="*/ 52 w 736"/>
                <a:gd name="T67" fmla="*/ 249 h 830"/>
                <a:gd name="T68" fmla="*/ 122 w 736"/>
                <a:gd name="T69" fmla="*/ 211 h 830"/>
                <a:gd name="T70" fmla="*/ 189 w 736"/>
                <a:gd name="T71" fmla="*/ 271 h 830"/>
                <a:gd name="T72" fmla="*/ 219 w 736"/>
                <a:gd name="T73" fmla="*/ 352 h 830"/>
                <a:gd name="T74" fmla="*/ 271 w 736"/>
                <a:gd name="T75" fmla="*/ 397 h 830"/>
                <a:gd name="T76" fmla="*/ 338 w 736"/>
                <a:gd name="T77" fmla="*/ 478 h 830"/>
                <a:gd name="T78" fmla="*/ 442 w 736"/>
                <a:gd name="T79" fmla="*/ 555 h 830"/>
                <a:gd name="T80" fmla="*/ 475 w 736"/>
                <a:gd name="T81" fmla="*/ 578 h 830"/>
                <a:gd name="T82" fmla="*/ 501 w 736"/>
                <a:gd name="T83" fmla="*/ 630 h 830"/>
                <a:gd name="T84" fmla="*/ 542 w 736"/>
                <a:gd name="T85" fmla="*/ 645 h 830"/>
                <a:gd name="T86" fmla="*/ 557 w 736"/>
                <a:gd name="T87" fmla="*/ 711 h 830"/>
                <a:gd name="T88" fmla="*/ 545 w 736"/>
                <a:gd name="T89" fmla="*/ 760 h 830"/>
                <a:gd name="T90" fmla="*/ 534 w 736"/>
                <a:gd name="T91" fmla="*/ 819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6" h="830">
                  <a:moveTo>
                    <a:pt x="534" y="819"/>
                  </a:moveTo>
                  <a:lnTo>
                    <a:pt x="545" y="830"/>
                  </a:lnTo>
                  <a:lnTo>
                    <a:pt x="564" y="819"/>
                  </a:lnTo>
                  <a:lnTo>
                    <a:pt x="586" y="789"/>
                  </a:lnTo>
                  <a:lnTo>
                    <a:pt x="597" y="745"/>
                  </a:lnTo>
                  <a:lnTo>
                    <a:pt x="608" y="741"/>
                  </a:lnTo>
                  <a:lnTo>
                    <a:pt x="616" y="748"/>
                  </a:lnTo>
                  <a:lnTo>
                    <a:pt x="631" y="734"/>
                  </a:lnTo>
                  <a:lnTo>
                    <a:pt x="627" y="715"/>
                  </a:lnTo>
                  <a:lnTo>
                    <a:pt x="634" y="700"/>
                  </a:lnTo>
                  <a:lnTo>
                    <a:pt x="631" y="693"/>
                  </a:lnTo>
                  <a:lnTo>
                    <a:pt x="612" y="678"/>
                  </a:lnTo>
                  <a:lnTo>
                    <a:pt x="605" y="678"/>
                  </a:lnTo>
                  <a:lnTo>
                    <a:pt x="608" y="670"/>
                  </a:lnTo>
                  <a:lnTo>
                    <a:pt x="594" y="674"/>
                  </a:lnTo>
                  <a:lnTo>
                    <a:pt x="586" y="667"/>
                  </a:lnTo>
                  <a:lnTo>
                    <a:pt x="586" y="659"/>
                  </a:lnTo>
                  <a:lnTo>
                    <a:pt x="608" y="645"/>
                  </a:lnTo>
                  <a:lnTo>
                    <a:pt x="619" y="630"/>
                  </a:lnTo>
                  <a:lnTo>
                    <a:pt x="619" y="607"/>
                  </a:lnTo>
                  <a:lnTo>
                    <a:pt x="631" y="604"/>
                  </a:lnTo>
                  <a:lnTo>
                    <a:pt x="668" y="622"/>
                  </a:lnTo>
                  <a:lnTo>
                    <a:pt x="682" y="626"/>
                  </a:lnTo>
                  <a:lnTo>
                    <a:pt x="701" y="652"/>
                  </a:lnTo>
                  <a:lnTo>
                    <a:pt x="708" y="667"/>
                  </a:lnTo>
                  <a:lnTo>
                    <a:pt x="719" y="667"/>
                  </a:lnTo>
                  <a:lnTo>
                    <a:pt x="730" y="652"/>
                  </a:lnTo>
                  <a:lnTo>
                    <a:pt x="736" y="637"/>
                  </a:lnTo>
                  <a:lnTo>
                    <a:pt x="723" y="611"/>
                  </a:lnTo>
                  <a:lnTo>
                    <a:pt x="708" y="596"/>
                  </a:lnTo>
                  <a:lnTo>
                    <a:pt x="694" y="596"/>
                  </a:lnTo>
                  <a:lnTo>
                    <a:pt x="694" y="593"/>
                  </a:lnTo>
                  <a:lnTo>
                    <a:pt x="686" y="593"/>
                  </a:lnTo>
                  <a:lnTo>
                    <a:pt x="649" y="555"/>
                  </a:lnTo>
                  <a:lnTo>
                    <a:pt x="631" y="559"/>
                  </a:lnTo>
                  <a:lnTo>
                    <a:pt x="608" y="530"/>
                  </a:lnTo>
                  <a:lnTo>
                    <a:pt x="594" y="526"/>
                  </a:lnTo>
                  <a:lnTo>
                    <a:pt x="571" y="504"/>
                  </a:lnTo>
                  <a:lnTo>
                    <a:pt x="560" y="496"/>
                  </a:lnTo>
                  <a:lnTo>
                    <a:pt x="568" y="489"/>
                  </a:lnTo>
                  <a:lnTo>
                    <a:pt x="579" y="485"/>
                  </a:lnTo>
                  <a:lnTo>
                    <a:pt x="564" y="474"/>
                  </a:lnTo>
                  <a:lnTo>
                    <a:pt x="545" y="481"/>
                  </a:lnTo>
                  <a:lnTo>
                    <a:pt x="531" y="474"/>
                  </a:lnTo>
                  <a:lnTo>
                    <a:pt x="490" y="440"/>
                  </a:lnTo>
                  <a:lnTo>
                    <a:pt x="486" y="426"/>
                  </a:lnTo>
                  <a:lnTo>
                    <a:pt x="471" y="422"/>
                  </a:lnTo>
                  <a:lnTo>
                    <a:pt x="457" y="411"/>
                  </a:lnTo>
                  <a:lnTo>
                    <a:pt x="419" y="330"/>
                  </a:lnTo>
                  <a:lnTo>
                    <a:pt x="408" y="319"/>
                  </a:lnTo>
                  <a:lnTo>
                    <a:pt x="379" y="293"/>
                  </a:lnTo>
                  <a:lnTo>
                    <a:pt x="345" y="241"/>
                  </a:lnTo>
                  <a:lnTo>
                    <a:pt x="345" y="211"/>
                  </a:lnTo>
                  <a:lnTo>
                    <a:pt x="364" y="200"/>
                  </a:lnTo>
                  <a:lnTo>
                    <a:pt x="364" y="185"/>
                  </a:lnTo>
                  <a:lnTo>
                    <a:pt x="349" y="171"/>
                  </a:lnTo>
                  <a:lnTo>
                    <a:pt x="342" y="163"/>
                  </a:lnTo>
                  <a:lnTo>
                    <a:pt x="345" y="152"/>
                  </a:lnTo>
                  <a:lnTo>
                    <a:pt x="360" y="145"/>
                  </a:lnTo>
                  <a:lnTo>
                    <a:pt x="405" y="134"/>
                  </a:lnTo>
                  <a:lnTo>
                    <a:pt x="423" y="122"/>
                  </a:lnTo>
                  <a:lnTo>
                    <a:pt x="438" y="108"/>
                  </a:lnTo>
                  <a:lnTo>
                    <a:pt x="434" y="70"/>
                  </a:lnTo>
                  <a:lnTo>
                    <a:pt x="438" y="56"/>
                  </a:lnTo>
                  <a:lnTo>
                    <a:pt x="416" y="52"/>
                  </a:lnTo>
                  <a:lnTo>
                    <a:pt x="368" y="41"/>
                  </a:lnTo>
                  <a:lnTo>
                    <a:pt x="360" y="30"/>
                  </a:lnTo>
                  <a:lnTo>
                    <a:pt x="357" y="26"/>
                  </a:lnTo>
                  <a:lnTo>
                    <a:pt x="357" y="15"/>
                  </a:lnTo>
                  <a:lnTo>
                    <a:pt x="353" y="4"/>
                  </a:lnTo>
                  <a:lnTo>
                    <a:pt x="327" y="0"/>
                  </a:lnTo>
                  <a:lnTo>
                    <a:pt x="264" y="4"/>
                  </a:lnTo>
                  <a:lnTo>
                    <a:pt x="257" y="19"/>
                  </a:lnTo>
                  <a:lnTo>
                    <a:pt x="233" y="22"/>
                  </a:lnTo>
                  <a:lnTo>
                    <a:pt x="219" y="52"/>
                  </a:lnTo>
                  <a:lnTo>
                    <a:pt x="219" y="63"/>
                  </a:lnTo>
                  <a:lnTo>
                    <a:pt x="204" y="52"/>
                  </a:lnTo>
                  <a:lnTo>
                    <a:pt x="181" y="48"/>
                  </a:lnTo>
                  <a:lnTo>
                    <a:pt x="167" y="56"/>
                  </a:lnTo>
                  <a:lnTo>
                    <a:pt x="156" y="78"/>
                  </a:lnTo>
                  <a:lnTo>
                    <a:pt x="133" y="63"/>
                  </a:lnTo>
                  <a:lnTo>
                    <a:pt x="137" y="41"/>
                  </a:lnTo>
                  <a:lnTo>
                    <a:pt x="130" y="26"/>
                  </a:lnTo>
                  <a:lnTo>
                    <a:pt x="115" y="30"/>
                  </a:lnTo>
                  <a:lnTo>
                    <a:pt x="111" y="48"/>
                  </a:lnTo>
                  <a:lnTo>
                    <a:pt x="100" y="59"/>
                  </a:lnTo>
                  <a:lnTo>
                    <a:pt x="89" y="59"/>
                  </a:lnTo>
                  <a:lnTo>
                    <a:pt x="37" y="52"/>
                  </a:lnTo>
                  <a:lnTo>
                    <a:pt x="19" y="67"/>
                  </a:lnTo>
                  <a:lnTo>
                    <a:pt x="22" y="85"/>
                  </a:lnTo>
                  <a:lnTo>
                    <a:pt x="26" y="100"/>
                  </a:lnTo>
                  <a:lnTo>
                    <a:pt x="0" y="122"/>
                  </a:lnTo>
                  <a:lnTo>
                    <a:pt x="7" y="137"/>
                  </a:lnTo>
                  <a:lnTo>
                    <a:pt x="15" y="145"/>
                  </a:lnTo>
                  <a:lnTo>
                    <a:pt x="0" y="163"/>
                  </a:lnTo>
                  <a:lnTo>
                    <a:pt x="0" y="189"/>
                  </a:lnTo>
                  <a:lnTo>
                    <a:pt x="7" y="200"/>
                  </a:lnTo>
                  <a:lnTo>
                    <a:pt x="22" y="200"/>
                  </a:lnTo>
                  <a:lnTo>
                    <a:pt x="30" y="208"/>
                  </a:lnTo>
                  <a:lnTo>
                    <a:pt x="37" y="226"/>
                  </a:lnTo>
                  <a:lnTo>
                    <a:pt x="37" y="245"/>
                  </a:lnTo>
                  <a:lnTo>
                    <a:pt x="52" y="249"/>
                  </a:lnTo>
                  <a:lnTo>
                    <a:pt x="63" y="245"/>
                  </a:lnTo>
                  <a:lnTo>
                    <a:pt x="104" y="204"/>
                  </a:lnTo>
                  <a:lnTo>
                    <a:pt x="122" y="211"/>
                  </a:lnTo>
                  <a:lnTo>
                    <a:pt x="159" y="230"/>
                  </a:lnTo>
                  <a:lnTo>
                    <a:pt x="185" y="249"/>
                  </a:lnTo>
                  <a:lnTo>
                    <a:pt x="189" y="271"/>
                  </a:lnTo>
                  <a:lnTo>
                    <a:pt x="204" y="286"/>
                  </a:lnTo>
                  <a:lnTo>
                    <a:pt x="211" y="312"/>
                  </a:lnTo>
                  <a:lnTo>
                    <a:pt x="219" y="352"/>
                  </a:lnTo>
                  <a:lnTo>
                    <a:pt x="230" y="371"/>
                  </a:lnTo>
                  <a:lnTo>
                    <a:pt x="244" y="387"/>
                  </a:lnTo>
                  <a:lnTo>
                    <a:pt x="271" y="397"/>
                  </a:lnTo>
                  <a:lnTo>
                    <a:pt x="294" y="433"/>
                  </a:lnTo>
                  <a:lnTo>
                    <a:pt x="316" y="463"/>
                  </a:lnTo>
                  <a:lnTo>
                    <a:pt x="338" y="478"/>
                  </a:lnTo>
                  <a:lnTo>
                    <a:pt x="379" y="526"/>
                  </a:lnTo>
                  <a:lnTo>
                    <a:pt x="408" y="526"/>
                  </a:lnTo>
                  <a:lnTo>
                    <a:pt x="442" y="555"/>
                  </a:lnTo>
                  <a:lnTo>
                    <a:pt x="442" y="585"/>
                  </a:lnTo>
                  <a:lnTo>
                    <a:pt x="453" y="593"/>
                  </a:lnTo>
                  <a:lnTo>
                    <a:pt x="475" y="578"/>
                  </a:lnTo>
                  <a:lnTo>
                    <a:pt x="479" y="593"/>
                  </a:lnTo>
                  <a:lnTo>
                    <a:pt x="479" y="611"/>
                  </a:lnTo>
                  <a:lnTo>
                    <a:pt x="501" y="630"/>
                  </a:lnTo>
                  <a:lnTo>
                    <a:pt x="508" y="641"/>
                  </a:lnTo>
                  <a:lnTo>
                    <a:pt x="538" y="633"/>
                  </a:lnTo>
                  <a:lnTo>
                    <a:pt x="542" y="645"/>
                  </a:lnTo>
                  <a:lnTo>
                    <a:pt x="538" y="670"/>
                  </a:lnTo>
                  <a:lnTo>
                    <a:pt x="553" y="693"/>
                  </a:lnTo>
                  <a:lnTo>
                    <a:pt x="557" y="711"/>
                  </a:lnTo>
                  <a:lnTo>
                    <a:pt x="564" y="730"/>
                  </a:lnTo>
                  <a:lnTo>
                    <a:pt x="560" y="745"/>
                  </a:lnTo>
                  <a:lnTo>
                    <a:pt x="545" y="760"/>
                  </a:lnTo>
                  <a:lnTo>
                    <a:pt x="542" y="778"/>
                  </a:lnTo>
                  <a:lnTo>
                    <a:pt x="531" y="800"/>
                  </a:lnTo>
                  <a:lnTo>
                    <a:pt x="534" y="819"/>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4" name="Freeform 452"/>
            <p:cNvSpPr>
              <a:spLocks/>
            </p:cNvSpPr>
            <p:nvPr/>
          </p:nvSpPr>
          <p:spPr bwMode="auto">
            <a:xfrm>
              <a:off x="1930" y="1710"/>
              <a:ext cx="317" cy="264"/>
            </a:xfrm>
            <a:custGeom>
              <a:avLst/>
              <a:gdLst>
                <a:gd name="T0" fmla="*/ 108 w 303"/>
                <a:gd name="T1" fmla="*/ 115 h 277"/>
                <a:gd name="T2" fmla="*/ 106 w 303"/>
                <a:gd name="T3" fmla="*/ 139 h 277"/>
                <a:gd name="T4" fmla="*/ 86 w 303"/>
                <a:gd name="T5" fmla="*/ 135 h 277"/>
                <a:gd name="T6" fmla="*/ 63 w 303"/>
                <a:gd name="T7" fmla="*/ 167 h 277"/>
                <a:gd name="T8" fmla="*/ 33 w 303"/>
                <a:gd name="T9" fmla="*/ 191 h 277"/>
                <a:gd name="T10" fmla="*/ 13 w 303"/>
                <a:gd name="T11" fmla="*/ 195 h 277"/>
                <a:gd name="T12" fmla="*/ 6 w 303"/>
                <a:gd name="T13" fmla="*/ 201 h 277"/>
                <a:gd name="T14" fmla="*/ 11 w 303"/>
                <a:gd name="T15" fmla="*/ 221 h 277"/>
                <a:gd name="T16" fmla="*/ 4 w 303"/>
                <a:gd name="T17" fmla="*/ 245 h 277"/>
                <a:gd name="T18" fmla="*/ 17 w 303"/>
                <a:gd name="T19" fmla="*/ 245 h 277"/>
                <a:gd name="T20" fmla="*/ 30 w 303"/>
                <a:gd name="T21" fmla="*/ 244 h 277"/>
                <a:gd name="T22" fmla="*/ 24 w 303"/>
                <a:gd name="T23" fmla="*/ 262 h 277"/>
                <a:gd name="T24" fmla="*/ 54 w 303"/>
                <a:gd name="T25" fmla="*/ 268 h 277"/>
                <a:gd name="T26" fmla="*/ 80 w 303"/>
                <a:gd name="T27" fmla="*/ 277 h 277"/>
                <a:gd name="T28" fmla="*/ 108 w 303"/>
                <a:gd name="T29" fmla="*/ 262 h 277"/>
                <a:gd name="T30" fmla="*/ 186 w 303"/>
                <a:gd name="T31" fmla="*/ 268 h 277"/>
                <a:gd name="T32" fmla="*/ 227 w 303"/>
                <a:gd name="T33" fmla="*/ 242 h 277"/>
                <a:gd name="T34" fmla="*/ 249 w 303"/>
                <a:gd name="T35" fmla="*/ 221 h 277"/>
                <a:gd name="T36" fmla="*/ 268 w 303"/>
                <a:gd name="T37" fmla="*/ 195 h 277"/>
                <a:gd name="T38" fmla="*/ 277 w 303"/>
                <a:gd name="T39" fmla="*/ 135 h 277"/>
                <a:gd name="T40" fmla="*/ 288 w 303"/>
                <a:gd name="T41" fmla="*/ 107 h 277"/>
                <a:gd name="T42" fmla="*/ 273 w 303"/>
                <a:gd name="T43" fmla="*/ 76 h 277"/>
                <a:gd name="T44" fmla="*/ 251 w 303"/>
                <a:gd name="T45" fmla="*/ 70 h 277"/>
                <a:gd name="T46" fmla="*/ 240 w 303"/>
                <a:gd name="T47" fmla="*/ 41 h 277"/>
                <a:gd name="T48" fmla="*/ 271 w 303"/>
                <a:gd name="T49" fmla="*/ 0 h 277"/>
                <a:gd name="T50" fmla="*/ 223 w 303"/>
                <a:gd name="T51" fmla="*/ 4 h 277"/>
                <a:gd name="T52" fmla="*/ 201 w 303"/>
                <a:gd name="T53" fmla="*/ 19 h 277"/>
                <a:gd name="T54" fmla="*/ 180 w 303"/>
                <a:gd name="T55" fmla="*/ 22 h 277"/>
                <a:gd name="T56" fmla="*/ 204 w 303"/>
                <a:gd name="T57" fmla="*/ 44 h 277"/>
                <a:gd name="T58" fmla="*/ 158 w 303"/>
                <a:gd name="T59" fmla="*/ 50 h 277"/>
                <a:gd name="T60" fmla="*/ 113 w 303"/>
                <a:gd name="T61" fmla="*/ 32 h 277"/>
                <a:gd name="T62" fmla="*/ 100 w 303"/>
                <a:gd name="T63" fmla="*/ 54 h 277"/>
                <a:gd name="T64" fmla="*/ 99 w 303"/>
                <a:gd name="T65" fmla="*/ 67 h 277"/>
                <a:gd name="T66" fmla="*/ 87 w 303"/>
                <a:gd name="T67" fmla="*/ 89 h 277"/>
                <a:gd name="T68" fmla="*/ 72 w 303"/>
                <a:gd name="T69" fmla="*/ 111 h 277"/>
                <a:gd name="T70" fmla="*/ 89 w 303"/>
                <a:gd name="T71" fmla="*/ 12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3" h="277">
                  <a:moveTo>
                    <a:pt x="112" y="104"/>
                  </a:moveTo>
                  <a:lnTo>
                    <a:pt x="108" y="115"/>
                  </a:lnTo>
                  <a:lnTo>
                    <a:pt x="112" y="130"/>
                  </a:lnTo>
                  <a:lnTo>
                    <a:pt x="106" y="139"/>
                  </a:lnTo>
                  <a:lnTo>
                    <a:pt x="97" y="133"/>
                  </a:lnTo>
                  <a:lnTo>
                    <a:pt x="86" y="135"/>
                  </a:lnTo>
                  <a:lnTo>
                    <a:pt x="86" y="146"/>
                  </a:lnTo>
                  <a:lnTo>
                    <a:pt x="63" y="167"/>
                  </a:lnTo>
                  <a:lnTo>
                    <a:pt x="50" y="172"/>
                  </a:lnTo>
                  <a:lnTo>
                    <a:pt x="33" y="191"/>
                  </a:lnTo>
                  <a:lnTo>
                    <a:pt x="22" y="196"/>
                  </a:lnTo>
                  <a:lnTo>
                    <a:pt x="13" y="195"/>
                  </a:lnTo>
                  <a:lnTo>
                    <a:pt x="9" y="198"/>
                  </a:lnTo>
                  <a:lnTo>
                    <a:pt x="6" y="201"/>
                  </a:lnTo>
                  <a:lnTo>
                    <a:pt x="11" y="208"/>
                  </a:lnTo>
                  <a:lnTo>
                    <a:pt x="11" y="221"/>
                  </a:lnTo>
                  <a:lnTo>
                    <a:pt x="0" y="233"/>
                  </a:lnTo>
                  <a:lnTo>
                    <a:pt x="4" y="245"/>
                  </a:lnTo>
                  <a:lnTo>
                    <a:pt x="4" y="245"/>
                  </a:lnTo>
                  <a:lnTo>
                    <a:pt x="17" y="245"/>
                  </a:lnTo>
                  <a:lnTo>
                    <a:pt x="22" y="236"/>
                  </a:lnTo>
                  <a:lnTo>
                    <a:pt x="30" y="244"/>
                  </a:lnTo>
                  <a:lnTo>
                    <a:pt x="20" y="251"/>
                  </a:lnTo>
                  <a:lnTo>
                    <a:pt x="24" y="262"/>
                  </a:lnTo>
                  <a:lnTo>
                    <a:pt x="30" y="264"/>
                  </a:lnTo>
                  <a:lnTo>
                    <a:pt x="54" y="268"/>
                  </a:lnTo>
                  <a:lnTo>
                    <a:pt x="58" y="270"/>
                  </a:lnTo>
                  <a:lnTo>
                    <a:pt x="80" y="277"/>
                  </a:lnTo>
                  <a:lnTo>
                    <a:pt x="89" y="273"/>
                  </a:lnTo>
                  <a:lnTo>
                    <a:pt x="108" y="262"/>
                  </a:lnTo>
                  <a:lnTo>
                    <a:pt x="136" y="268"/>
                  </a:lnTo>
                  <a:lnTo>
                    <a:pt x="186" y="268"/>
                  </a:lnTo>
                  <a:lnTo>
                    <a:pt x="214" y="262"/>
                  </a:lnTo>
                  <a:lnTo>
                    <a:pt x="227" y="242"/>
                  </a:lnTo>
                  <a:lnTo>
                    <a:pt x="244" y="233"/>
                  </a:lnTo>
                  <a:lnTo>
                    <a:pt x="249" y="221"/>
                  </a:lnTo>
                  <a:lnTo>
                    <a:pt x="255" y="205"/>
                  </a:lnTo>
                  <a:lnTo>
                    <a:pt x="268" y="195"/>
                  </a:lnTo>
                  <a:lnTo>
                    <a:pt x="279" y="167"/>
                  </a:lnTo>
                  <a:lnTo>
                    <a:pt x="277" y="135"/>
                  </a:lnTo>
                  <a:lnTo>
                    <a:pt x="303" y="120"/>
                  </a:lnTo>
                  <a:lnTo>
                    <a:pt x="288" y="107"/>
                  </a:lnTo>
                  <a:lnTo>
                    <a:pt x="283" y="85"/>
                  </a:lnTo>
                  <a:lnTo>
                    <a:pt x="273" y="76"/>
                  </a:lnTo>
                  <a:lnTo>
                    <a:pt x="262" y="76"/>
                  </a:lnTo>
                  <a:lnTo>
                    <a:pt x="251" y="70"/>
                  </a:lnTo>
                  <a:lnTo>
                    <a:pt x="231" y="46"/>
                  </a:lnTo>
                  <a:lnTo>
                    <a:pt x="240" y="41"/>
                  </a:lnTo>
                  <a:lnTo>
                    <a:pt x="275" y="9"/>
                  </a:lnTo>
                  <a:lnTo>
                    <a:pt x="271" y="0"/>
                  </a:lnTo>
                  <a:lnTo>
                    <a:pt x="260" y="2"/>
                  </a:lnTo>
                  <a:lnTo>
                    <a:pt x="223" y="4"/>
                  </a:lnTo>
                  <a:lnTo>
                    <a:pt x="210" y="13"/>
                  </a:lnTo>
                  <a:lnTo>
                    <a:pt x="201" y="19"/>
                  </a:lnTo>
                  <a:lnTo>
                    <a:pt x="188" y="17"/>
                  </a:lnTo>
                  <a:lnTo>
                    <a:pt x="180" y="22"/>
                  </a:lnTo>
                  <a:lnTo>
                    <a:pt x="186" y="32"/>
                  </a:lnTo>
                  <a:lnTo>
                    <a:pt x="204" y="44"/>
                  </a:lnTo>
                  <a:lnTo>
                    <a:pt x="191" y="46"/>
                  </a:lnTo>
                  <a:lnTo>
                    <a:pt x="158" y="50"/>
                  </a:lnTo>
                  <a:lnTo>
                    <a:pt x="136" y="41"/>
                  </a:lnTo>
                  <a:lnTo>
                    <a:pt x="113" y="32"/>
                  </a:lnTo>
                  <a:lnTo>
                    <a:pt x="106" y="37"/>
                  </a:lnTo>
                  <a:lnTo>
                    <a:pt x="100" y="54"/>
                  </a:lnTo>
                  <a:lnTo>
                    <a:pt x="102" y="63"/>
                  </a:lnTo>
                  <a:lnTo>
                    <a:pt x="99" y="67"/>
                  </a:lnTo>
                  <a:lnTo>
                    <a:pt x="86" y="72"/>
                  </a:lnTo>
                  <a:lnTo>
                    <a:pt x="87" y="89"/>
                  </a:lnTo>
                  <a:lnTo>
                    <a:pt x="86" y="93"/>
                  </a:lnTo>
                  <a:lnTo>
                    <a:pt x="72" y="111"/>
                  </a:lnTo>
                  <a:lnTo>
                    <a:pt x="84" y="128"/>
                  </a:lnTo>
                  <a:lnTo>
                    <a:pt x="89" y="126"/>
                  </a:lnTo>
                  <a:lnTo>
                    <a:pt x="112" y="104"/>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5" name="Freeform 453"/>
            <p:cNvSpPr>
              <a:spLocks/>
            </p:cNvSpPr>
            <p:nvPr/>
          </p:nvSpPr>
          <p:spPr bwMode="auto">
            <a:xfrm>
              <a:off x="2810" y="1935"/>
              <a:ext cx="535" cy="650"/>
            </a:xfrm>
            <a:custGeom>
              <a:avLst/>
              <a:gdLst>
                <a:gd name="T0" fmla="*/ 210 w 535"/>
                <a:gd name="T1" fmla="*/ 14 h 650"/>
                <a:gd name="T2" fmla="*/ 216 w 535"/>
                <a:gd name="T3" fmla="*/ 46 h 650"/>
                <a:gd name="T4" fmla="*/ 212 w 535"/>
                <a:gd name="T5" fmla="*/ 68 h 650"/>
                <a:gd name="T6" fmla="*/ 241 w 535"/>
                <a:gd name="T7" fmla="*/ 102 h 650"/>
                <a:gd name="T8" fmla="*/ 197 w 535"/>
                <a:gd name="T9" fmla="*/ 91 h 650"/>
                <a:gd name="T10" fmla="*/ 164 w 535"/>
                <a:gd name="T11" fmla="*/ 116 h 650"/>
                <a:gd name="T12" fmla="*/ 141 w 535"/>
                <a:gd name="T13" fmla="*/ 95 h 650"/>
                <a:gd name="T14" fmla="*/ 98 w 535"/>
                <a:gd name="T15" fmla="*/ 116 h 650"/>
                <a:gd name="T16" fmla="*/ 107 w 535"/>
                <a:gd name="T17" fmla="*/ 149 h 650"/>
                <a:gd name="T18" fmla="*/ 85 w 535"/>
                <a:gd name="T19" fmla="*/ 167 h 650"/>
                <a:gd name="T20" fmla="*/ 89 w 535"/>
                <a:gd name="T21" fmla="*/ 199 h 650"/>
                <a:gd name="T22" fmla="*/ 60 w 535"/>
                <a:gd name="T23" fmla="*/ 232 h 650"/>
                <a:gd name="T24" fmla="*/ 29 w 535"/>
                <a:gd name="T25" fmla="*/ 258 h 650"/>
                <a:gd name="T26" fmla="*/ 20 w 535"/>
                <a:gd name="T27" fmla="*/ 310 h 650"/>
                <a:gd name="T28" fmla="*/ 16 w 535"/>
                <a:gd name="T29" fmla="*/ 333 h 650"/>
                <a:gd name="T30" fmla="*/ 2 w 535"/>
                <a:gd name="T31" fmla="*/ 380 h 650"/>
                <a:gd name="T32" fmla="*/ 20 w 535"/>
                <a:gd name="T33" fmla="*/ 403 h 650"/>
                <a:gd name="T34" fmla="*/ 0 w 535"/>
                <a:gd name="T35" fmla="*/ 432 h 650"/>
                <a:gd name="T36" fmla="*/ 29 w 535"/>
                <a:gd name="T37" fmla="*/ 465 h 650"/>
                <a:gd name="T38" fmla="*/ 84 w 535"/>
                <a:gd name="T39" fmla="*/ 471 h 650"/>
                <a:gd name="T40" fmla="*/ 93 w 535"/>
                <a:gd name="T41" fmla="*/ 494 h 650"/>
                <a:gd name="T42" fmla="*/ 68 w 535"/>
                <a:gd name="T43" fmla="*/ 526 h 650"/>
                <a:gd name="T44" fmla="*/ 46 w 535"/>
                <a:gd name="T45" fmla="*/ 578 h 650"/>
                <a:gd name="T46" fmla="*/ 75 w 535"/>
                <a:gd name="T47" fmla="*/ 609 h 650"/>
                <a:gd name="T48" fmla="*/ 102 w 535"/>
                <a:gd name="T49" fmla="*/ 597 h 650"/>
                <a:gd name="T50" fmla="*/ 126 w 535"/>
                <a:gd name="T51" fmla="*/ 609 h 650"/>
                <a:gd name="T52" fmla="*/ 155 w 535"/>
                <a:gd name="T53" fmla="*/ 627 h 650"/>
                <a:gd name="T54" fmla="*/ 205 w 535"/>
                <a:gd name="T55" fmla="*/ 634 h 650"/>
                <a:gd name="T56" fmla="*/ 239 w 535"/>
                <a:gd name="T57" fmla="*/ 640 h 650"/>
                <a:gd name="T58" fmla="*/ 289 w 535"/>
                <a:gd name="T59" fmla="*/ 640 h 650"/>
                <a:gd name="T60" fmla="*/ 322 w 535"/>
                <a:gd name="T61" fmla="*/ 636 h 650"/>
                <a:gd name="T62" fmla="*/ 357 w 535"/>
                <a:gd name="T63" fmla="*/ 636 h 650"/>
                <a:gd name="T64" fmla="*/ 399 w 535"/>
                <a:gd name="T65" fmla="*/ 644 h 650"/>
                <a:gd name="T66" fmla="*/ 390 w 535"/>
                <a:gd name="T67" fmla="*/ 617 h 650"/>
                <a:gd name="T68" fmla="*/ 451 w 535"/>
                <a:gd name="T69" fmla="*/ 564 h 650"/>
                <a:gd name="T70" fmla="*/ 421 w 535"/>
                <a:gd name="T71" fmla="*/ 539 h 650"/>
                <a:gd name="T72" fmla="*/ 363 w 535"/>
                <a:gd name="T73" fmla="*/ 486 h 650"/>
                <a:gd name="T74" fmla="*/ 348 w 535"/>
                <a:gd name="T75" fmla="*/ 438 h 650"/>
                <a:gd name="T76" fmla="*/ 368 w 535"/>
                <a:gd name="T77" fmla="*/ 427 h 650"/>
                <a:gd name="T78" fmla="*/ 484 w 535"/>
                <a:gd name="T79" fmla="*/ 380 h 650"/>
                <a:gd name="T80" fmla="*/ 526 w 535"/>
                <a:gd name="T81" fmla="*/ 377 h 650"/>
                <a:gd name="T82" fmla="*/ 535 w 535"/>
                <a:gd name="T83" fmla="*/ 345 h 650"/>
                <a:gd name="T84" fmla="*/ 524 w 535"/>
                <a:gd name="T85" fmla="*/ 285 h 650"/>
                <a:gd name="T86" fmla="*/ 514 w 535"/>
                <a:gd name="T87" fmla="*/ 243 h 650"/>
                <a:gd name="T88" fmla="*/ 501 w 535"/>
                <a:gd name="T89" fmla="*/ 197 h 650"/>
                <a:gd name="T90" fmla="*/ 479 w 535"/>
                <a:gd name="T91" fmla="*/ 124 h 650"/>
                <a:gd name="T92" fmla="*/ 433 w 535"/>
                <a:gd name="T93" fmla="*/ 81 h 650"/>
                <a:gd name="T94" fmla="*/ 396 w 535"/>
                <a:gd name="T95" fmla="*/ 79 h 650"/>
                <a:gd name="T96" fmla="*/ 333 w 535"/>
                <a:gd name="T97" fmla="*/ 101 h 650"/>
                <a:gd name="T98" fmla="*/ 328 w 535"/>
                <a:gd name="T99" fmla="*/ 83 h 650"/>
                <a:gd name="T100" fmla="*/ 297 w 535"/>
                <a:gd name="T101" fmla="*/ 56 h 650"/>
                <a:gd name="T102" fmla="*/ 272 w 535"/>
                <a:gd name="T103" fmla="*/ 14 h 650"/>
                <a:gd name="T104" fmla="*/ 235 w 535"/>
                <a:gd name="T105" fmla="*/ 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5" h="650">
                  <a:moveTo>
                    <a:pt x="222" y="0"/>
                  </a:moveTo>
                  <a:lnTo>
                    <a:pt x="210" y="7"/>
                  </a:lnTo>
                  <a:lnTo>
                    <a:pt x="210" y="14"/>
                  </a:lnTo>
                  <a:lnTo>
                    <a:pt x="212" y="21"/>
                  </a:lnTo>
                  <a:lnTo>
                    <a:pt x="214" y="31"/>
                  </a:lnTo>
                  <a:lnTo>
                    <a:pt x="216" y="46"/>
                  </a:lnTo>
                  <a:lnTo>
                    <a:pt x="210" y="51"/>
                  </a:lnTo>
                  <a:lnTo>
                    <a:pt x="210" y="60"/>
                  </a:lnTo>
                  <a:lnTo>
                    <a:pt x="212" y="68"/>
                  </a:lnTo>
                  <a:lnTo>
                    <a:pt x="228" y="81"/>
                  </a:lnTo>
                  <a:lnTo>
                    <a:pt x="237" y="83"/>
                  </a:lnTo>
                  <a:lnTo>
                    <a:pt x="241" y="102"/>
                  </a:lnTo>
                  <a:lnTo>
                    <a:pt x="219" y="97"/>
                  </a:lnTo>
                  <a:lnTo>
                    <a:pt x="207" y="86"/>
                  </a:lnTo>
                  <a:lnTo>
                    <a:pt x="197" y="91"/>
                  </a:lnTo>
                  <a:lnTo>
                    <a:pt x="180" y="111"/>
                  </a:lnTo>
                  <a:lnTo>
                    <a:pt x="172" y="118"/>
                  </a:lnTo>
                  <a:lnTo>
                    <a:pt x="164" y="116"/>
                  </a:lnTo>
                  <a:lnTo>
                    <a:pt x="163" y="107"/>
                  </a:lnTo>
                  <a:lnTo>
                    <a:pt x="157" y="101"/>
                  </a:lnTo>
                  <a:lnTo>
                    <a:pt x="141" y="95"/>
                  </a:lnTo>
                  <a:lnTo>
                    <a:pt x="118" y="95"/>
                  </a:lnTo>
                  <a:lnTo>
                    <a:pt x="111" y="104"/>
                  </a:lnTo>
                  <a:lnTo>
                    <a:pt x="98" y="116"/>
                  </a:lnTo>
                  <a:lnTo>
                    <a:pt x="109" y="124"/>
                  </a:lnTo>
                  <a:lnTo>
                    <a:pt x="109" y="141"/>
                  </a:lnTo>
                  <a:lnTo>
                    <a:pt x="107" y="149"/>
                  </a:lnTo>
                  <a:lnTo>
                    <a:pt x="102" y="157"/>
                  </a:lnTo>
                  <a:lnTo>
                    <a:pt x="89" y="165"/>
                  </a:lnTo>
                  <a:lnTo>
                    <a:pt x="85" y="167"/>
                  </a:lnTo>
                  <a:lnTo>
                    <a:pt x="87" y="180"/>
                  </a:lnTo>
                  <a:lnTo>
                    <a:pt x="93" y="188"/>
                  </a:lnTo>
                  <a:lnTo>
                    <a:pt x="89" y="199"/>
                  </a:lnTo>
                  <a:lnTo>
                    <a:pt x="79" y="211"/>
                  </a:lnTo>
                  <a:lnTo>
                    <a:pt x="68" y="223"/>
                  </a:lnTo>
                  <a:lnTo>
                    <a:pt x="60" y="232"/>
                  </a:lnTo>
                  <a:lnTo>
                    <a:pt x="46" y="241"/>
                  </a:lnTo>
                  <a:lnTo>
                    <a:pt x="37" y="244"/>
                  </a:lnTo>
                  <a:lnTo>
                    <a:pt x="29" y="258"/>
                  </a:lnTo>
                  <a:lnTo>
                    <a:pt x="27" y="279"/>
                  </a:lnTo>
                  <a:lnTo>
                    <a:pt x="20" y="290"/>
                  </a:lnTo>
                  <a:lnTo>
                    <a:pt x="20" y="310"/>
                  </a:lnTo>
                  <a:lnTo>
                    <a:pt x="11" y="318"/>
                  </a:lnTo>
                  <a:lnTo>
                    <a:pt x="9" y="324"/>
                  </a:lnTo>
                  <a:lnTo>
                    <a:pt x="16" y="333"/>
                  </a:lnTo>
                  <a:lnTo>
                    <a:pt x="20" y="347"/>
                  </a:lnTo>
                  <a:lnTo>
                    <a:pt x="29" y="359"/>
                  </a:lnTo>
                  <a:lnTo>
                    <a:pt x="2" y="380"/>
                  </a:lnTo>
                  <a:lnTo>
                    <a:pt x="7" y="392"/>
                  </a:lnTo>
                  <a:lnTo>
                    <a:pt x="18" y="401"/>
                  </a:lnTo>
                  <a:lnTo>
                    <a:pt x="20" y="403"/>
                  </a:lnTo>
                  <a:lnTo>
                    <a:pt x="20" y="411"/>
                  </a:lnTo>
                  <a:lnTo>
                    <a:pt x="6" y="420"/>
                  </a:lnTo>
                  <a:lnTo>
                    <a:pt x="0" y="432"/>
                  </a:lnTo>
                  <a:lnTo>
                    <a:pt x="6" y="449"/>
                  </a:lnTo>
                  <a:lnTo>
                    <a:pt x="14" y="459"/>
                  </a:lnTo>
                  <a:lnTo>
                    <a:pt x="29" y="465"/>
                  </a:lnTo>
                  <a:lnTo>
                    <a:pt x="48" y="468"/>
                  </a:lnTo>
                  <a:lnTo>
                    <a:pt x="68" y="469"/>
                  </a:lnTo>
                  <a:lnTo>
                    <a:pt x="84" y="471"/>
                  </a:lnTo>
                  <a:lnTo>
                    <a:pt x="95" y="479"/>
                  </a:lnTo>
                  <a:lnTo>
                    <a:pt x="107" y="488"/>
                  </a:lnTo>
                  <a:lnTo>
                    <a:pt x="93" y="494"/>
                  </a:lnTo>
                  <a:lnTo>
                    <a:pt x="82" y="505"/>
                  </a:lnTo>
                  <a:lnTo>
                    <a:pt x="70" y="514"/>
                  </a:lnTo>
                  <a:lnTo>
                    <a:pt x="68" y="526"/>
                  </a:lnTo>
                  <a:lnTo>
                    <a:pt x="62" y="551"/>
                  </a:lnTo>
                  <a:lnTo>
                    <a:pt x="52" y="567"/>
                  </a:lnTo>
                  <a:lnTo>
                    <a:pt x="46" y="578"/>
                  </a:lnTo>
                  <a:lnTo>
                    <a:pt x="62" y="597"/>
                  </a:lnTo>
                  <a:lnTo>
                    <a:pt x="66" y="602"/>
                  </a:lnTo>
                  <a:lnTo>
                    <a:pt x="75" y="609"/>
                  </a:lnTo>
                  <a:lnTo>
                    <a:pt x="85" y="608"/>
                  </a:lnTo>
                  <a:lnTo>
                    <a:pt x="97" y="602"/>
                  </a:lnTo>
                  <a:lnTo>
                    <a:pt x="102" y="597"/>
                  </a:lnTo>
                  <a:lnTo>
                    <a:pt x="104" y="594"/>
                  </a:lnTo>
                  <a:lnTo>
                    <a:pt x="118" y="595"/>
                  </a:lnTo>
                  <a:lnTo>
                    <a:pt x="126" y="609"/>
                  </a:lnTo>
                  <a:lnTo>
                    <a:pt x="136" y="617"/>
                  </a:lnTo>
                  <a:lnTo>
                    <a:pt x="143" y="625"/>
                  </a:lnTo>
                  <a:lnTo>
                    <a:pt x="155" y="627"/>
                  </a:lnTo>
                  <a:lnTo>
                    <a:pt x="178" y="625"/>
                  </a:lnTo>
                  <a:lnTo>
                    <a:pt x="189" y="623"/>
                  </a:lnTo>
                  <a:lnTo>
                    <a:pt x="205" y="634"/>
                  </a:lnTo>
                  <a:lnTo>
                    <a:pt x="217" y="629"/>
                  </a:lnTo>
                  <a:lnTo>
                    <a:pt x="229" y="632"/>
                  </a:lnTo>
                  <a:lnTo>
                    <a:pt x="239" y="640"/>
                  </a:lnTo>
                  <a:lnTo>
                    <a:pt x="258" y="632"/>
                  </a:lnTo>
                  <a:lnTo>
                    <a:pt x="276" y="632"/>
                  </a:lnTo>
                  <a:lnTo>
                    <a:pt x="289" y="640"/>
                  </a:lnTo>
                  <a:lnTo>
                    <a:pt x="299" y="643"/>
                  </a:lnTo>
                  <a:lnTo>
                    <a:pt x="310" y="636"/>
                  </a:lnTo>
                  <a:lnTo>
                    <a:pt x="322" y="636"/>
                  </a:lnTo>
                  <a:lnTo>
                    <a:pt x="342" y="632"/>
                  </a:lnTo>
                  <a:lnTo>
                    <a:pt x="355" y="640"/>
                  </a:lnTo>
                  <a:lnTo>
                    <a:pt x="357" y="636"/>
                  </a:lnTo>
                  <a:lnTo>
                    <a:pt x="372" y="644"/>
                  </a:lnTo>
                  <a:lnTo>
                    <a:pt x="385" y="650"/>
                  </a:lnTo>
                  <a:lnTo>
                    <a:pt x="399" y="644"/>
                  </a:lnTo>
                  <a:lnTo>
                    <a:pt x="401" y="636"/>
                  </a:lnTo>
                  <a:lnTo>
                    <a:pt x="392" y="623"/>
                  </a:lnTo>
                  <a:lnTo>
                    <a:pt x="390" y="617"/>
                  </a:lnTo>
                  <a:lnTo>
                    <a:pt x="385" y="596"/>
                  </a:lnTo>
                  <a:lnTo>
                    <a:pt x="438" y="564"/>
                  </a:lnTo>
                  <a:lnTo>
                    <a:pt x="451" y="564"/>
                  </a:lnTo>
                  <a:lnTo>
                    <a:pt x="453" y="559"/>
                  </a:lnTo>
                  <a:lnTo>
                    <a:pt x="435" y="552"/>
                  </a:lnTo>
                  <a:lnTo>
                    <a:pt x="421" y="539"/>
                  </a:lnTo>
                  <a:lnTo>
                    <a:pt x="387" y="511"/>
                  </a:lnTo>
                  <a:lnTo>
                    <a:pt x="382" y="489"/>
                  </a:lnTo>
                  <a:lnTo>
                    <a:pt x="363" y="486"/>
                  </a:lnTo>
                  <a:lnTo>
                    <a:pt x="360" y="465"/>
                  </a:lnTo>
                  <a:lnTo>
                    <a:pt x="356" y="447"/>
                  </a:lnTo>
                  <a:lnTo>
                    <a:pt x="348" y="438"/>
                  </a:lnTo>
                  <a:lnTo>
                    <a:pt x="353" y="430"/>
                  </a:lnTo>
                  <a:lnTo>
                    <a:pt x="357" y="426"/>
                  </a:lnTo>
                  <a:lnTo>
                    <a:pt x="368" y="427"/>
                  </a:lnTo>
                  <a:lnTo>
                    <a:pt x="400" y="418"/>
                  </a:lnTo>
                  <a:lnTo>
                    <a:pt x="469" y="386"/>
                  </a:lnTo>
                  <a:lnTo>
                    <a:pt x="484" y="380"/>
                  </a:lnTo>
                  <a:lnTo>
                    <a:pt x="498" y="372"/>
                  </a:lnTo>
                  <a:lnTo>
                    <a:pt x="510" y="383"/>
                  </a:lnTo>
                  <a:lnTo>
                    <a:pt x="526" y="377"/>
                  </a:lnTo>
                  <a:lnTo>
                    <a:pt x="530" y="363"/>
                  </a:lnTo>
                  <a:lnTo>
                    <a:pt x="529" y="354"/>
                  </a:lnTo>
                  <a:lnTo>
                    <a:pt x="535" y="345"/>
                  </a:lnTo>
                  <a:lnTo>
                    <a:pt x="527" y="334"/>
                  </a:lnTo>
                  <a:lnTo>
                    <a:pt x="520" y="315"/>
                  </a:lnTo>
                  <a:lnTo>
                    <a:pt x="524" y="285"/>
                  </a:lnTo>
                  <a:lnTo>
                    <a:pt x="513" y="271"/>
                  </a:lnTo>
                  <a:lnTo>
                    <a:pt x="509" y="257"/>
                  </a:lnTo>
                  <a:lnTo>
                    <a:pt x="514" y="243"/>
                  </a:lnTo>
                  <a:lnTo>
                    <a:pt x="511" y="232"/>
                  </a:lnTo>
                  <a:lnTo>
                    <a:pt x="489" y="210"/>
                  </a:lnTo>
                  <a:lnTo>
                    <a:pt x="501" y="197"/>
                  </a:lnTo>
                  <a:lnTo>
                    <a:pt x="501" y="174"/>
                  </a:lnTo>
                  <a:lnTo>
                    <a:pt x="503" y="147"/>
                  </a:lnTo>
                  <a:lnTo>
                    <a:pt x="479" y="124"/>
                  </a:lnTo>
                  <a:lnTo>
                    <a:pt x="467" y="109"/>
                  </a:lnTo>
                  <a:lnTo>
                    <a:pt x="453" y="97"/>
                  </a:lnTo>
                  <a:lnTo>
                    <a:pt x="433" y="81"/>
                  </a:lnTo>
                  <a:lnTo>
                    <a:pt x="419" y="72"/>
                  </a:lnTo>
                  <a:lnTo>
                    <a:pt x="410" y="70"/>
                  </a:lnTo>
                  <a:lnTo>
                    <a:pt x="396" y="79"/>
                  </a:lnTo>
                  <a:lnTo>
                    <a:pt x="386" y="85"/>
                  </a:lnTo>
                  <a:lnTo>
                    <a:pt x="355" y="105"/>
                  </a:lnTo>
                  <a:lnTo>
                    <a:pt x="333" y="101"/>
                  </a:lnTo>
                  <a:lnTo>
                    <a:pt x="324" y="101"/>
                  </a:lnTo>
                  <a:lnTo>
                    <a:pt x="324" y="93"/>
                  </a:lnTo>
                  <a:lnTo>
                    <a:pt x="328" y="83"/>
                  </a:lnTo>
                  <a:lnTo>
                    <a:pt x="333" y="74"/>
                  </a:lnTo>
                  <a:lnTo>
                    <a:pt x="305" y="58"/>
                  </a:lnTo>
                  <a:lnTo>
                    <a:pt x="297" y="56"/>
                  </a:lnTo>
                  <a:lnTo>
                    <a:pt x="283" y="46"/>
                  </a:lnTo>
                  <a:lnTo>
                    <a:pt x="278" y="27"/>
                  </a:lnTo>
                  <a:lnTo>
                    <a:pt x="272" y="14"/>
                  </a:lnTo>
                  <a:lnTo>
                    <a:pt x="262" y="16"/>
                  </a:lnTo>
                  <a:lnTo>
                    <a:pt x="251" y="4"/>
                  </a:lnTo>
                  <a:lnTo>
                    <a:pt x="235" y="2"/>
                  </a:lnTo>
                  <a:lnTo>
                    <a:pt x="222"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6" name="Freeform 454"/>
            <p:cNvSpPr>
              <a:spLocks/>
            </p:cNvSpPr>
            <p:nvPr/>
          </p:nvSpPr>
          <p:spPr bwMode="auto">
            <a:xfrm>
              <a:off x="2117" y="2203"/>
              <a:ext cx="800" cy="706"/>
            </a:xfrm>
            <a:custGeom>
              <a:avLst/>
              <a:gdLst>
                <a:gd name="T0" fmla="*/ 11 w 763"/>
                <a:gd name="T1" fmla="*/ 145 h 746"/>
                <a:gd name="T2" fmla="*/ 13 w 763"/>
                <a:gd name="T3" fmla="*/ 174 h 746"/>
                <a:gd name="T4" fmla="*/ 74 w 763"/>
                <a:gd name="T5" fmla="*/ 221 h 746"/>
                <a:gd name="T6" fmla="*/ 122 w 763"/>
                <a:gd name="T7" fmla="*/ 250 h 746"/>
                <a:gd name="T8" fmla="*/ 117 w 763"/>
                <a:gd name="T9" fmla="*/ 290 h 746"/>
                <a:gd name="T10" fmla="*/ 145 w 763"/>
                <a:gd name="T11" fmla="*/ 349 h 746"/>
                <a:gd name="T12" fmla="*/ 158 w 763"/>
                <a:gd name="T13" fmla="*/ 429 h 746"/>
                <a:gd name="T14" fmla="*/ 132 w 763"/>
                <a:gd name="T15" fmla="*/ 429 h 746"/>
                <a:gd name="T16" fmla="*/ 115 w 763"/>
                <a:gd name="T17" fmla="*/ 470 h 746"/>
                <a:gd name="T18" fmla="*/ 98 w 763"/>
                <a:gd name="T19" fmla="*/ 511 h 746"/>
                <a:gd name="T20" fmla="*/ 57 w 763"/>
                <a:gd name="T21" fmla="*/ 583 h 746"/>
                <a:gd name="T22" fmla="*/ 59 w 763"/>
                <a:gd name="T23" fmla="*/ 618 h 746"/>
                <a:gd name="T24" fmla="*/ 161 w 763"/>
                <a:gd name="T25" fmla="*/ 685 h 746"/>
                <a:gd name="T26" fmla="*/ 248 w 763"/>
                <a:gd name="T27" fmla="*/ 726 h 746"/>
                <a:gd name="T28" fmla="*/ 325 w 763"/>
                <a:gd name="T29" fmla="*/ 746 h 746"/>
                <a:gd name="T30" fmla="*/ 353 w 763"/>
                <a:gd name="T31" fmla="*/ 689 h 746"/>
                <a:gd name="T32" fmla="*/ 422 w 763"/>
                <a:gd name="T33" fmla="*/ 664 h 746"/>
                <a:gd name="T34" fmla="*/ 472 w 763"/>
                <a:gd name="T35" fmla="*/ 690 h 746"/>
                <a:gd name="T36" fmla="*/ 541 w 763"/>
                <a:gd name="T37" fmla="*/ 726 h 746"/>
                <a:gd name="T38" fmla="*/ 604 w 763"/>
                <a:gd name="T39" fmla="*/ 711 h 746"/>
                <a:gd name="T40" fmla="*/ 650 w 763"/>
                <a:gd name="T41" fmla="*/ 663 h 746"/>
                <a:gd name="T42" fmla="*/ 622 w 763"/>
                <a:gd name="T43" fmla="*/ 642 h 746"/>
                <a:gd name="T44" fmla="*/ 617 w 763"/>
                <a:gd name="T45" fmla="*/ 574 h 746"/>
                <a:gd name="T46" fmla="*/ 635 w 763"/>
                <a:gd name="T47" fmla="*/ 511 h 746"/>
                <a:gd name="T48" fmla="*/ 635 w 763"/>
                <a:gd name="T49" fmla="*/ 453 h 746"/>
                <a:gd name="T50" fmla="*/ 602 w 763"/>
                <a:gd name="T51" fmla="*/ 455 h 746"/>
                <a:gd name="T52" fmla="*/ 587 w 763"/>
                <a:gd name="T53" fmla="*/ 446 h 746"/>
                <a:gd name="T54" fmla="*/ 622 w 763"/>
                <a:gd name="T55" fmla="*/ 405 h 746"/>
                <a:gd name="T56" fmla="*/ 676 w 763"/>
                <a:gd name="T57" fmla="*/ 353 h 746"/>
                <a:gd name="T58" fmla="*/ 704 w 763"/>
                <a:gd name="T59" fmla="*/ 327 h 746"/>
                <a:gd name="T60" fmla="*/ 726 w 763"/>
                <a:gd name="T61" fmla="*/ 277 h 746"/>
                <a:gd name="T62" fmla="*/ 763 w 763"/>
                <a:gd name="T63" fmla="*/ 234 h 746"/>
                <a:gd name="T64" fmla="*/ 719 w 763"/>
                <a:gd name="T65" fmla="*/ 213 h 746"/>
                <a:gd name="T66" fmla="*/ 667 w 763"/>
                <a:gd name="T67" fmla="*/ 195 h 746"/>
                <a:gd name="T68" fmla="*/ 631 w 763"/>
                <a:gd name="T69" fmla="*/ 163 h 746"/>
                <a:gd name="T70" fmla="*/ 581 w 763"/>
                <a:gd name="T71" fmla="*/ 119 h 746"/>
                <a:gd name="T72" fmla="*/ 539 w 763"/>
                <a:gd name="T73" fmla="*/ 76 h 746"/>
                <a:gd name="T74" fmla="*/ 509 w 763"/>
                <a:gd name="T75" fmla="*/ 30 h 746"/>
                <a:gd name="T76" fmla="*/ 444 w 763"/>
                <a:gd name="T77" fmla="*/ 2 h 746"/>
                <a:gd name="T78" fmla="*/ 416 w 763"/>
                <a:gd name="T79" fmla="*/ 35 h 746"/>
                <a:gd name="T80" fmla="*/ 318 w 763"/>
                <a:gd name="T81" fmla="*/ 87 h 746"/>
                <a:gd name="T82" fmla="*/ 265 w 763"/>
                <a:gd name="T83" fmla="*/ 104 h 746"/>
                <a:gd name="T84" fmla="*/ 219 w 763"/>
                <a:gd name="T85" fmla="*/ 78 h 746"/>
                <a:gd name="T86" fmla="*/ 198 w 763"/>
                <a:gd name="T87" fmla="*/ 56 h 746"/>
                <a:gd name="T88" fmla="*/ 204 w 763"/>
                <a:gd name="T89" fmla="*/ 83 h 746"/>
                <a:gd name="T90" fmla="*/ 197 w 763"/>
                <a:gd name="T91" fmla="*/ 113 h 746"/>
                <a:gd name="T92" fmla="*/ 182 w 763"/>
                <a:gd name="T93" fmla="*/ 137 h 746"/>
                <a:gd name="T94" fmla="*/ 141 w 763"/>
                <a:gd name="T95" fmla="*/ 126 h 746"/>
                <a:gd name="T96" fmla="*/ 93 w 763"/>
                <a:gd name="T97" fmla="*/ 96 h 746"/>
                <a:gd name="T98" fmla="*/ 59 w 763"/>
                <a:gd name="T99" fmla="*/ 108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3" h="746">
                  <a:moveTo>
                    <a:pt x="13" y="106"/>
                  </a:moveTo>
                  <a:lnTo>
                    <a:pt x="20" y="124"/>
                  </a:lnTo>
                  <a:lnTo>
                    <a:pt x="13" y="139"/>
                  </a:lnTo>
                  <a:lnTo>
                    <a:pt x="11" y="145"/>
                  </a:lnTo>
                  <a:lnTo>
                    <a:pt x="0" y="141"/>
                  </a:lnTo>
                  <a:lnTo>
                    <a:pt x="4" y="150"/>
                  </a:lnTo>
                  <a:lnTo>
                    <a:pt x="4" y="159"/>
                  </a:lnTo>
                  <a:lnTo>
                    <a:pt x="13" y="174"/>
                  </a:lnTo>
                  <a:lnTo>
                    <a:pt x="30" y="169"/>
                  </a:lnTo>
                  <a:lnTo>
                    <a:pt x="52" y="193"/>
                  </a:lnTo>
                  <a:lnTo>
                    <a:pt x="61" y="209"/>
                  </a:lnTo>
                  <a:lnTo>
                    <a:pt x="74" y="221"/>
                  </a:lnTo>
                  <a:lnTo>
                    <a:pt x="91" y="221"/>
                  </a:lnTo>
                  <a:lnTo>
                    <a:pt x="98" y="235"/>
                  </a:lnTo>
                  <a:lnTo>
                    <a:pt x="113" y="248"/>
                  </a:lnTo>
                  <a:lnTo>
                    <a:pt x="122" y="250"/>
                  </a:lnTo>
                  <a:lnTo>
                    <a:pt x="124" y="256"/>
                  </a:lnTo>
                  <a:lnTo>
                    <a:pt x="119" y="268"/>
                  </a:lnTo>
                  <a:lnTo>
                    <a:pt x="119" y="279"/>
                  </a:lnTo>
                  <a:lnTo>
                    <a:pt x="117" y="290"/>
                  </a:lnTo>
                  <a:lnTo>
                    <a:pt x="113" y="309"/>
                  </a:lnTo>
                  <a:lnTo>
                    <a:pt x="128" y="327"/>
                  </a:lnTo>
                  <a:lnTo>
                    <a:pt x="145" y="340"/>
                  </a:lnTo>
                  <a:lnTo>
                    <a:pt x="145" y="349"/>
                  </a:lnTo>
                  <a:lnTo>
                    <a:pt x="143" y="381"/>
                  </a:lnTo>
                  <a:lnTo>
                    <a:pt x="139" y="407"/>
                  </a:lnTo>
                  <a:lnTo>
                    <a:pt x="143" y="418"/>
                  </a:lnTo>
                  <a:lnTo>
                    <a:pt x="158" y="429"/>
                  </a:lnTo>
                  <a:lnTo>
                    <a:pt x="158" y="451"/>
                  </a:lnTo>
                  <a:lnTo>
                    <a:pt x="158" y="466"/>
                  </a:lnTo>
                  <a:lnTo>
                    <a:pt x="141" y="444"/>
                  </a:lnTo>
                  <a:lnTo>
                    <a:pt x="132" y="429"/>
                  </a:lnTo>
                  <a:lnTo>
                    <a:pt x="126" y="433"/>
                  </a:lnTo>
                  <a:lnTo>
                    <a:pt x="130" y="444"/>
                  </a:lnTo>
                  <a:lnTo>
                    <a:pt x="124" y="457"/>
                  </a:lnTo>
                  <a:lnTo>
                    <a:pt x="115" y="470"/>
                  </a:lnTo>
                  <a:lnTo>
                    <a:pt x="109" y="479"/>
                  </a:lnTo>
                  <a:lnTo>
                    <a:pt x="117" y="488"/>
                  </a:lnTo>
                  <a:lnTo>
                    <a:pt x="111" y="498"/>
                  </a:lnTo>
                  <a:lnTo>
                    <a:pt x="98" y="511"/>
                  </a:lnTo>
                  <a:lnTo>
                    <a:pt x="96" y="522"/>
                  </a:lnTo>
                  <a:lnTo>
                    <a:pt x="89" y="535"/>
                  </a:lnTo>
                  <a:lnTo>
                    <a:pt x="69" y="559"/>
                  </a:lnTo>
                  <a:lnTo>
                    <a:pt x="57" y="583"/>
                  </a:lnTo>
                  <a:lnTo>
                    <a:pt x="57" y="587"/>
                  </a:lnTo>
                  <a:lnTo>
                    <a:pt x="63" y="594"/>
                  </a:lnTo>
                  <a:lnTo>
                    <a:pt x="56" y="605"/>
                  </a:lnTo>
                  <a:lnTo>
                    <a:pt x="59" y="618"/>
                  </a:lnTo>
                  <a:lnTo>
                    <a:pt x="70" y="635"/>
                  </a:lnTo>
                  <a:lnTo>
                    <a:pt x="117" y="661"/>
                  </a:lnTo>
                  <a:lnTo>
                    <a:pt x="150" y="689"/>
                  </a:lnTo>
                  <a:lnTo>
                    <a:pt x="161" y="685"/>
                  </a:lnTo>
                  <a:lnTo>
                    <a:pt x="178" y="679"/>
                  </a:lnTo>
                  <a:lnTo>
                    <a:pt x="235" y="703"/>
                  </a:lnTo>
                  <a:lnTo>
                    <a:pt x="243" y="711"/>
                  </a:lnTo>
                  <a:lnTo>
                    <a:pt x="248" y="726"/>
                  </a:lnTo>
                  <a:lnTo>
                    <a:pt x="258" y="731"/>
                  </a:lnTo>
                  <a:lnTo>
                    <a:pt x="271" y="733"/>
                  </a:lnTo>
                  <a:lnTo>
                    <a:pt x="292" y="744"/>
                  </a:lnTo>
                  <a:lnTo>
                    <a:pt x="325" y="746"/>
                  </a:lnTo>
                  <a:lnTo>
                    <a:pt x="335" y="733"/>
                  </a:lnTo>
                  <a:lnTo>
                    <a:pt x="338" y="718"/>
                  </a:lnTo>
                  <a:lnTo>
                    <a:pt x="338" y="702"/>
                  </a:lnTo>
                  <a:lnTo>
                    <a:pt x="353" y="689"/>
                  </a:lnTo>
                  <a:lnTo>
                    <a:pt x="381" y="674"/>
                  </a:lnTo>
                  <a:lnTo>
                    <a:pt x="394" y="672"/>
                  </a:lnTo>
                  <a:lnTo>
                    <a:pt x="409" y="664"/>
                  </a:lnTo>
                  <a:lnTo>
                    <a:pt x="422" y="664"/>
                  </a:lnTo>
                  <a:lnTo>
                    <a:pt x="437" y="674"/>
                  </a:lnTo>
                  <a:lnTo>
                    <a:pt x="448" y="687"/>
                  </a:lnTo>
                  <a:lnTo>
                    <a:pt x="461" y="687"/>
                  </a:lnTo>
                  <a:lnTo>
                    <a:pt x="472" y="690"/>
                  </a:lnTo>
                  <a:lnTo>
                    <a:pt x="494" y="692"/>
                  </a:lnTo>
                  <a:lnTo>
                    <a:pt x="509" y="711"/>
                  </a:lnTo>
                  <a:lnTo>
                    <a:pt x="522" y="720"/>
                  </a:lnTo>
                  <a:lnTo>
                    <a:pt x="541" y="726"/>
                  </a:lnTo>
                  <a:lnTo>
                    <a:pt x="557" y="735"/>
                  </a:lnTo>
                  <a:lnTo>
                    <a:pt x="566" y="737"/>
                  </a:lnTo>
                  <a:lnTo>
                    <a:pt x="589" y="714"/>
                  </a:lnTo>
                  <a:lnTo>
                    <a:pt x="604" y="711"/>
                  </a:lnTo>
                  <a:lnTo>
                    <a:pt x="615" y="702"/>
                  </a:lnTo>
                  <a:lnTo>
                    <a:pt x="631" y="690"/>
                  </a:lnTo>
                  <a:lnTo>
                    <a:pt x="652" y="689"/>
                  </a:lnTo>
                  <a:lnTo>
                    <a:pt x="650" y="663"/>
                  </a:lnTo>
                  <a:lnTo>
                    <a:pt x="646" y="655"/>
                  </a:lnTo>
                  <a:lnTo>
                    <a:pt x="637" y="642"/>
                  </a:lnTo>
                  <a:lnTo>
                    <a:pt x="630" y="644"/>
                  </a:lnTo>
                  <a:lnTo>
                    <a:pt x="622" y="642"/>
                  </a:lnTo>
                  <a:lnTo>
                    <a:pt x="615" y="631"/>
                  </a:lnTo>
                  <a:lnTo>
                    <a:pt x="613" y="605"/>
                  </a:lnTo>
                  <a:lnTo>
                    <a:pt x="628" y="588"/>
                  </a:lnTo>
                  <a:lnTo>
                    <a:pt x="617" y="574"/>
                  </a:lnTo>
                  <a:lnTo>
                    <a:pt x="617" y="568"/>
                  </a:lnTo>
                  <a:lnTo>
                    <a:pt x="639" y="546"/>
                  </a:lnTo>
                  <a:lnTo>
                    <a:pt x="639" y="538"/>
                  </a:lnTo>
                  <a:lnTo>
                    <a:pt x="635" y="511"/>
                  </a:lnTo>
                  <a:lnTo>
                    <a:pt x="648" y="498"/>
                  </a:lnTo>
                  <a:lnTo>
                    <a:pt x="637" y="483"/>
                  </a:lnTo>
                  <a:lnTo>
                    <a:pt x="637" y="472"/>
                  </a:lnTo>
                  <a:lnTo>
                    <a:pt x="635" y="453"/>
                  </a:lnTo>
                  <a:lnTo>
                    <a:pt x="630" y="448"/>
                  </a:lnTo>
                  <a:lnTo>
                    <a:pt x="617" y="448"/>
                  </a:lnTo>
                  <a:lnTo>
                    <a:pt x="605" y="451"/>
                  </a:lnTo>
                  <a:lnTo>
                    <a:pt x="602" y="455"/>
                  </a:lnTo>
                  <a:lnTo>
                    <a:pt x="594" y="462"/>
                  </a:lnTo>
                  <a:lnTo>
                    <a:pt x="583" y="466"/>
                  </a:lnTo>
                  <a:lnTo>
                    <a:pt x="579" y="455"/>
                  </a:lnTo>
                  <a:lnTo>
                    <a:pt x="587" y="446"/>
                  </a:lnTo>
                  <a:lnTo>
                    <a:pt x="591" y="438"/>
                  </a:lnTo>
                  <a:lnTo>
                    <a:pt x="591" y="429"/>
                  </a:lnTo>
                  <a:lnTo>
                    <a:pt x="611" y="409"/>
                  </a:lnTo>
                  <a:lnTo>
                    <a:pt x="622" y="405"/>
                  </a:lnTo>
                  <a:lnTo>
                    <a:pt x="624" y="390"/>
                  </a:lnTo>
                  <a:lnTo>
                    <a:pt x="635" y="377"/>
                  </a:lnTo>
                  <a:lnTo>
                    <a:pt x="667" y="353"/>
                  </a:lnTo>
                  <a:lnTo>
                    <a:pt x="676" y="353"/>
                  </a:lnTo>
                  <a:lnTo>
                    <a:pt x="680" y="344"/>
                  </a:lnTo>
                  <a:lnTo>
                    <a:pt x="691" y="333"/>
                  </a:lnTo>
                  <a:lnTo>
                    <a:pt x="700" y="333"/>
                  </a:lnTo>
                  <a:lnTo>
                    <a:pt x="704" y="327"/>
                  </a:lnTo>
                  <a:lnTo>
                    <a:pt x="709" y="323"/>
                  </a:lnTo>
                  <a:lnTo>
                    <a:pt x="717" y="310"/>
                  </a:lnTo>
                  <a:lnTo>
                    <a:pt x="724" y="290"/>
                  </a:lnTo>
                  <a:lnTo>
                    <a:pt x="726" y="277"/>
                  </a:lnTo>
                  <a:lnTo>
                    <a:pt x="726" y="266"/>
                  </a:lnTo>
                  <a:lnTo>
                    <a:pt x="737" y="252"/>
                  </a:lnTo>
                  <a:lnTo>
                    <a:pt x="754" y="243"/>
                  </a:lnTo>
                  <a:lnTo>
                    <a:pt x="763" y="234"/>
                  </a:lnTo>
                  <a:lnTo>
                    <a:pt x="763" y="230"/>
                  </a:lnTo>
                  <a:lnTo>
                    <a:pt x="748" y="219"/>
                  </a:lnTo>
                  <a:lnTo>
                    <a:pt x="741" y="215"/>
                  </a:lnTo>
                  <a:lnTo>
                    <a:pt x="719" y="213"/>
                  </a:lnTo>
                  <a:lnTo>
                    <a:pt x="694" y="209"/>
                  </a:lnTo>
                  <a:lnTo>
                    <a:pt x="685" y="208"/>
                  </a:lnTo>
                  <a:lnTo>
                    <a:pt x="676" y="204"/>
                  </a:lnTo>
                  <a:lnTo>
                    <a:pt x="667" y="195"/>
                  </a:lnTo>
                  <a:lnTo>
                    <a:pt x="659" y="180"/>
                  </a:lnTo>
                  <a:lnTo>
                    <a:pt x="652" y="171"/>
                  </a:lnTo>
                  <a:lnTo>
                    <a:pt x="642" y="167"/>
                  </a:lnTo>
                  <a:lnTo>
                    <a:pt x="631" y="163"/>
                  </a:lnTo>
                  <a:lnTo>
                    <a:pt x="626" y="161"/>
                  </a:lnTo>
                  <a:lnTo>
                    <a:pt x="611" y="148"/>
                  </a:lnTo>
                  <a:lnTo>
                    <a:pt x="592" y="133"/>
                  </a:lnTo>
                  <a:lnTo>
                    <a:pt x="581" y="119"/>
                  </a:lnTo>
                  <a:lnTo>
                    <a:pt x="568" y="115"/>
                  </a:lnTo>
                  <a:lnTo>
                    <a:pt x="561" y="109"/>
                  </a:lnTo>
                  <a:lnTo>
                    <a:pt x="555" y="95"/>
                  </a:lnTo>
                  <a:lnTo>
                    <a:pt x="539" y="76"/>
                  </a:lnTo>
                  <a:lnTo>
                    <a:pt x="535" y="63"/>
                  </a:lnTo>
                  <a:lnTo>
                    <a:pt x="522" y="50"/>
                  </a:lnTo>
                  <a:lnTo>
                    <a:pt x="516" y="39"/>
                  </a:lnTo>
                  <a:lnTo>
                    <a:pt x="509" y="30"/>
                  </a:lnTo>
                  <a:lnTo>
                    <a:pt x="496" y="20"/>
                  </a:lnTo>
                  <a:lnTo>
                    <a:pt x="483" y="6"/>
                  </a:lnTo>
                  <a:lnTo>
                    <a:pt x="472" y="0"/>
                  </a:lnTo>
                  <a:lnTo>
                    <a:pt x="444" y="2"/>
                  </a:lnTo>
                  <a:lnTo>
                    <a:pt x="433" y="2"/>
                  </a:lnTo>
                  <a:lnTo>
                    <a:pt x="418" y="13"/>
                  </a:lnTo>
                  <a:lnTo>
                    <a:pt x="427" y="22"/>
                  </a:lnTo>
                  <a:lnTo>
                    <a:pt x="416" y="35"/>
                  </a:lnTo>
                  <a:lnTo>
                    <a:pt x="388" y="70"/>
                  </a:lnTo>
                  <a:lnTo>
                    <a:pt x="374" y="78"/>
                  </a:lnTo>
                  <a:lnTo>
                    <a:pt x="335" y="82"/>
                  </a:lnTo>
                  <a:lnTo>
                    <a:pt x="318" y="87"/>
                  </a:lnTo>
                  <a:lnTo>
                    <a:pt x="309" y="96"/>
                  </a:lnTo>
                  <a:lnTo>
                    <a:pt x="305" y="104"/>
                  </a:lnTo>
                  <a:lnTo>
                    <a:pt x="290" y="100"/>
                  </a:lnTo>
                  <a:lnTo>
                    <a:pt x="265" y="104"/>
                  </a:lnTo>
                  <a:lnTo>
                    <a:pt x="250" y="102"/>
                  </a:lnTo>
                  <a:lnTo>
                    <a:pt x="237" y="93"/>
                  </a:lnTo>
                  <a:lnTo>
                    <a:pt x="228" y="82"/>
                  </a:lnTo>
                  <a:lnTo>
                    <a:pt x="219" y="78"/>
                  </a:lnTo>
                  <a:lnTo>
                    <a:pt x="226" y="69"/>
                  </a:lnTo>
                  <a:lnTo>
                    <a:pt x="215" y="59"/>
                  </a:lnTo>
                  <a:lnTo>
                    <a:pt x="206" y="57"/>
                  </a:lnTo>
                  <a:lnTo>
                    <a:pt x="198" y="56"/>
                  </a:lnTo>
                  <a:lnTo>
                    <a:pt x="197" y="59"/>
                  </a:lnTo>
                  <a:lnTo>
                    <a:pt x="204" y="67"/>
                  </a:lnTo>
                  <a:lnTo>
                    <a:pt x="200" y="72"/>
                  </a:lnTo>
                  <a:lnTo>
                    <a:pt x="204" y="83"/>
                  </a:lnTo>
                  <a:lnTo>
                    <a:pt x="206" y="96"/>
                  </a:lnTo>
                  <a:lnTo>
                    <a:pt x="206" y="106"/>
                  </a:lnTo>
                  <a:lnTo>
                    <a:pt x="204" y="108"/>
                  </a:lnTo>
                  <a:lnTo>
                    <a:pt x="197" y="113"/>
                  </a:lnTo>
                  <a:lnTo>
                    <a:pt x="195" y="122"/>
                  </a:lnTo>
                  <a:lnTo>
                    <a:pt x="195" y="132"/>
                  </a:lnTo>
                  <a:lnTo>
                    <a:pt x="193" y="139"/>
                  </a:lnTo>
                  <a:lnTo>
                    <a:pt x="182" y="137"/>
                  </a:lnTo>
                  <a:lnTo>
                    <a:pt x="169" y="130"/>
                  </a:lnTo>
                  <a:lnTo>
                    <a:pt x="161" y="137"/>
                  </a:lnTo>
                  <a:lnTo>
                    <a:pt x="148" y="128"/>
                  </a:lnTo>
                  <a:lnTo>
                    <a:pt x="141" y="126"/>
                  </a:lnTo>
                  <a:lnTo>
                    <a:pt x="132" y="133"/>
                  </a:lnTo>
                  <a:lnTo>
                    <a:pt x="124" y="132"/>
                  </a:lnTo>
                  <a:lnTo>
                    <a:pt x="124" y="126"/>
                  </a:lnTo>
                  <a:lnTo>
                    <a:pt x="93" y="96"/>
                  </a:lnTo>
                  <a:lnTo>
                    <a:pt x="85" y="95"/>
                  </a:lnTo>
                  <a:lnTo>
                    <a:pt x="80" y="100"/>
                  </a:lnTo>
                  <a:lnTo>
                    <a:pt x="67" y="106"/>
                  </a:lnTo>
                  <a:lnTo>
                    <a:pt x="59" y="108"/>
                  </a:lnTo>
                  <a:lnTo>
                    <a:pt x="50" y="98"/>
                  </a:lnTo>
                  <a:lnTo>
                    <a:pt x="28" y="98"/>
                  </a:lnTo>
                  <a:lnTo>
                    <a:pt x="13" y="106"/>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7" name="Freeform 455"/>
            <p:cNvSpPr>
              <a:spLocks/>
            </p:cNvSpPr>
            <p:nvPr/>
          </p:nvSpPr>
          <p:spPr bwMode="auto">
            <a:xfrm>
              <a:off x="2126" y="1493"/>
              <a:ext cx="472" cy="702"/>
            </a:xfrm>
            <a:custGeom>
              <a:avLst/>
              <a:gdLst>
                <a:gd name="T0" fmla="*/ 147 w 452"/>
                <a:gd name="T1" fmla="*/ 515 h 745"/>
                <a:gd name="T2" fmla="*/ 97 w 452"/>
                <a:gd name="T3" fmla="*/ 549 h 745"/>
                <a:gd name="T4" fmla="*/ 84 w 452"/>
                <a:gd name="T5" fmla="*/ 580 h 745"/>
                <a:gd name="T6" fmla="*/ 113 w 452"/>
                <a:gd name="T7" fmla="*/ 597 h 745"/>
                <a:gd name="T8" fmla="*/ 137 w 452"/>
                <a:gd name="T9" fmla="*/ 608 h 745"/>
                <a:gd name="T10" fmla="*/ 180 w 452"/>
                <a:gd name="T11" fmla="*/ 617 h 745"/>
                <a:gd name="T12" fmla="*/ 152 w 452"/>
                <a:gd name="T13" fmla="*/ 651 h 745"/>
                <a:gd name="T14" fmla="*/ 87 w 452"/>
                <a:gd name="T15" fmla="*/ 632 h 745"/>
                <a:gd name="T16" fmla="*/ 41 w 452"/>
                <a:gd name="T17" fmla="*/ 671 h 745"/>
                <a:gd name="T18" fmla="*/ 2 w 452"/>
                <a:gd name="T19" fmla="*/ 691 h 745"/>
                <a:gd name="T20" fmla="*/ 22 w 452"/>
                <a:gd name="T21" fmla="*/ 708 h 745"/>
                <a:gd name="T22" fmla="*/ 59 w 452"/>
                <a:gd name="T23" fmla="*/ 702 h 745"/>
                <a:gd name="T24" fmla="*/ 110 w 452"/>
                <a:gd name="T25" fmla="*/ 723 h 745"/>
                <a:gd name="T26" fmla="*/ 148 w 452"/>
                <a:gd name="T27" fmla="*/ 689 h 745"/>
                <a:gd name="T28" fmla="*/ 182 w 452"/>
                <a:gd name="T29" fmla="*/ 710 h 745"/>
                <a:gd name="T30" fmla="*/ 230 w 452"/>
                <a:gd name="T31" fmla="*/ 717 h 745"/>
                <a:gd name="T32" fmla="*/ 265 w 452"/>
                <a:gd name="T33" fmla="*/ 714 h 745"/>
                <a:gd name="T34" fmla="*/ 315 w 452"/>
                <a:gd name="T35" fmla="*/ 734 h 745"/>
                <a:gd name="T36" fmla="*/ 357 w 452"/>
                <a:gd name="T37" fmla="*/ 738 h 745"/>
                <a:gd name="T38" fmla="*/ 398 w 452"/>
                <a:gd name="T39" fmla="*/ 723 h 745"/>
                <a:gd name="T40" fmla="*/ 381 w 452"/>
                <a:gd name="T41" fmla="*/ 689 h 745"/>
                <a:gd name="T42" fmla="*/ 383 w 452"/>
                <a:gd name="T43" fmla="*/ 667 h 745"/>
                <a:gd name="T44" fmla="*/ 437 w 452"/>
                <a:gd name="T45" fmla="*/ 632 h 745"/>
                <a:gd name="T46" fmla="*/ 452 w 452"/>
                <a:gd name="T47" fmla="*/ 584 h 745"/>
                <a:gd name="T48" fmla="*/ 413 w 452"/>
                <a:gd name="T49" fmla="*/ 558 h 745"/>
                <a:gd name="T50" fmla="*/ 385 w 452"/>
                <a:gd name="T51" fmla="*/ 556 h 745"/>
                <a:gd name="T52" fmla="*/ 394 w 452"/>
                <a:gd name="T53" fmla="*/ 510 h 745"/>
                <a:gd name="T54" fmla="*/ 394 w 452"/>
                <a:gd name="T55" fmla="*/ 447 h 745"/>
                <a:gd name="T56" fmla="*/ 354 w 452"/>
                <a:gd name="T57" fmla="*/ 374 h 745"/>
                <a:gd name="T58" fmla="*/ 354 w 452"/>
                <a:gd name="T59" fmla="*/ 317 h 745"/>
                <a:gd name="T60" fmla="*/ 341 w 452"/>
                <a:gd name="T61" fmla="*/ 272 h 745"/>
                <a:gd name="T62" fmla="*/ 298 w 452"/>
                <a:gd name="T63" fmla="*/ 248 h 745"/>
                <a:gd name="T64" fmla="*/ 294 w 452"/>
                <a:gd name="T65" fmla="*/ 230 h 745"/>
                <a:gd name="T66" fmla="*/ 331 w 452"/>
                <a:gd name="T67" fmla="*/ 235 h 745"/>
                <a:gd name="T68" fmla="*/ 389 w 452"/>
                <a:gd name="T69" fmla="*/ 165 h 745"/>
                <a:gd name="T70" fmla="*/ 385 w 452"/>
                <a:gd name="T71" fmla="*/ 120 h 745"/>
                <a:gd name="T72" fmla="*/ 331 w 452"/>
                <a:gd name="T73" fmla="*/ 98 h 745"/>
                <a:gd name="T74" fmla="*/ 302 w 452"/>
                <a:gd name="T75" fmla="*/ 100 h 745"/>
                <a:gd name="T76" fmla="*/ 318 w 452"/>
                <a:gd name="T77" fmla="*/ 72 h 745"/>
                <a:gd name="T78" fmla="*/ 376 w 452"/>
                <a:gd name="T79" fmla="*/ 37 h 745"/>
                <a:gd name="T80" fmla="*/ 339 w 452"/>
                <a:gd name="T81" fmla="*/ 13 h 745"/>
                <a:gd name="T82" fmla="*/ 278 w 452"/>
                <a:gd name="T83" fmla="*/ 22 h 745"/>
                <a:gd name="T84" fmla="*/ 249 w 452"/>
                <a:gd name="T85" fmla="*/ 48 h 745"/>
                <a:gd name="T86" fmla="*/ 230 w 452"/>
                <a:gd name="T87" fmla="*/ 83 h 745"/>
                <a:gd name="T88" fmla="*/ 182 w 452"/>
                <a:gd name="T89" fmla="*/ 143 h 745"/>
                <a:gd name="T90" fmla="*/ 213 w 452"/>
                <a:gd name="T91" fmla="*/ 155 h 745"/>
                <a:gd name="T92" fmla="*/ 169 w 452"/>
                <a:gd name="T93" fmla="*/ 230 h 745"/>
                <a:gd name="T94" fmla="*/ 184 w 452"/>
                <a:gd name="T95" fmla="*/ 241 h 745"/>
                <a:gd name="T96" fmla="*/ 212 w 452"/>
                <a:gd name="T97" fmla="*/ 257 h 745"/>
                <a:gd name="T98" fmla="*/ 180 w 452"/>
                <a:gd name="T99" fmla="*/ 302 h 745"/>
                <a:gd name="T100" fmla="*/ 225 w 452"/>
                <a:gd name="T101" fmla="*/ 331 h 745"/>
                <a:gd name="T102" fmla="*/ 252 w 452"/>
                <a:gd name="T103" fmla="*/ 341 h 745"/>
                <a:gd name="T104" fmla="*/ 243 w 452"/>
                <a:gd name="T105" fmla="*/ 405 h 745"/>
                <a:gd name="T106" fmla="*/ 241 w 452"/>
                <a:gd name="T107" fmla="*/ 449 h 745"/>
                <a:gd name="T108" fmla="*/ 221 w 452"/>
                <a:gd name="T109" fmla="*/ 469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2" h="745">
                  <a:moveTo>
                    <a:pt x="135" y="478"/>
                  </a:moveTo>
                  <a:lnTo>
                    <a:pt x="156" y="497"/>
                  </a:lnTo>
                  <a:lnTo>
                    <a:pt x="147" y="515"/>
                  </a:lnTo>
                  <a:lnTo>
                    <a:pt x="134" y="530"/>
                  </a:lnTo>
                  <a:lnTo>
                    <a:pt x="113" y="540"/>
                  </a:lnTo>
                  <a:lnTo>
                    <a:pt x="97" y="549"/>
                  </a:lnTo>
                  <a:lnTo>
                    <a:pt x="80" y="551"/>
                  </a:lnTo>
                  <a:lnTo>
                    <a:pt x="71" y="558"/>
                  </a:lnTo>
                  <a:lnTo>
                    <a:pt x="84" y="580"/>
                  </a:lnTo>
                  <a:lnTo>
                    <a:pt x="104" y="580"/>
                  </a:lnTo>
                  <a:lnTo>
                    <a:pt x="113" y="582"/>
                  </a:lnTo>
                  <a:lnTo>
                    <a:pt x="113" y="597"/>
                  </a:lnTo>
                  <a:lnTo>
                    <a:pt x="124" y="597"/>
                  </a:lnTo>
                  <a:lnTo>
                    <a:pt x="132" y="593"/>
                  </a:lnTo>
                  <a:lnTo>
                    <a:pt x="137" y="608"/>
                  </a:lnTo>
                  <a:lnTo>
                    <a:pt x="148" y="621"/>
                  </a:lnTo>
                  <a:lnTo>
                    <a:pt x="167" y="621"/>
                  </a:lnTo>
                  <a:lnTo>
                    <a:pt x="180" y="617"/>
                  </a:lnTo>
                  <a:lnTo>
                    <a:pt x="191" y="621"/>
                  </a:lnTo>
                  <a:lnTo>
                    <a:pt x="163" y="645"/>
                  </a:lnTo>
                  <a:lnTo>
                    <a:pt x="152" y="651"/>
                  </a:lnTo>
                  <a:lnTo>
                    <a:pt x="137" y="645"/>
                  </a:lnTo>
                  <a:lnTo>
                    <a:pt x="104" y="632"/>
                  </a:lnTo>
                  <a:lnTo>
                    <a:pt x="87" y="632"/>
                  </a:lnTo>
                  <a:lnTo>
                    <a:pt x="72" y="645"/>
                  </a:lnTo>
                  <a:lnTo>
                    <a:pt x="52" y="662"/>
                  </a:lnTo>
                  <a:lnTo>
                    <a:pt x="41" y="671"/>
                  </a:lnTo>
                  <a:lnTo>
                    <a:pt x="28" y="675"/>
                  </a:lnTo>
                  <a:lnTo>
                    <a:pt x="13" y="682"/>
                  </a:lnTo>
                  <a:lnTo>
                    <a:pt x="2" y="691"/>
                  </a:lnTo>
                  <a:lnTo>
                    <a:pt x="0" y="697"/>
                  </a:lnTo>
                  <a:lnTo>
                    <a:pt x="13" y="699"/>
                  </a:lnTo>
                  <a:lnTo>
                    <a:pt x="22" y="708"/>
                  </a:lnTo>
                  <a:lnTo>
                    <a:pt x="35" y="714"/>
                  </a:lnTo>
                  <a:lnTo>
                    <a:pt x="48" y="708"/>
                  </a:lnTo>
                  <a:lnTo>
                    <a:pt x="59" y="702"/>
                  </a:lnTo>
                  <a:lnTo>
                    <a:pt x="72" y="704"/>
                  </a:lnTo>
                  <a:lnTo>
                    <a:pt x="91" y="715"/>
                  </a:lnTo>
                  <a:lnTo>
                    <a:pt x="110" y="723"/>
                  </a:lnTo>
                  <a:lnTo>
                    <a:pt x="122" y="715"/>
                  </a:lnTo>
                  <a:lnTo>
                    <a:pt x="128" y="701"/>
                  </a:lnTo>
                  <a:lnTo>
                    <a:pt x="148" y="689"/>
                  </a:lnTo>
                  <a:lnTo>
                    <a:pt x="161" y="689"/>
                  </a:lnTo>
                  <a:lnTo>
                    <a:pt x="173" y="702"/>
                  </a:lnTo>
                  <a:lnTo>
                    <a:pt x="182" y="710"/>
                  </a:lnTo>
                  <a:lnTo>
                    <a:pt x="197" y="710"/>
                  </a:lnTo>
                  <a:lnTo>
                    <a:pt x="217" y="712"/>
                  </a:lnTo>
                  <a:lnTo>
                    <a:pt x="230" y="717"/>
                  </a:lnTo>
                  <a:lnTo>
                    <a:pt x="243" y="708"/>
                  </a:lnTo>
                  <a:lnTo>
                    <a:pt x="254" y="708"/>
                  </a:lnTo>
                  <a:lnTo>
                    <a:pt x="265" y="714"/>
                  </a:lnTo>
                  <a:lnTo>
                    <a:pt x="279" y="728"/>
                  </a:lnTo>
                  <a:lnTo>
                    <a:pt x="296" y="730"/>
                  </a:lnTo>
                  <a:lnTo>
                    <a:pt x="315" y="734"/>
                  </a:lnTo>
                  <a:lnTo>
                    <a:pt x="328" y="741"/>
                  </a:lnTo>
                  <a:lnTo>
                    <a:pt x="344" y="745"/>
                  </a:lnTo>
                  <a:lnTo>
                    <a:pt x="357" y="738"/>
                  </a:lnTo>
                  <a:lnTo>
                    <a:pt x="374" y="728"/>
                  </a:lnTo>
                  <a:lnTo>
                    <a:pt x="385" y="726"/>
                  </a:lnTo>
                  <a:lnTo>
                    <a:pt x="398" y="723"/>
                  </a:lnTo>
                  <a:lnTo>
                    <a:pt x="411" y="712"/>
                  </a:lnTo>
                  <a:lnTo>
                    <a:pt x="402" y="701"/>
                  </a:lnTo>
                  <a:lnTo>
                    <a:pt x="381" y="689"/>
                  </a:lnTo>
                  <a:lnTo>
                    <a:pt x="374" y="682"/>
                  </a:lnTo>
                  <a:lnTo>
                    <a:pt x="374" y="675"/>
                  </a:lnTo>
                  <a:lnTo>
                    <a:pt x="383" y="667"/>
                  </a:lnTo>
                  <a:lnTo>
                    <a:pt x="398" y="665"/>
                  </a:lnTo>
                  <a:lnTo>
                    <a:pt x="413" y="658"/>
                  </a:lnTo>
                  <a:lnTo>
                    <a:pt x="437" y="632"/>
                  </a:lnTo>
                  <a:lnTo>
                    <a:pt x="448" y="619"/>
                  </a:lnTo>
                  <a:lnTo>
                    <a:pt x="452" y="597"/>
                  </a:lnTo>
                  <a:lnTo>
                    <a:pt x="452" y="584"/>
                  </a:lnTo>
                  <a:lnTo>
                    <a:pt x="441" y="575"/>
                  </a:lnTo>
                  <a:lnTo>
                    <a:pt x="426" y="564"/>
                  </a:lnTo>
                  <a:lnTo>
                    <a:pt x="413" y="558"/>
                  </a:lnTo>
                  <a:lnTo>
                    <a:pt x="398" y="560"/>
                  </a:lnTo>
                  <a:lnTo>
                    <a:pt x="389" y="565"/>
                  </a:lnTo>
                  <a:lnTo>
                    <a:pt x="385" y="556"/>
                  </a:lnTo>
                  <a:lnTo>
                    <a:pt x="393" y="541"/>
                  </a:lnTo>
                  <a:lnTo>
                    <a:pt x="396" y="530"/>
                  </a:lnTo>
                  <a:lnTo>
                    <a:pt x="394" y="510"/>
                  </a:lnTo>
                  <a:lnTo>
                    <a:pt x="393" y="482"/>
                  </a:lnTo>
                  <a:lnTo>
                    <a:pt x="398" y="460"/>
                  </a:lnTo>
                  <a:lnTo>
                    <a:pt x="394" y="447"/>
                  </a:lnTo>
                  <a:lnTo>
                    <a:pt x="385" y="431"/>
                  </a:lnTo>
                  <a:lnTo>
                    <a:pt x="363" y="392"/>
                  </a:lnTo>
                  <a:lnTo>
                    <a:pt x="354" y="374"/>
                  </a:lnTo>
                  <a:lnTo>
                    <a:pt x="350" y="352"/>
                  </a:lnTo>
                  <a:lnTo>
                    <a:pt x="348" y="339"/>
                  </a:lnTo>
                  <a:lnTo>
                    <a:pt x="354" y="317"/>
                  </a:lnTo>
                  <a:lnTo>
                    <a:pt x="354" y="300"/>
                  </a:lnTo>
                  <a:lnTo>
                    <a:pt x="350" y="281"/>
                  </a:lnTo>
                  <a:lnTo>
                    <a:pt x="341" y="272"/>
                  </a:lnTo>
                  <a:lnTo>
                    <a:pt x="324" y="255"/>
                  </a:lnTo>
                  <a:lnTo>
                    <a:pt x="311" y="250"/>
                  </a:lnTo>
                  <a:lnTo>
                    <a:pt x="298" y="248"/>
                  </a:lnTo>
                  <a:lnTo>
                    <a:pt x="289" y="246"/>
                  </a:lnTo>
                  <a:lnTo>
                    <a:pt x="289" y="237"/>
                  </a:lnTo>
                  <a:lnTo>
                    <a:pt x="294" y="230"/>
                  </a:lnTo>
                  <a:lnTo>
                    <a:pt x="309" y="228"/>
                  </a:lnTo>
                  <a:lnTo>
                    <a:pt x="322" y="233"/>
                  </a:lnTo>
                  <a:lnTo>
                    <a:pt x="331" y="235"/>
                  </a:lnTo>
                  <a:lnTo>
                    <a:pt x="337" y="226"/>
                  </a:lnTo>
                  <a:lnTo>
                    <a:pt x="335" y="215"/>
                  </a:lnTo>
                  <a:lnTo>
                    <a:pt x="389" y="165"/>
                  </a:lnTo>
                  <a:lnTo>
                    <a:pt x="398" y="154"/>
                  </a:lnTo>
                  <a:lnTo>
                    <a:pt x="398" y="131"/>
                  </a:lnTo>
                  <a:lnTo>
                    <a:pt x="385" y="120"/>
                  </a:lnTo>
                  <a:lnTo>
                    <a:pt x="370" y="118"/>
                  </a:lnTo>
                  <a:lnTo>
                    <a:pt x="357" y="98"/>
                  </a:lnTo>
                  <a:lnTo>
                    <a:pt x="331" y="98"/>
                  </a:lnTo>
                  <a:lnTo>
                    <a:pt x="331" y="98"/>
                  </a:lnTo>
                  <a:lnTo>
                    <a:pt x="307" y="102"/>
                  </a:lnTo>
                  <a:lnTo>
                    <a:pt x="302" y="100"/>
                  </a:lnTo>
                  <a:lnTo>
                    <a:pt x="296" y="91"/>
                  </a:lnTo>
                  <a:lnTo>
                    <a:pt x="307" y="83"/>
                  </a:lnTo>
                  <a:lnTo>
                    <a:pt x="318" y="72"/>
                  </a:lnTo>
                  <a:lnTo>
                    <a:pt x="341" y="52"/>
                  </a:lnTo>
                  <a:lnTo>
                    <a:pt x="359" y="50"/>
                  </a:lnTo>
                  <a:lnTo>
                    <a:pt x="376" y="37"/>
                  </a:lnTo>
                  <a:lnTo>
                    <a:pt x="393" y="24"/>
                  </a:lnTo>
                  <a:lnTo>
                    <a:pt x="355" y="15"/>
                  </a:lnTo>
                  <a:lnTo>
                    <a:pt x="339" y="13"/>
                  </a:lnTo>
                  <a:lnTo>
                    <a:pt x="320" y="11"/>
                  </a:lnTo>
                  <a:lnTo>
                    <a:pt x="298" y="0"/>
                  </a:lnTo>
                  <a:lnTo>
                    <a:pt x="278" y="22"/>
                  </a:lnTo>
                  <a:lnTo>
                    <a:pt x="279" y="33"/>
                  </a:lnTo>
                  <a:lnTo>
                    <a:pt x="267" y="37"/>
                  </a:lnTo>
                  <a:lnTo>
                    <a:pt x="249" y="48"/>
                  </a:lnTo>
                  <a:lnTo>
                    <a:pt x="232" y="54"/>
                  </a:lnTo>
                  <a:lnTo>
                    <a:pt x="232" y="70"/>
                  </a:lnTo>
                  <a:lnTo>
                    <a:pt x="230" y="83"/>
                  </a:lnTo>
                  <a:lnTo>
                    <a:pt x="215" y="104"/>
                  </a:lnTo>
                  <a:lnTo>
                    <a:pt x="191" y="130"/>
                  </a:lnTo>
                  <a:lnTo>
                    <a:pt x="182" y="143"/>
                  </a:lnTo>
                  <a:lnTo>
                    <a:pt x="187" y="152"/>
                  </a:lnTo>
                  <a:lnTo>
                    <a:pt x="212" y="150"/>
                  </a:lnTo>
                  <a:lnTo>
                    <a:pt x="213" y="155"/>
                  </a:lnTo>
                  <a:lnTo>
                    <a:pt x="213" y="165"/>
                  </a:lnTo>
                  <a:lnTo>
                    <a:pt x="180" y="207"/>
                  </a:lnTo>
                  <a:lnTo>
                    <a:pt x="169" y="230"/>
                  </a:lnTo>
                  <a:lnTo>
                    <a:pt x="161" y="250"/>
                  </a:lnTo>
                  <a:lnTo>
                    <a:pt x="169" y="259"/>
                  </a:lnTo>
                  <a:lnTo>
                    <a:pt x="184" y="241"/>
                  </a:lnTo>
                  <a:lnTo>
                    <a:pt x="199" y="220"/>
                  </a:lnTo>
                  <a:lnTo>
                    <a:pt x="210" y="226"/>
                  </a:lnTo>
                  <a:lnTo>
                    <a:pt x="212" y="257"/>
                  </a:lnTo>
                  <a:lnTo>
                    <a:pt x="213" y="278"/>
                  </a:lnTo>
                  <a:lnTo>
                    <a:pt x="193" y="289"/>
                  </a:lnTo>
                  <a:lnTo>
                    <a:pt x="180" y="302"/>
                  </a:lnTo>
                  <a:lnTo>
                    <a:pt x="176" y="313"/>
                  </a:lnTo>
                  <a:lnTo>
                    <a:pt x="202" y="335"/>
                  </a:lnTo>
                  <a:lnTo>
                    <a:pt x="225" y="331"/>
                  </a:lnTo>
                  <a:lnTo>
                    <a:pt x="230" y="344"/>
                  </a:lnTo>
                  <a:lnTo>
                    <a:pt x="254" y="329"/>
                  </a:lnTo>
                  <a:lnTo>
                    <a:pt x="252" y="341"/>
                  </a:lnTo>
                  <a:lnTo>
                    <a:pt x="232" y="365"/>
                  </a:lnTo>
                  <a:lnTo>
                    <a:pt x="241" y="391"/>
                  </a:lnTo>
                  <a:lnTo>
                    <a:pt x="243" y="405"/>
                  </a:lnTo>
                  <a:lnTo>
                    <a:pt x="264" y="407"/>
                  </a:lnTo>
                  <a:lnTo>
                    <a:pt x="265" y="420"/>
                  </a:lnTo>
                  <a:lnTo>
                    <a:pt x="241" y="449"/>
                  </a:lnTo>
                  <a:lnTo>
                    <a:pt x="232" y="445"/>
                  </a:lnTo>
                  <a:lnTo>
                    <a:pt x="223" y="454"/>
                  </a:lnTo>
                  <a:lnTo>
                    <a:pt x="221" y="469"/>
                  </a:lnTo>
                  <a:lnTo>
                    <a:pt x="197" y="456"/>
                  </a:lnTo>
                  <a:lnTo>
                    <a:pt x="135" y="478"/>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8" name="Freeform 456"/>
            <p:cNvSpPr>
              <a:spLocks/>
            </p:cNvSpPr>
            <p:nvPr/>
          </p:nvSpPr>
          <p:spPr bwMode="auto">
            <a:xfrm>
              <a:off x="2695" y="2047"/>
              <a:ext cx="225" cy="215"/>
            </a:xfrm>
            <a:custGeom>
              <a:avLst/>
              <a:gdLst>
                <a:gd name="T0" fmla="*/ 89 w 214"/>
                <a:gd name="T1" fmla="*/ 6 h 227"/>
                <a:gd name="T2" fmla="*/ 67 w 214"/>
                <a:gd name="T3" fmla="*/ 33 h 227"/>
                <a:gd name="T4" fmla="*/ 67 w 214"/>
                <a:gd name="T5" fmla="*/ 41 h 227"/>
                <a:gd name="T6" fmla="*/ 54 w 214"/>
                <a:gd name="T7" fmla="*/ 54 h 227"/>
                <a:gd name="T8" fmla="*/ 56 w 214"/>
                <a:gd name="T9" fmla="*/ 57 h 227"/>
                <a:gd name="T10" fmla="*/ 52 w 214"/>
                <a:gd name="T11" fmla="*/ 66 h 227"/>
                <a:gd name="T12" fmla="*/ 39 w 214"/>
                <a:gd name="T13" fmla="*/ 79 h 227"/>
                <a:gd name="T14" fmla="*/ 26 w 214"/>
                <a:gd name="T15" fmla="*/ 94 h 227"/>
                <a:gd name="T16" fmla="*/ 21 w 214"/>
                <a:gd name="T17" fmla="*/ 102 h 227"/>
                <a:gd name="T18" fmla="*/ 26 w 214"/>
                <a:gd name="T19" fmla="*/ 109 h 227"/>
                <a:gd name="T20" fmla="*/ 22 w 214"/>
                <a:gd name="T21" fmla="*/ 120 h 227"/>
                <a:gd name="T22" fmla="*/ 15 w 214"/>
                <a:gd name="T23" fmla="*/ 129 h 227"/>
                <a:gd name="T24" fmla="*/ 9 w 214"/>
                <a:gd name="T25" fmla="*/ 133 h 227"/>
                <a:gd name="T26" fmla="*/ 0 w 214"/>
                <a:gd name="T27" fmla="*/ 144 h 227"/>
                <a:gd name="T28" fmla="*/ 1 w 214"/>
                <a:gd name="T29" fmla="*/ 155 h 227"/>
                <a:gd name="T30" fmla="*/ 11 w 214"/>
                <a:gd name="T31" fmla="*/ 161 h 227"/>
                <a:gd name="T32" fmla="*/ 35 w 214"/>
                <a:gd name="T33" fmla="*/ 161 h 227"/>
                <a:gd name="T34" fmla="*/ 49 w 214"/>
                <a:gd name="T35" fmla="*/ 153 h 227"/>
                <a:gd name="T36" fmla="*/ 63 w 214"/>
                <a:gd name="T37" fmla="*/ 151 h 227"/>
                <a:gd name="T38" fmla="*/ 74 w 214"/>
                <a:gd name="T39" fmla="*/ 161 h 227"/>
                <a:gd name="T40" fmla="*/ 85 w 214"/>
                <a:gd name="T41" fmla="*/ 166 h 227"/>
                <a:gd name="T42" fmla="*/ 100 w 214"/>
                <a:gd name="T43" fmla="*/ 168 h 227"/>
                <a:gd name="T44" fmla="*/ 96 w 214"/>
                <a:gd name="T45" fmla="*/ 185 h 227"/>
                <a:gd name="T46" fmla="*/ 101 w 214"/>
                <a:gd name="T47" fmla="*/ 227 h 227"/>
                <a:gd name="T48" fmla="*/ 114 w 214"/>
                <a:gd name="T49" fmla="*/ 226 h 227"/>
                <a:gd name="T50" fmla="*/ 122 w 214"/>
                <a:gd name="T51" fmla="*/ 225 h 227"/>
                <a:gd name="T52" fmla="*/ 125 w 214"/>
                <a:gd name="T53" fmla="*/ 213 h 227"/>
                <a:gd name="T54" fmla="*/ 127 w 214"/>
                <a:gd name="T55" fmla="*/ 188 h 227"/>
                <a:gd name="T56" fmla="*/ 137 w 214"/>
                <a:gd name="T57" fmla="*/ 175 h 227"/>
                <a:gd name="T58" fmla="*/ 137 w 214"/>
                <a:gd name="T59" fmla="*/ 153 h 227"/>
                <a:gd name="T60" fmla="*/ 145 w 214"/>
                <a:gd name="T61" fmla="*/ 140 h 227"/>
                <a:gd name="T62" fmla="*/ 161 w 214"/>
                <a:gd name="T63" fmla="*/ 133 h 227"/>
                <a:gd name="T64" fmla="*/ 192 w 214"/>
                <a:gd name="T65" fmla="*/ 98 h 227"/>
                <a:gd name="T66" fmla="*/ 196 w 214"/>
                <a:gd name="T67" fmla="*/ 83 h 227"/>
                <a:gd name="T68" fmla="*/ 191 w 214"/>
                <a:gd name="T69" fmla="*/ 59 h 227"/>
                <a:gd name="T70" fmla="*/ 211 w 214"/>
                <a:gd name="T71" fmla="*/ 43 h 227"/>
                <a:gd name="T72" fmla="*/ 214 w 214"/>
                <a:gd name="T73" fmla="*/ 16 h 227"/>
                <a:gd name="T74" fmla="*/ 200 w 214"/>
                <a:gd name="T75" fmla="*/ 4 h 227"/>
                <a:gd name="T76" fmla="*/ 191 w 214"/>
                <a:gd name="T77" fmla="*/ 2 h 227"/>
                <a:gd name="T78" fmla="*/ 174 w 214"/>
                <a:gd name="T79" fmla="*/ 0 h 227"/>
                <a:gd name="T80" fmla="*/ 137 w 214"/>
                <a:gd name="T81" fmla="*/ 0 h 227"/>
                <a:gd name="T82" fmla="*/ 126 w 214"/>
                <a:gd name="T83" fmla="*/ 9 h 227"/>
                <a:gd name="T84" fmla="*/ 117 w 214"/>
                <a:gd name="T85" fmla="*/ 20 h 227"/>
                <a:gd name="T86" fmla="*/ 119 w 214"/>
                <a:gd name="T87" fmla="*/ 30 h 227"/>
                <a:gd name="T88" fmla="*/ 132 w 214"/>
                <a:gd name="T89" fmla="*/ 39 h 227"/>
                <a:gd name="T90" fmla="*/ 141 w 214"/>
                <a:gd name="T91" fmla="*/ 50 h 227"/>
                <a:gd name="T92" fmla="*/ 141 w 214"/>
                <a:gd name="T93" fmla="*/ 65 h 227"/>
                <a:gd name="T94" fmla="*/ 126 w 214"/>
                <a:gd name="T95" fmla="*/ 76 h 227"/>
                <a:gd name="T96" fmla="*/ 111 w 214"/>
                <a:gd name="T97" fmla="*/ 79 h 227"/>
                <a:gd name="T98" fmla="*/ 100 w 214"/>
                <a:gd name="T99" fmla="*/ 81 h 227"/>
                <a:gd name="T100" fmla="*/ 95 w 214"/>
                <a:gd name="T101" fmla="*/ 72 h 227"/>
                <a:gd name="T102" fmla="*/ 91 w 214"/>
                <a:gd name="T103" fmla="*/ 59 h 227"/>
                <a:gd name="T104" fmla="*/ 98 w 214"/>
                <a:gd name="T105" fmla="*/ 48 h 227"/>
                <a:gd name="T106" fmla="*/ 96 w 214"/>
                <a:gd name="T107" fmla="*/ 35 h 227"/>
                <a:gd name="T108" fmla="*/ 95 w 214"/>
                <a:gd name="T109" fmla="*/ 22 h 227"/>
                <a:gd name="T110" fmla="*/ 89 w 214"/>
                <a:gd name="T111" fmla="*/ 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 h="227">
                  <a:moveTo>
                    <a:pt x="89" y="6"/>
                  </a:moveTo>
                  <a:lnTo>
                    <a:pt x="67" y="33"/>
                  </a:lnTo>
                  <a:lnTo>
                    <a:pt x="67" y="41"/>
                  </a:lnTo>
                  <a:lnTo>
                    <a:pt x="54" y="54"/>
                  </a:lnTo>
                  <a:lnTo>
                    <a:pt x="56" y="57"/>
                  </a:lnTo>
                  <a:lnTo>
                    <a:pt x="52" y="66"/>
                  </a:lnTo>
                  <a:lnTo>
                    <a:pt x="39" y="79"/>
                  </a:lnTo>
                  <a:lnTo>
                    <a:pt x="26" y="94"/>
                  </a:lnTo>
                  <a:lnTo>
                    <a:pt x="21" y="102"/>
                  </a:lnTo>
                  <a:lnTo>
                    <a:pt x="26" y="109"/>
                  </a:lnTo>
                  <a:lnTo>
                    <a:pt x="22" y="120"/>
                  </a:lnTo>
                  <a:lnTo>
                    <a:pt x="15" y="129"/>
                  </a:lnTo>
                  <a:lnTo>
                    <a:pt x="9" y="133"/>
                  </a:lnTo>
                  <a:lnTo>
                    <a:pt x="0" y="144"/>
                  </a:lnTo>
                  <a:lnTo>
                    <a:pt x="1" y="155"/>
                  </a:lnTo>
                  <a:lnTo>
                    <a:pt x="11" y="161"/>
                  </a:lnTo>
                  <a:lnTo>
                    <a:pt x="35" y="161"/>
                  </a:lnTo>
                  <a:lnTo>
                    <a:pt x="49" y="153"/>
                  </a:lnTo>
                  <a:lnTo>
                    <a:pt x="63" y="151"/>
                  </a:lnTo>
                  <a:lnTo>
                    <a:pt x="74" y="161"/>
                  </a:lnTo>
                  <a:lnTo>
                    <a:pt x="85" y="166"/>
                  </a:lnTo>
                  <a:lnTo>
                    <a:pt x="100" y="168"/>
                  </a:lnTo>
                  <a:lnTo>
                    <a:pt x="96" y="185"/>
                  </a:lnTo>
                  <a:lnTo>
                    <a:pt x="101" y="227"/>
                  </a:lnTo>
                  <a:lnTo>
                    <a:pt x="114" y="226"/>
                  </a:lnTo>
                  <a:lnTo>
                    <a:pt x="122" y="225"/>
                  </a:lnTo>
                  <a:lnTo>
                    <a:pt x="125" y="213"/>
                  </a:lnTo>
                  <a:lnTo>
                    <a:pt x="127" y="188"/>
                  </a:lnTo>
                  <a:lnTo>
                    <a:pt x="137" y="175"/>
                  </a:lnTo>
                  <a:lnTo>
                    <a:pt x="137" y="153"/>
                  </a:lnTo>
                  <a:lnTo>
                    <a:pt x="145" y="140"/>
                  </a:lnTo>
                  <a:lnTo>
                    <a:pt x="161" y="133"/>
                  </a:lnTo>
                  <a:lnTo>
                    <a:pt x="192" y="98"/>
                  </a:lnTo>
                  <a:lnTo>
                    <a:pt x="196" y="83"/>
                  </a:lnTo>
                  <a:lnTo>
                    <a:pt x="191" y="59"/>
                  </a:lnTo>
                  <a:lnTo>
                    <a:pt x="211" y="43"/>
                  </a:lnTo>
                  <a:lnTo>
                    <a:pt x="214" y="16"/>
                  </a:lnTo>
                  <a:lnTo>
                    <a:pt x="200" y="4"/>
                  </a:lnTo>
                  <a:lnTo>
                    <a:pt x="191" y="2"/>
                  </a:lnTo>
                  <a:lnTo>
                    <a:pt x="174" y="0"/>
                  </a:lnTo>
                  <a:lnTo>
                    <a:pt x="137" y="0"/>
                  </a:lnTo>
                  <a:lnTo>
                    <a:pt x="126" y="9"/>
                  </a:lnTo>
                  <a:lnTo>
                    <a:pt x="117" y="20"/>
                  </a:lnTo>
                  <a:lnTo>
                    <a:pt x="119" y="30"/>
                  </a:lnTo>
                  <a:lnTo>
                    <a:pt x="132" y="39"/>
                  </a:lnTo>
                  <a:lnTo>
                    <a:pt x="141" y="50"/>
                  </a:lnTo>
                  <a:lnTo>
                    <a:pt x="141" y="65"/>
                  </a:lnTo>
                  <a:lnTo>
                    <a:pt x="126" y="76"/>
                  </a:lnTo>
                  <a:lnTo>
                    <a:pt x="111" y="79"/>
                  </a:lnTo>
                  <a:lnTo>
                    <a:pt x="100" y="81"/>
                  </a:lnTo>
                  <a:lnTo>
                    <a:pt x="95" y="72"/>
                  </a:lnTo>
                  <a:lnTo>
                    <a:pt x="91" y="59"/>
                  </a:lnTo>
                  <a:lnTo>
                    <a:pt x="98" y="48"/>
                  </a:lnTo>
                  <a:lnTo>
                    <a:pt x="96" y="35"/>
                  </a:lnTo>
                  <a:lnTo>
                    <a:pt x="95" y="22"/>
                  </a:lnTo>
                  <a:lnTo>
                    <a:pt x="89" y="6"/>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49" name="Freeform 457"/>
            <p:cNvSpPr>
              <a:spLocks/>
            </p:cNvSpPr>
            <p:nvPr/>
          </p:nvSpPr>
          <p:spPr bwMode="auto">
            <a:xfrm>
              <a:off x="2767" y="2312"/>
              <a:ext cx="62" cy="68"/>
            </a:xfrm>
            <a:custGeom>
              <a:avLst/>
              <a:gdLst>
                <a:gd name="T0" fmla="*/ 41 w 57"/>
                <a:gd name="T1" fmla="*/ 71 h 71"/>
                <a:gd name="T2" fmla="*/ 44 w 57"/>
                <a:gd name="T3" fmla="*/ 48 h 71"/>
                <a:gd name="T4" fmla="*/ 57 w 57"/>
                <a:gd name="T5" fmla="*/ 39 h 71"/>
                <a:gd name="T6" fmla="*/ 57 w 57"/>
                <a:gd name="T7" fmla="*/ 28 h 71"/>
                <a:gd name="T8" fmla="*/ 50 w 57"/>
                <a:gd name="T9" fmla="*/ 20 h 71"/>
                <a:gd name="T10" fmla="*/ 43 w 57"/>
                <a:gd name="T11" fmla="*/ 9 h 71"/>
                <a:gd name="T12" fmla="*/ 39 w 57"/>
                <a:gd name="T13" fmla="*/ 0 h 71"/>
                <a:gd name="T14" fmla="*/ 26 w 57"/>
                <a:gd name="T15" fmla="*/ 0 h 71"/>
                <a:gd name="T16" fmla="*/ 17 w 57"/>
                <a:gd name="T17" fmla="*/ 4 h 71"/>
                <a:gd name="T18" fmla="*/ 17 w 57"/>
                <a:gd name="T19" fmla="*/ 19 h 71"/>
                <a:gd name="T20" fmla="*/ 9 w 57"/>
                <a:gd name="T21" fmla="*/ 32 h 71"/>
                <a:gd name="T22" fmla="*/ 0 w 57"/>
                <a:gd name="T23" fmla="*/ 36 h 71"/>
                <a:gd name="T24" fmla="*/ 4 w 57"/>
                <a:gd name="T25" fmla="*/ 47 h 71"/>
                <a:gd name="T26" fmla="*/ 16 w 57"/>
                <a:gd name="T27" fmla="*/ 50 h 71"/>
                <a:gd name="T28" fmla="*/ 28 w 57"/>
                <a:gd name="T29" fmla="*/ 53 h 71"/>
                <a:gd name="T30" fmla="*/ 35 w 57"/>
                <a:gd name="T31" fmla="*/ 60 h 71"/>
                <a:gd name="T32" fmla="*/ 41 w 57"/>
                <a:gd name="T3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71">
                  <a:moveTo>
                    <a:pt x="41" y="71"/>
                  </a:moveTo>
                  <a:lnTo>
                    <a:pt x="44" y="48"/>
                  </a:lnTo>
                  <a:lnTo>
                    <a:pt x="57" y="39"/>
                  </a:lnTo>
                  <a:lnTo>
                    <a:pt x="57" y="28"/>
                  </a:lnTo>
                  <a:lnTo>
                    <a:pt x="50" y="20"/>
                  </a:lnTo>
                  <a:lnTo>
                    <a:pt x="43" y="9"/>
                  </a:lnTo>
                  <a:lnTo>
                    <a:pt x="39" y="0"/>
                  </a:lnTo>
                  <a:lnTo>
                    <a:pt x="26" y="0"/>
                  </a:lnTo>
                  <a:lnTo>
                    <a:pt x="17" y="4"/>
                  </a:lnTo>
                  <a:lnTo>
                    <a:pt x="17" y="19"/>
                  </a:lnTo>
                  <a:lnTo>
                    <a:pt x="9" y="32"/>
                  </a:lnTo>
                  <a:lnTo>
                    <a:pt x="0" y="36"/>
                  </a:lnTo>
                  <a:lnTo>
                    <a:pt x="4" y="47"/>
                  </a:lnTo>
                  <a:lnTo>
                    <a:pt x="16" y="50"/>
                  </a:lnTo>
                  <a:lnTo>
                    <a:pt x="28" y="53"/>
                  </a:lnTo>
                  <a:lnTo>
                    <a:pt x="35" y="60"/>
                  </a:lnTo>
                  <a:lnTo>
                    <a:pt x="41" y="71"/>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50" name="Freeform 458"/>
            <p:cNvSpPr>
              <a:spLocks/>
            </p:cNvSpPr>
            <p:nvPr/>
          </p:nvSpPr>
          <p:spPr bwMode="auto">
            <a:xfrm>
              <a:off x="3012" y="1779"/>
              <a:ext cx="152" cy="169"/>
            </a:xfrm>
            <a:custGeom>
              <a:avLst/>
              <a:gdLst>
                <a:gd name="T0" fmla="*/ 12 w 146"/>
                <a:gd name="T1" fmla="*/ 153 h 179"/>
                <a:gd name="T2" fmla="*/ 20 w 146"/>
                <a:gd name="T3" fmla="*/ 166 h 179"/>
                <a:gd name="T4" fmla="*/ 36 w 146"/>
                <a:gd name="T5" fmla="*/ 166 h 179"/>
                <a:gd name="T6" fmla="*/ 51 w 146"/>
                <a:gd name="T7" fmla="*/ 170 h 179"/>
                <a:gd name="T8" fmla="*/ 62 w 146"/>
                <a:gd name="T9" fmla="*/ 179 h 179"/>
                <a:gd name="T10" fmla="*/ 74 w 146"/>
                <a:gd name="T11" fmla="*/ 179 h 179"/>
                <a:gd name="T12" fmla="*/ 66 w 146"/>
                <a:gd name="T13" fmla="*/ 168 h 179"/>
                <a:gd name="T14" fmla="*/ 72 w 146"/>
                <a:gd name="T15" fmla="*/ 153 h 179"/>
                <a:gd name="T16" fmla="*/ 79 w 146"/>
                <a:gd name="T17" fmla="*/ 136 h 179"/>
                <a:gd name="T18" fmla="*/ 83 w 146"/>
                <a:gd name="T19" fmla="*/ 117 h 179"/>
                <a:gd name="T20" fmla="*/ 100 w 146"/>
                <a:gd name="T21" fmla="*/ 106 h 179"/>
                <a:gd name="T22" fmla="*/ 114 w 146"/>
                <a:gd name="T23" fmla="*/ 98 h 179"/>
                <a:gd name="T24" fmla="*/ 113 w 146"/>
                <a:gd name="T25" fmla="*/ 87 h 179"/>
                <a:gd name="T26" fmla="*/ 113 w 146"/>
                <a:gd name="T27" fmla="*/ 69 h 179"/>
                <a:gd name="T28" fmla="*/ 116 w 146"/>
                <a:gd name="T29" fmla="*/ 61 h 179"/>
                <a:gd name="T30" fmla="*/ 129 w 146"/>
                <a:gd name="T31" fmla="*/ 59 h 179"/>
                <a:gd name="T32" fmla="*/ 135 w 146"/>
                <a:gd name="T33" fmla="*/ 63 h 179"/>
                <a:gd name="T34" fmla="*/ 146 w 146"/>
                <a:gd name="T35" fmla="*/ 50 h 179"/>
                <a:gd name="T36" fmla="*/ 142 w 146"/>
                <a:gd name="T37" fmla="*/ 39 h 179"/>
                <a:gd name="T38" fmla="*/ 135 w 146"/>
                <a:gd name="T39" fmla="*/ 37 h 179"/>
                <a:gd name="T40" fmla="*/ 122 w 146"/>
                <a:gd name="T41" fmla="*/ 37 h 179"/>
                <a:gd name="T42" fmla="*/ 116 w 146"/>
                <a:gd name="T43" fmla="*/ 37 h 179"/>
                <a:gd name="T44" fmla="*/ 113 w 146"/>
                <a:gd name="T45" fmla="*/ 20 h 179"/>
                <a:gd name="T46" fmla="*/ 114 w 146"/>
                <a:gd name="T47" fmla="*/ 4 h 179"/>
                <a:gd name="T48" fmla="*/ 105 w 146"/>
                <a:gd name="T49" fmla="*/ 0 h 179"/>
                <a:gd name="T50" fmla="*/ 101 w 146"/>
                <a:gd name="T51" fmla="*/ 6 h 179"/>
                <a:gd name="T52" fmla="*/ 79 w 146"/>
                <a:gd name="T53" fmla="*/ 2 h 179"/>
                <a:gd name="T54" fmla="*/ 74 w 146"/>
                <a:gd name="T55" fmla="*/ 7 h 179"/>
                <a:gd name="T56" fmla="*/ 79 w 146"/>
                <a:gd name="T57" fmla="*/ 22 h 179"/>
                <a:gd name="T58" fmla="*/ 77 w 146"/>
                <a:gd name="T59" fmla="*/ 37 h 179"/>
                <a:gd name="T60" fmla="*/ 68 w 146"/>
                <a:gd name="T61" fmla="*/ 26 h 179"/>
                <a:gd name="T62" fmla="*/ 64 w 146"/>
                <a:gd name="T63" fmla="*/ 17 h 179"/>
                <a:gd name="T64" fmla="*/ 51 w 146"/>
                <a:gd name="T65" fmla="*/ 19 h 179"/>
                <a:gd name="T66" fmla="*/ 46 w 146"/>
                <a:gd name="T67" fmla="*/ 28 h 179"/>
                <a:gd name="T68" fmla="*/ 42 w 146"/>
                <a:gd name="T69" fmla="*/ 32 h 179"/>
                <a:gd name="T70" fmla="*/ 42 w 146"/>
                <a:gd name="T71" fmla="*/ 45 h 179"/>
                <a:gd name="T72" fmla="*/ 40 w 146"/>
                <a:gd name="T73" fmla="*/ 43 h 179"/>
                <a:gd name="T74" fmla="*/ 29 w 146"/>
                <a:gd name="T75" fmla="*/ 26 h 179"/>
                <a:gd name="T76" fmla="*/ 23 w 146"/>
                <a:gd name="T77" fmla="*/ 20 h 179"/>
                <a:gd name="T78" fmla="*/ 16 w 146"/>
                <a:gd name="T79" fmla="*/ 24 h 179"/>
                <a:gd name="T80" fmla="*/ 18 w 146"/>
                <a:gd name="T81" fmla="*/ 33 h 179"/>
                <a:gd name="T82" fmla="*/ 18 w 146"/>
                <a:gd name="T83" fmla="*/ 39 h 179"/>
                <a:gd name="T84" fmla="*/ 7 w 146"/>
                <a:gd name="T85" fmla="*/ 43 h 179"/>
                <a:gd name="T86" fmla="*/ 7 w 146"/>
                <a:gd name="T87" fmla="*/ 56 h 179"/>
                <a:gd name="T88" fmla="*/ 16 w 146"/>
                <a:gd name="T89" fmla="*/ 69 h 179"/>
                <a:gd name="T90" fmla="*/ 16 w 146"/>
                <a:gd name="T91" fmla="*/ 78 h 179"/>
                <a:gd name="T92" fmla="*/ 12 w 146"/>
                <a:gd name="T93" fmla="*/ 87 h 179"/>
                <a:gd name="T94" fmla="*/ 0 w 146"/>
                <a:gd name="T95" fmla="*/ 96 h 179"/>
                <a:gd name="T96" fmla="*/ 2 w 146"/>
                <a:gd name="T97" fmla="*/ 106 h 179"/>
                <a:gd name="T98" fmla="*/ 14 w 146"/>
                <a:gd name="T99" fmla="*/ 115 h 179"/>
                <a:gd name="T100" fmla="*/ 18 w 146"/>
                <a:gd name="T101" fmla="*/ 124 h 179"/>
                <a:gd name="T102" fmla="*/ 16 w 146"/>
                <a:gd name="T103" fmla="*/ 142 h 179"/>
                <a:gd name="T104" fmla="*/ 12 w 146"/>
                <a:gd name="T105" fmla="*/ 15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179">
                  <a:moveTo>
                    <a:pt x="12" y="153"/>
                  </a:moveTo>
                  <a:lnTo>
                    <a:pt x="20" y="166"/>
                  </a:lnTo>
                  <a:lnTo>
                    <a:pt x="36" y="166"/>
                  </a:lnTo>
                  <a:lnTo>
                    <a:pt x="51" y="170"/>
                  </a:lnTo>
                  <a:lnTo>
                    <a:pt x="62" y="179"/>
                  </a:lnTo>
                  <a:lnTo>
                    <a:pt x="74" y="179"/>
                  </a:lnTo>
                  <a:lnTo>
                    <a:pt x="66" y="168"/>
                  </a:lnTo>
                  <a:lnTo>
                    <a:pt x="72" y="153"/>
                  </a:lnTo>
                  <a:lnTo>
                    <a:pt x="79" y="136"/>
                  </a:lnTo>
                  <a:lnTo>
                    <a:pt x="83" y="117"/>
                  </a:lnTo>
                  <a:lnTo>
                    <a:pt x="100" y="106"/>
                  </a:lnTo>
                  <a:lnTo>
                    <a:pt x="114" y="98"/>
                  </a:lnTo>
                  <a:lnTo>
                    <a:pt x="113" y="87"/>
                  </a:lnTo>
                  <a:lnTo>
                    <a:pt x="113" y="69"/>
                  </a:lnTo>
                  <a:lnTo>
                    <a:pt x="116" y="61"/>
                  </a:lnTo>
                  <a:lnTo>
                    <a:pt x="129" y="59"/>
                  </a:lnTo>
                  <a:lnTo>
                    <a:pt x="135" y="63"/>
                  </a:lnTo>
                  <a:lnTo>
                    <a:pt x="146" y="50"/>
                  </a:lnTo>
                  <a:lnTo>
                    <a:pt x="142" y="39"/>
                  </a:lnTo>
                  <a:lnTo>
                    <a:pt x="135" y="37"/>
                  </a:lnTo>
                  <a:lnTo>
                    <a:pt x="122" y="37"/>
                  </a:lnTo>
                  <a:lnTo>
                    <a:pt x="116" y="37"/>
                  </a:lnTo>
                  <a:lnTo>
                    <a:pt x="113" y="20"/>
                  </a:lnTo>
                  <a:lnTo>
                    <a:pt x="114" y="4"/>
                  </a:lnTo>
                  <a:lnTo>
                    <a:pt x="105" y="0"/>
                  </a:lnTo>
                  <a:lnTo>
                    <a:pt x="101" y="6"/>
                  </a:lnTo>
                  <a:lnTo>
                    <a:pt x="79" y="2"/>
                  </a:lnTo>
                  <a:lnTo>
                    <a:pt x="74" y="7"/>
                  </a:lnTo>
                  <a:lnTo>
                    <a:pt x="79" y="22"/>
                  </a:lnTo>
                  <a:lnTo>
                    <a:pt x="77" y="37"/>
                  </a:lnTo>
                  <a:lnTo>
                    <a:pt x="68" y="26"/>
                  </a:lnTo>
                  <a:lnTo>
                    <a:pt x="64" y="17"/>
                  </a:lnTo>
                  <a:lnTo>
                    <a:pt x="51" y="19"/>
                  </a:lnTo>
                  <a:lnTo>
                    <a:pt x="46" y="28"/>
                  </a:lnTo>
                  <a:lnTo>
                    <a:pt x="42" y="32"/>
                  </a:lnTo>
                  <a:lnTo>
                    <a:pt x="42" y="45"/>
                  </a:lnTo>
                  <a:lnTo>
                    <a:pt x="40" y="43"/>
                  </a:lnTo>
                  <a:lnTo>
                    <a:pt x="29" y="26"/>
                  </a:lnTo>
                  <a:lnTo>
                    <a:pt x="23" y="20"/>
                  </a:lnTo>
                  <a:lnTo>
                    <a:pt x="16" y="24"/>
                  </a:lnTo>
                  <a:lnTo>
                    <a:pt x="18" y="33"/>
                  </a:lnTo>
                  <a:lnTo>
                    <a:pt x="18" y="39"/>
                  </a:lnTo>
                  <a:lnTo>
                    <a:pt x="7" y="43"/>
                  </a:lnTo>
                  <a:lnTo>
                    <a:pt x="7" y="56"/>
                  </a:lnTo>
                  <a:lnTo>
                    <a:pt x="16" y="69"/>
                  </a:lnTo>
                  <a:lnTo>
                    <a:pt x="16" y="78"/>
                  </a:lnTo>
                  <a:lnTo>
                    <a:pt x="12" y="87"/>
                  </a:lnTo>
                  <a:lnTo>
                    <a:pt x="0" y="96"/>
                  </a:lnTo>
                  <a:lnTo>
                    <a:pt x="2" y="106"/>
                  </a:lnTo>
                  <a:lnTo>
                    <a:pt x="14" y="115"/>
                  </a:lnTo>
                  <a:lnTo>
                    <a:pt x="18" y="124"/>
                  </a:lnTo>
                  <a:lnTo>
                    <a:pt x="16" y="142"/>
                  </a:lnTo>
                  <a:lnTo>
                    <a:pt x="12" y="153"/>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51" name="Freeform 459"/>
            <p:cNvSpPr>
              <a:spLocks/>
            </p:cNvSpPr>
            <p:nvPr/>
          </p:nvSpPr>
          <p:spPr bwMode="auto">
            <a:xfrm>
              <a:off x="3043" y="1729"/>
              <a:ext cx="117" cy="62"/>
            </a:xfrm>
            <a:custGeom>
              <a:avLst/>
              <a:gdLst>
                <a:gd name="T0" fmla="*/ 0 w 109"/>
                <a:gd name="T1" fmla="*/ 66 h 68"/>
                <a:gd name="T2" fmla="*/ 9 w 109"/>
                <a:gd name="T3" fmla="*/ 68 h 68"/>
                <a:gd name="T4" fmla="*/ 20 w 109"/>
                <a:gd name="T5" fmla="*/ 60 h 68"/>
                <a:gd name="T6" fmla="*/ 31 w 109"/>
                <a:gd name="T7" fmla="*/ 47 h 68"/>
                <a:gd name="T8" fmla="*/ 61 w 109"/>
                <a:gd name="T9" fmla="*/ 47 h 68"/>
                <a:gd name="T10" fmla="*/ 87 w 109"/>
                <a:gd name="T11" fmla="*/ 42 h 68"/>
                <a:gd name="T12" fmla="*/ 102 w 109"/>
                <a:gd name="T13" fmla="*/ 30 h 68"/>
                <a:gd name="T14" fmla="*/ 107 w 109"/>
                <a:gd name="T15" fmla="*/ 15 h 68"/>
                <a:gd name="T16" fmla="*/ 109 w 109"/>
                <a:gd name="T17" fmla="*/ 0 h 68"/>
                <a:gd name="T18" fmla="*/ 89 w 109"/>
                <a:gd name="T19" fmla="*/ 9 h 68"/>
                <a:gd name="T20" fmla="*/ 52 w 109"/>
                <a:gd name="T21" fmla="*/ 26 h 68"/>
                <a:gd name="T22" fmla="*/ 42 w 109"/>
                <a:gd name="T23" fmla="*/ 28 h 68"/>
                <a:gd name="T24" fmla="*/ 31 w 109"/>
                <a:gd name="T25" fmla="*/ 36 h 68"/>
                <a:gd name="T26" fmla="*/ 9 w 109"/>
                <a:gd name="T27" fmla="*/ 40 h 68"/>
                <a:gd name="T28" fmla="*/ 0 w 109"/>
                <a:gd name="T29" fmla="*/ 45 h 68"/>
                <a:gd name="T30" fmla="*/ 0 w 109"/>
                <a:gd name="T31"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 h="68">
                  <a:moveTo>
                    <a:pt x="0" y="66"/>
                  </a:moveTo>
                  <a:lnTo>
                    <a:pt x="9" y="68"/>
                  </a:lnTo>
                  <a:lnTo>
                    <a:pt x="20" y="60"/>
                  </a:lnTo>
                  <a:lnTo>
                    <a:pt x="31" y="47"/>
                  </a:lnTo>
                  <a:lnTo>
                    <a:pt x="61" y="47"/>
                  </a:lnTo>
                  <a:lnTo>
                    <a:pt x="87" y="42"/>
                  </a:lnTo>
                  <a:lnTo>
                    <a:pt x="102" y="30"/>
                  </a:lnTo>
                  <a:lnTo>
                    <a:pt x="107" y="15"/>
                  </a:lnTo>
                  <a:lnTo>
                    <a:pt x="109" y="0"/>
                  </a:lnTo>
                  <a:lnTo>
                    <a:pt x="89" y="9"/>
                  </a:lnTo>
                  <a:lnTo>
                    <a:pt x="52" y="26"/>
                  </a:lnTo>
                  <a:lnTo>
                    <a:pt x="42" y="28"/>
                  </a:lnTo>
                  <a:lnTo>
                    <a:pt x="31" y="36"/>
                  </a:lnTo>
                  <a:lnTo>
                    <a:pt x="9" y="40"/>
                  </a:lnTo>
                  <a:lnTo>
                    <a:pt x="0" y="45"/>
                  </a:lnTo>
                  <a:lnTo>
                    <a:pt x="0" y="66"/>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52" name="Freeform 460"/>
            <p:cNvSpPr>
              <a:spLocks/>
            </p:cNvSpPr>
            <p:nvPr/>
          </p:nvSpPr>
          <p:spPr bwMode="auto">
            <a:xfrm>
              <a:off x="3103" y="1887"/>
              <a:ext cx="48" cy="52"/>
            </a:xfrm>
            <a:custGeom>
              <a:avLst/>
              <a:gdLst>
                <a:gd name="T0" fmla="*/ 15 w 47"/>
                <a:gd name="T1" fmla="*/ 0 h 57"/>
                <a:gd name="T2" fmla="*/ 45 w 47"/>
                <a:gd name="T3" fmla="*/ 20 h 57"/>
                <a:gd name="T4" fmla="*/ 47 w 47"/>
                <a:gd name="T5" fmla="*/ 29 h 57"/>
                <a:gd name="T6" fmla="*/ 36 w 47"/>
                <a:gd name="T7" fmla="*/ 40 h 57"/>
                <a:gd name="T8" fmla="*/ 26 w 47"/>
                <a:gd name="T9" fmla="*/ 48 h 57"/>
                <a:gd name="T10" fmla="*/ 28 w 47"/>
                <a:gd name="T11" fmla="*/ 57 h 57"/>
                <a:gd name="T12" fmla="*/ 15 w 47"/>
                <a:gd name="T13" fmla="*/ 55 h 57"/>
                <a:gd name="T14" fmla="*/ 2 w 47"/>
                <a:gd name="T15" fmla="*/ 40 h 57"/>
                <a:gd name="T16" fmla="*/ 0 w 47"/>
                <a:gd name="T17" fmla="*/ 29 h 57"/>
                <a:gd name="T18" fmla="*/ 6 w 47"/>
                <a:gd name="T19" fmla="*/ 17 h 57"/>
                <a:gd name="T20" fmla="*/ 15 w 47"/>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57">
                  <a:moveTo>
                    <a:pt x="15" y="0"/>
                  </a:moveTo>
                  <a:lnTo>
                    <a:pt x="45" y="20"/>
                  </a:lnTo>
                  <a:lnTo>
                    <a:pt x="47" y="29"/>
                  </a:lnTo>
                  <a:lnTo>
                    <a:pt x="36" y="40"/>
                  </a:lnTo>
                  <a:lnTo>
                    <a:pt x="26" y="48"/>
                  </a:lnTo>
                  <a:lnTo>
                    <a:pt x="28" y="57"/>
                  </a:lnTo>
                  <a:lnTo>
                    <a:pt x="15" y="55"/>
                  </a:lnTo>
                  <a:lnTo>
                    <a:pt x="2" y="40"/>
                  </a:lnTo>
                  <a:lnTo>
                    <a:pt x="0" y="29"/>
                  </a:lnTo>
                  <a:lnTo>
                    <a:pt x="6" y="17"/>
                  </a:lnTo>
                  <a:lnTo>
                    <a:pt x="1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53" name="Freeform 461"/>
            <p:cNvSpPr>
              <a:spLocks/>
            </p:cNvSpPr>
            <p:nvPr/>
          </p:nvSpPr>
          <p:spPr bwMode="auto">
            <a:xfrm>
              <a:off x="3164" y="1872"/>
              <a:ext cx="71" cy="76"/>
            </a:xfrm>
            <a:custGeom>
              <a:avLst/>
              <a:gdLst>
                <a:gd name="T0" fmla="*/ 65 w 69"/>
                <a:gd name="T1" fmla="*/ 0 h 83"/>
                <a:gd name="T2" fmla="*/ 69 w 69"/>
                <a:gd name="T3" fmla="*/ 4 h 83"/>
                <a:gd name="T4" fmla="*/ 65 w 69"/>
                <a:gd name="T5" fmla="*/ 9 h 83"/>
                <a:gd name="T6" fmla="*/ 69 w 69"/>
                <a:gd name="T7" fmla="*/ 18 h 83"/>
                <a:gd name="T8" fmla="*/ 64 w 69"/>
                <a:gd name="T9" fmla="*/ 29 h 83"/>
                <a:gd name="T10" fmla="*/ 54 w 69"/>
                <a:gd name="T11" fmla="*/ 37 h 83"/>
                <a:gd name="T12" fmla="*/ 58 w 69"/>
                <a:gd name="T13" fmla="*/ 46 h 83"/>
                <a:gd name="T14" fmla="*/ 54 w 69"/>
                <a:gd name="T15" fmla="*/ 54 h 83"/>
                <a:gd name="T16" fmla="*/ 58 w 69"/>
                <a:gd name="T17" fmla="*/ 63 h 83"/>
                <a:gd name="T18" fmla="*/ 45 w 69"/>
                <a:gd name="T19" fmla="*/ 83 h 83"/>
                <a:gd name="T20" fmla="*/ 16 w 69"/>
                <a:gd name="T21" fmla="*/ 63 h 83"/>
                <a:gd name="T22" fmla="*/ 0 w 69"/>
                <a:gd name="T23" fmla="*/ 52 h 83"/>
                <a:gd name="T24" fmla="*/ 9 w 69"/>
                <a:gd name="T25" fmla="*/ 46 h 83"/>
                <a:gd name="T26" fmla="*/ 9 w 69"/>
                <a:gd name="T27" fmla="*/ 33 h 83"/>
                <a:gd name="T28" fmla="*/ 27 w 69"/>
                <a:gd name="T29" fmla="*/ 22 h 83"/>
                <a:gd name="T30" fmla="*/ 36 w 69"/>
                <a:gd name="T31" fmla="*/ 26 h 83"/>
                <a:gd name="T32" fmla="*/ 45 w 69"/>
                <a:gd name="T33" fmla="*/ 22 h 83"/>
                <a:gd name="T34" fmla="*/ 60 w 69"/>
                <a:gd name="T35" fmla="*/ 11 h 83"/>
                <a:gd name="T36" fmla="*/ 65 w 69"/>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 h="83">
                  <a:moveTo>
                    <a:pt x="65" y="0"/>
                  </a:moveTo>
                  <a:lnTo>
                    <a:pt x="69" y="4"/>
                  </a:lnTo>
                  <a:lnTo>
                    <a:pt x="65" y="9"/>
                  </a:lnTo>
                  <a:lnTo>
                    <a:pt x="69" y="18"/>
                  </a:lnTo>
                  <a:lnTo>
                    <a:pt x="64" y="29"/>
                  </a:lnTo>
                  <a:lnTo>
                    <a:pt x="54" y="37"/>
                  </a:lnTo>
                  <a:lnTo>
                    <a:pt x="58" y="46"/>
                  </a:lnTo>
                  <a:lnTo>
                    <a:pt x="54" y="54"/>
                  </a:lnTo>
                  <a:lnTo>
                    <a:pt x="58" y="63"/>
                  </a:lnTo>
                  <a:lnTo>
                    <a:pt x="45" y="83"/>
                  </a:lnTo>
                  <a:lnTo>
                    <a:pt x="16" y="63"/>
                  </a:lnTo>
                  <a:lnTo>
                    <a:pt x="0" y="52"/>
                  </a:lnTo>
                  <a:lnTo>
                    <a:pt x="9" y="46"/>
                  </a:lnTo>
                  <a:lnTo>
                    <a:pt x="9" y="33"/>
                  </a:lnTo>
                  <a:lnTo>
                    <a:pt x="27" y="22"/>
                  </a:lnTo>
                  <a:lnTo>
                    <a:pt x="36" y="26"/>
                  </a:lnTo>
                  <a:lnTo>
                    <a:pt x="45" y="22"/>
                  </a:lnTo>
                  <a:lnTo>
                    <a:pt x="60" y="11"/>
                  </a:lnTo>
                  <a:lnTo>
                    <a:pt x="6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54" name="Freeform 462"/>
            <p:cNvSpPr>
              <a:spLocks/>
            </p:cNvSpPr>
            <p:nvPr/>
          </p:nvSpPr>
          <p:spPr bwMode="auto">
            <a:xfrm>
              <a:off x="3154" y="1952"/>
              <a:ext cx="28" cy="34"/>
            </a:xfrm>
            <a:custGeom>
              <a:avLst/>
              <a:gdLst>
                <a:gd name="T0" fmla="*/ 0 w 28"/>
                <a:gd name="T1" fmla="*/ 0 h 35"/>
                <a:gd name="T2" fmla="*/ 19 w 28"/>
                <a:gd name="T3" fmla="*/ 6 h 35"/>
                <a:gd name="T4" fmla="*/ 26 w 28"/>
                <a:gd name="T5" fmla="*/ 15 h 35"/>
                <a:gd name="T6" fmla="*/ 28 w 28"/>
                <a:gd name="T7" fmla="*/ 28 h 35"/>
                <a:gd name="T8" fmla="*/ 19 w 28"/>
                <a:gd name="T9" fmla="*/ 35 h 35"/>
                <a:gd name="T10" fmla="*/ 5 w 28"/>
                <a:gd name="T11" fmla="*/ 29 h 35"/>
                <a:gd name="T12" fmla="*/ 2 w 28"/>
                <a:gd name="T13" fmla="*/ 20 h 35"/>
                <a:gd name="T14" fmla="*/ 0 w 28"/>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5">
                  <a:moveTo>
                    <a:pt x="0" y="0"/>
                  </a:moveTo>
                  <a:lnTo>
                    <a:pt x="19" y="6"/>
                  </a:lnTo>
                  <a:lnTo>
                    <a:pt x="26" y="15"/>
                  </a:lnTo>
                  <a:lnTo>
                    <a:pt x="28" y="28"/>
                  </a:lnTo>
                  <a:lnTo>
                    <a:pt x="19" y="35"/>
                  </a:lnTo>
                  <a:lnTo>
                    <a:pt x="5" y="29"/>
                  </a:lnTo>
                  <a:lnTo>
                    <a:pt x="2" y="20"/>
                  </a:lnTo>
                  <a:lnTo>
                    <a:pt x="0"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55" name="Freeform 463"/>
            <p:cNvSpPr>
              <a:spLocks/>
            </p:cNvSpPr>
            <p:nvPr/>
          </p:nvSpPr>
          <p:spPr bwMode="auto">
            <a:xfrm>
              <a:off x="3355" y="1943"/>
              <a:ext cx="18" cy="27"/>
            </a:xfrm>
            <a:custGeom>
              <a:avLst/>
              <a:gdLst>
                <a:gd name="T0" fmla="*/ 5 w 16"/>
                <a:gd name="T1" fmla="*/ 0 h 29"/>
                <a:gd name="T2" fmla="*/ 0 w 16"/>
                <a:gd name="T3" fmla="*/ 5 h 29"/>
                <a:gd name="T4" fmla="*/ 0 w 16"/>
                <a:gd name="T5" fmla="*/ 20 h 29"/>
                <a:gd name="T6" fmla="*/ 11 w 16"/>
                <a:gd name="T7" fmla="*/ 29 h 29"/>
                <a:gd name="T8" fmla="*/ 16 w 16"/>
                <a:gd name="T9" fmla="*/ 16 h 29"/>
                <a:gd name="T10" fmla="*/ 5 w 16"/>
                <a:gd name="T11" fmla="*/ 0 h 29"/>
              </a:gdLst>
              <a:ahLst/>
              <a:cxnLst>
                <a:cxn ang="0">
                  <a:pos x="T0" y="T1"/>
                </a:cxn>
                <a:cxn ang="0">
                  <a:pos x="T2" y="T3"/>
                </a:cxn>
                <a:cxn ang="0">
                  <a:pos x="T4" y="T5"/>
                </a:cxn>
                <a:cxn ang="0">
                  <a:pos x="T6" y="T7"/>
                </a:cxn>
                <a:cxn ang="0">
                  <a:pos x="T8" y="T9"/>
                </a:cxn>
                <a:cxn ang="0">
                  <a:pos x="T10" y="T11"/>
                </a:cxn>
              </a:cxnLst>
              <a:rect l="0" t="0" r="r" b="b"/>
              <a:pathLst>
                <a:path w="16" h="29">
                  <a:moveTo>
                    <a:pt x="5" y="0"/>
                  </a:moveTo>
                  <a:lnTo>
                    <a:pt x="0" y="5"/>
                  </a:lnTo>
                  <a:lnTo>
                    <a:pt x="0" y="20"/>
                  </a:lnTo>
                  <a:lnTo>
                    <a:pt x="11" y="29"/>
                  </a:lnTo>
                  <a:lnTo>
                    <a:pt x="16" y="16"/>
                  </a:lnTo>
                  <a:lnTo>
                    <a:pt x="5"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56" name="Freeform 464"/>
            <p:cNvSpPr>
              <a:spLocks/>
            </p:cNvSpPr>
            <p:nvPr/>
          </p:nvSpPr>
          <p:spPr bwMode="auto">
            <a:xfrm>
              <a:off x="3263" y="2000"/>
              <a:ext cx="25" cy="20"/>
            </a:xfrm>
            <a:custGeom>
              <a:avLst/>
              <a:gdLst>
                <a:gd name="T0" fmla="*/ 2 w 24"/>
                <a:gd name="T1" fmla="*/ 0 h 22"/>
                <a:gd name="T2" fmla="*/ 0 w 24"/>
                <a:gd name="T3" fmla="*/ 4 h 22"/>
                <a:gd name="T4" fmla="*/ 2 w 24"/>
                <a:gd name="T5" fmla="*/ 15 h 22"/>
                <a:gd name="T6" fmla="*/ 15 w 24"/>
                <a:gd name="T7" fmla="*/ 22 h 22"/>
                <a:gd name="T8" fmla="*/ 24 w 24"/>
                <a:gd name="T9" fmla="*/ 13 h 22"/>
                <a:gd name="T10" fmla="*/ 2 w 24"/>
                <a:gd name="T11" fmla="*/ 0 h 22"/>
              </a:gdLst>
              <a:ahLst/>
              <a:cxnLst>
                <a:cxn ang="0">
                  <a:pos x="T0" y="T1"/>
                </a:cxn>
                <a:cxn ang="0">
                  <a:pos x="T2" y="T3"/>
                </a:cxn>
                <a:cxn ang="0">
                  <a:pos x="T4" y="T5"/>
                </a:cxn>
                <a:cxn ang="0">
                  <a:pos x="T6" y="T7"/>
                </a:cxn>
                <a:cxn ang="0">
                  <a:pos x="T8" y="T9"/>
                </a:cxn>
                <a:cxn ang="0">
                  <a:pos x="T10" y="T11"/>
                </a:cxn>
              </a:cxnLst>
              <a:rect l="0" t="0" r="r" b="b"/>
              <a:pathLst>
                <a:path w="24" h="22">
                  <a:moveTo>
                    <a:pt x="2" y="0"/>
                  </a:moveTo>
                  <a:lnTo>
                    <a:pt x="0" y="4"/>
                  </a:lnTo>
                  <a:lnTo>
                    <a:pt x="2" y="15"/>
                  </a:lnTo>
                  <a:lnTo>
                    <a:pt x="15" y="22"/>
                  </a:lnTo>
                  <a:lnTo>
                    <a:pt x="24" y="13"/>
                  </a:lnTo>
                  <a:lnTo>
                    <a:pt x="2"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57" name="Freeform 465"/>
            <p:cNvSpPr>
              <a:spLocks/>
            </p:cNvSpPr>
            <p:nvPr/>
          </p:nvSpPr>
          <p:spPr bwMode="auto">
            <a:xfrm>
              <a:off x="3203" y="2694"/>
              <a:ext cx="378" cy="337"/>
            </a:xfrm>
            <a:custGeom>
              <a:avLst/>
              <a:gdLst>
                <a:gd name="T0" fmla="*/ 7 w 363"/>
                <a:gd name="T1" fmla="*/ 102 h 357"/>
                <a:gd name="T2" fmla="*/ 22 w 363"/>
                <a:gd name="T3" fmla="*/ 130 h 357"/>
                <a:gd name="T4" fmla="*/ 41 w 363"/>
                <a:gd name="T5" fmla="*/ 126 h 357"/>
                <a:gd name="T6" fmla="*/ 56 w 363"/>
                <a:gd name="T7" fmla="*/ 98 h 357"/>
                <a:gd name="T8" fmla="*/ 82 w 363"/>
                <a:gd name="T9" fmla="*/ 111 h 357"/>
                <a:gd name="T10" fmla="*/ 89 w 363"/>
                <a:gd name="T11" fmla="*/ 135 h 357"/>
                <a:gd name="T12" fmla="*/ 102 w 363"/>
                <a:gd name="T13" fmla="*/ 167 h 357"/>
                <a:gd name="T14" fmla="*/ 115 w 363"/>
                <a:gd name="T15" fmla="*/ 189 h 357"/>
                <a:gd name="T16" fmla="*/ 106 w 363"/>
                <a:gd name="T17" fmla="*/ 199 h 357"/>
                <a:gd name="T18" fmla="*/ 161 w 363"/>
                <a:gd name="T19" fmla="*/ 260 h 357"/>
                <a:gd name="T20" fmla="*/ 187 w 363"/>
                <a:gd name="T21" fmla="*/ 263 h 357"/>
                <a:gd name="T22" fmla="*/ 228 w 363"/>
                <a:gd name="T23" fmla="*/ 291 h 357"/>
                <a:gd name="T24" fmla="*/ 239 w 363"/>
                <a:gd name="T25" fmla="*/ 314 h 357"/>
                <a:gd name="T26" fmla="*/ 250 w 363"/>
                <a:gd name="T27" fmla="*/ 313 h 357"/>
                <a:gd name="T28" fmla="*/ 274 w 363"/>
                <a:gd name="T29" fmla="*/ 326 h 357"/>
                <a:gd name="T30" fmla="*/ 290 w 363"/>
                <a:gd name="T31" fmla="*/ 325 h 357"/>
                <a:gd name="T32" fmla="*/ 289 w 363"/>
                <a:gd name="T33" fmla="*/ 301 h 357"/>
                <a:gd name="T34" fmla="*/ 271 w 363"/>
                <a:gd name="T35" fmla="*/ 275 h 357"/>
                <a:gd name="T36" fmla="*/ 228 w 363"/>
                <a:gd name="T37" fmla="*/ 232 h 357"/>
                <a:gd name="T38" fmla="*/ 213 w 363"/>
                <a:gd name="T39" fmla="*/ 228 h 357"/>
                <a:gd name="T40" fmla="*/ 198 w 363"/>
                <a:gd name="T41" fmla="*/ 217 h 357"/>
                <a:gd name="T42" fmla="*/ 187 w 363"/>
                <a:gd name="T43" fmla="*/ 197 h 357"/>
                <a:gd name="T44" fmla="*/ 169 w 363"/>
                <a:gd name="T45" fmla="*/ 165 h 357"/>
                <a:gd name="T46" fmla="*/ 137 w 363"/>
                <a:gd name="T47" fmla="*/ 126 h 357"/>
                <a:gd name="T48" fmla="*/ 154 w 363"/>
                <a:gd name="T49" fmla="*/ 119 h 357"/>
                <a:gd name="T50" fmla="*/ 222 w 363"/>
                <a:gd name="T51" fmla="*/ 102 h 357"/>
                <a:gd name="T52" fmla="*/ 254 w 363"/>
                <a:gd name="T53" fmla="*/ 122 h 357"/>
                <a:gd name="T54" fmla="*/ 267 w 363"/>
                <a:gd name="T55" fmla="*/ 122 h 357"/>
                <a:gd name="T56" fmla="*/ 295 w 363"/>
                <a:gd name="T57" fmla="*/ 124 h 357"/>
                <a:gd name="T58" fmla="*/ 332 w 363"/>
                <a:gd name="T59" fmla="*/ 122 h 357"/>
                <a:gd name="T60" fmla="*/ 356 w 363"/>
                <a:gd name="T61" fmla="*/ 135 h 357"/>
                <a:gd name="T62" fmla="*/ 363 w 363"/>
                <a:gd name="T63" fmla="*/ 111 h 357"/>
                <a:gd name="T64" fmla="*/ 344 w 363"/>
                <a:gd name="T65" fmla="*/ 91 h 357"/>
                <a:gd name="T66" fmla="*/ 343 w 363"/>
                <a:gd name="T67" fmla="*/ 69 h 357"/>
                <a:gd name="T68" fmla="*/ 328 w 363"/>
                <a:gd name="T69" fmla="*/ 54 h 357"/>
                <a:gd name="T70" fmla="*/ 312 w 363"/>
                <a:gd name="T71" fmla="*/ 58 h 357"/>
                <a:gd name="T72" fmla="*/ 293 w 363"/>
                <a:gd name="T73" fmla="*/ 65 h 357"/>
                <a:gd name="T74" fmla="*/ 265 w 363"/>
                <a:gd name="T75" fmla="*/ 43 h 357"/>
                <a:gd name="T76" fmla="*/ 241 w 363"/>
                <a:gd name="T77" fmla="*/ 33 h 357"/>
                <a:gd name="T78" fmla="*/ 198 w 363"/>
                <a:gd name="T79" fmla="*/ 0 h 357"/>
                <a:gd name="T80" fmla="*/ 157 w 363"/>
                <a:gd name="T81" fmla="*/ 24 h 357"/>
                <a:gd name="T82" fmla="*/ 145 w 363"/>
                <a:gd name="T83" fmla="*/ 45 h 357"/>
                <a:gd name="T84" fmla="*/ 80 w 363"/>
                <a:gd name="T85" fmla="*/ 80 h 357"/>
                <a:gd name="T86" fmla="*/ 41 w 363"/>
                <a:gd name="T87" fmla="*/ 80 h 357"/>
                <a:gd name="T88" fmla="*/ 0 w 363"/>
                <a:gd name="T89"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3" h="357">
                  <a:moveTo>
                    <a:pt x="0" y="80"/>
                  </a:moveTo>
                  <a:lnTo>
                    <a:pt x="7" y="102"/>
                  </a:lnTo>
                  <a:lnTo>
                    <a:pt x="15" y="119"/>
                  </a:lnTo>
                  <a:lnTo>
                    <a:pt x="22" y="130"/>
                  </a:lnTo>
                  <a:lnTo>
                    <a:pt x="31" y="132"/>
                  </a:lnTo>
                  <a:lnTo>
                    <a:pt x="41" y="126"/>
                  </a:lnTo>
                  <a:lnTo>
                    <a:pt x="46" y="115"/>
                  </a:lnTo>
                  <a:lnTo>
                    <a:pt x="56" y="98"/>
                  </a:lnTo>
                  <a:lnTo>
                    <a:pt x="69" y="108"/>
                  </a:lnTo>
                  <a:lnTo>
                    <a:pt x="82" y="111"/>
                  </a:lnTo>
                  <a:lnTo>
                    <a:pt x="91" y="117"/>
                  </a:lnTo>
                  <a:lnTo>
                    <a:pt x="89" y="135"/>
                  </a:lnTo>
                  <a:lnTo>
                    <a:pt x="89" y="147"/>
                  </a:lnTo>
                  <a:lnTo>
                    <a:pt x="102" y="167"/>
                  </a:lnTo>
                  <a:lnTo>
                    <a:pt x="117" y="184"/>
                  </a:lnTo>
                  <a:lnTo>
                    <a:pt x="115" y="189"/>
                  </a:lnTo>
                  <a:lnTo>
                    <a:pt x="98" y="189"/>
                  </a:lnTo>
                  <a:lnTo>
                    <a:pt x="106" y="199"/>
                  </a:lnTo>
                  <a:lnTo>
                    <a:pt x="156" y="256"/>
                  </a:lnTo>
                  <a:lnTo>
                    <a:pt x="161" y="260"/>
                  </a:lnTo>
                  <a:lnTo>
                    <a:pt x="176" y="260"/>
                  </a:lnTo>
                  <a:lnTo>
                    <a:pt x="187" y="263"/>
                  </a:lnTo>
                  <a:lnTo>
                    <a:pt x="209" y="273"/>
                  </a:lnTo>
                  <a:lnTo>
                    <a:pt x="228" y="291"/>
                  </a:lnTo>
                  <a:lnTo>
                    <a:pt x="232" y="299"/>
                  </a:lnTo>
                  <a:lnTo>
                    <a:pt x="239" y="314"/>
                  </a:lnTo>
                  <a:lnTo>
                    <a:pt x="245" y="313"/>
                  </a:lnTo>
                  <a:lnTo>
                    <a:pt x="250" y="313"/>
                  </a:lnTo>
                  <a:lnTo>
                    <a:pt x="265" y="319"/>
                  </a:lnTo>
                  <a:lnTo>
                    <a:pt x="274" y="326"/>
                  </a:lnTo>
                  <a:lnTo>
                    <a:pt x="302" y="357"/>
                  </a:lnTo>
                  <a:lnTo>
                    <a:pt x="290" y="325"/>
                  </a:lnTo>
                  <a:lnTo>
                    <a:pt x="283" y="313"/>
                  </a:lnTo>
                  <a:lnTo>
                    <a:pt x="289" y="301"/>
                  </a:lnTo>
                  <a:lnTo>
                    <a:pt x="285" y="291"/>
                  </a:lnTo>
                  <a:lnTo>
                    <a:pt x="271" y="275"/>
                  </a:lnTo>
                  <a:lnTo>
                    <a:pt x="245" y="245"/>
                  </a:lnTo>
                  <a:lnTo>
                    <a:pt x="228" y="232"/>
                  </a:lnTo>
                  <a:lnTo>
                    <a:pt x="222" y="226"/>
                  </a:lnTo>
                  <a:lnTo>
                    <a:pt x="213" y="228"/>
                  </a:lnTo>
                  <a:lnTo>
                    <a:pt x="200" y="217"/>
                  </a:lnTo>
                  <a:lnTo>
                    <a:pt x="198" y="217"/>
                  </a:lnTo>
                  <a:lnTo>
                    <a:pt x="191" y="210"/>
                  </a:lnTo>
                  <a:lnTo>
                    <a:pt x="187" y="197"/>
                  </a:lnTo>
                  <a:lnTo>
                    <a:pt x="183" y="184"/>
                  </a:lnTo>
                  <a:lnTo>
                    <a:pt x="169" y="165"/>
                  </a:lnTo>
                  <a:lnTo>
                    <a:pt x="139" y="134"/>
                  </a:lnTo>
                  <a:lnTo>
                    <a:pt x="137" y="126"/>
                  </a:lnTo>
                  <a:lnTo>
                    <a:pt x="139" y="122"/>
                  </a:lnTo>
                  <a:lnTo>
                    <a:pt x="154" y="119"/>
                  </a:lnTo>
                  <a:lnTo>
                    <a:pt x="195" y="132"/>
                  </a:lnTo>
                  <a:lnTo>
                    <a:pt x="222" y="102"/>
                  </a:lnTo>
                  <a:lnTo>
                    <a:pt x="245" y="121"/>
                  </a:lnTo>
                  <a:lnTo>
                    <a:pt x="254" y="122"/>
                  </a:lnTo>
                  <a:lnTo>
                    <a:pt x="259" y="130"/>
                  </a:lnTo>
                  <a:lnTo>
                    <a:pt x="267" y="122"/>
                  </a:lnTo>
                  <a:lnTo>
                    <a:pt x="282" y="122"/>
                  </a:lnTo>
                  <a:lnTo>
                    <a:pt x="295" y="124"/>
                  </a:lnTo>
                  <a:lnTo>
                    <a:pt x="313" y="115"/>
                  </a:lnTo>
                  <a:lnTo>
                    <a:pt x="332" y="122"/>
                  </a:lnTo>
                  <a:lnTo>
                    <a:pt x="343" y="132"/>
                  </a:lnTo>
                  <a:lnTo>
                    <a:pt x="356" y="135"/>
                  </a:lnTo>
                  <a:lnTo>
                    <a:pt x="357" y="126"/>
                  </a:lnTo>
                  <a:lnTo>
                    <a:pt x="363" y="111"/>
                  </a:lnTo>
                  <a:lnTo>
                    <a:pt x="356" y="104"/>
                  </a:lnTo>
                  <a:lnTo>
                    <a:pt x="344" y="91"/>
                  </a:lnTo>
                  <a:lnTo>
                    <a:pt x="343" y="78"/>
                  </a:lnTo>
                  <a:lnTo>
                    <a:pt x="343" y="69"/>
                  </a:lnTo>
                  <a:lnTo>
                    <a:pt x="344" y="58"/>
                  </a:lnTo>
                  <a:lnTo>
                    <a:pt x="328" y="54"/>
                  </a:lnTo>
                  <a:lnTo>
                    <a:pt x="320" y="52"/>
                  </a:lnTo>
                  <a:lnTo>
                    <a:pt x="312" y="58"/>
                  </a:lnTo>
                  <a:lnTo>
                    <a:pt x="302" y="65"/>
                  </a:lnTo>
                  <a:lnTo>
                    <a:pt x="293" y="65"/>
                  </a:lnTo>
                  <a:lnTo>
                    <a:pt x="278" y="50"/>
                  </a:lnTo>
                  <a:lnTo>
                    <a:pt x="265" y="43"/>
                  </a:lnTo>
                  <a:lnTo>
                    <a:pt x="252" y="45"/>
                  </a:lnTo>
                  <a:lnTo>
                    <a:pt x="241" y="33"/>
                  </a:lnTo>
                  <a:lnTo>
                    <a:pt x="211" y="2"/>
                  </a:lnTo>
                  <a:lnTo>
                    <a:pt x="198" y="0"/>
                  </a:lnTo>
                  <a:lnTo>
                    <a:pt x="178" y="26"/>
                  </a:lnTo>
                  <a:lnTo>
                    <a:pt x="157" y="24"/>
                  </a:lnTo>
                  <a:lnTo>
                    <a:pt x="148" y="33"/>
                  </a:lnTo>
                  <a:lnTo>
                    <a:pt x="145" y="45"/>
                  </a:lnTo>
                  <a:lnTo>
                    <a:pt x="106" y="87"/>
                  </a:lnTo>
                  <a:lnTo>
                    <a:pt x="80" y="80"/>
                  </a:lnTo>
                  <a:lnTo>
                    <a:pt x="54" y="74"/>
                  </a:lnTo>
                  <a:lnTo>
                    <a:pt x="41" y="80"/>
                  </a:lnTo>
                  <a:lnTo>
                    <a:pt x="24" y="87"/>
                  </a:lnTo>
                  <a:lnTo>
                    <a:pt x="0" y="80"/>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grpSp>
          <p:nvGrpSpPr>
            <p:cNvPr id="358" name="Group 466"/>
            <p:cNvGrpSpPr>
              <a:grpSpLocks/>
            </p:cNvGrpSpPr>
            <p:nvPr/>
          </p:nvGrpSpPr>
          <p:grpSpPr bwMode="auto">
            <a:xfrm>
              <a:off x="3676" y="1004"/>
              <a:ext cx="424" cy="574"/>
              <a:chOff x="3676" y="1004"/>
              <a:chExt cx="424" cy="574"/>
            </a:xfrm>
            <a:grpFill/>
          </p:grpSpPr>
          <p:sp>
            <p:nvSpPr>
              <p:cNvPr id="372" name="Freeform 467"/>
              <p:cNvSpPr>
                <a:spLocks/>
              </p:cNvSpPr>
              <p:nvPr/>
            </p:nvSpPr>
            <p:spPr bwMode="auto">
              <a:xfrm>
                <a:off x="3676" y="1004"/>
                <a:ext cx="424" cy="574"/>
              </a:xfrm>
              <a:custGeom>
                <a:avLst/>
                <a:gdLst>
                  <a:gd name="T0" fmla="*/ 84 w 369"/>
                  <a:gd name="T1" fmla="*/ 500 h 500"/>
                  <a:gd name="T2" fmla="*/ 81 w 369"/>
                  <a:gd name="T3" fmla="*/ 475 h 500"/>
                  <a:gd name="T4" fmla="*/ 67 w 369"/>
                  <a:gd name="T5" fmla="*/ 463 h 500"/>
                  <a:gd name="T6" fmla="*/ 57 w 369"/>
                  <a:gd name="T7" fmla="*/ 457 h 500"/>
                  <a:gd name="T8" fmla="*/ 40 w 369"/>
                  <a:gd name="T9" fmla="*/ 451 h 500"/>
                  <a:gd name="T10" fmla="*/ 26 w 369"/>
                  <a:gd name="T11" fmla="*/ 451 h 500"/>
                  <a:gd name="T12" fmla="*/ 20 w 369"/>
                  <a:gd name="T13" fmla="*/ 439 h 500"/>
                  <a:gd name="T14" fmla="*/ 26 w 369"/>
                  <a:gd name="T15" fmla="*/ 392 h 500"/>
                  <a:gd name="T16" fmla="*/ 24 w 369"/>
                  <a:gd name="T17" fmla="*/ 365 h 500"/>
                  <a:gd name="T18" fmla="*/ 13 w 369"/>
                  <a:gd name="T19" fmla="*/ 353 h 500"/>
                  <a:gd name="T20" fmla="*/ 7 w 369"/>
                  <a:gd name="T21" fmla="*/ 347 h 500"/>
                  <a:gd name="T22" fmla="*/ 10 w 369"/>
                  <a:gd name="T23" fmla="*/ 322 h 500"/>
                  <a:gd name="T24" fmla="*/ 7 w 369"/>
                  <a:gd name="T25" fmla="*/ 306 h 500"/>
                  <a:gd name="T26" fmla="*/ 0 w 369"/>
                  <a:gd name="T27" fmla="*/ 295 h 500"/>
                  <a:gd name="T28" fmla="*/ 10 w 369"/>
                  <a:gd name="T29" fmla="*/ 268 h 500"/>
                  <a:gd name="T30" fmla="*/ 20 w 369"/>
                  <a:gd name="T31" fmla="*/ 268 h 500"/>
                  <a:gd name="T32" fmla="*/ 26 w 369"/>
                  <a:gd name="T33" fmla="*/ 262 h 500"/>
                  <a:gd name="T34" fmla="*/ 30 w 369"/>
                  <a:gd name="T35" fmla="*/ 243 h 500"/>
                  <a:gd name="T36" fmla="*/ 50 w 369"/>
                  <a:gd name="T37" fmla="*/ 228 h 500"/>
                  <a:gd name="T38" fmla="*/ 70 w 369"/>
                  <a:gd name="T39" fmla="*/ 212 h 500"/>
                  <a:gd name="T40" fmla="*/ 74 w 369"/>
                  <a:gd name="T41" fmla="*/ 194 h 500"/>
                  <a:gd name="T42" fmla="*/ 97 w 369"/>
                  <a:gd name="T43" fmla="*/ 176 h 500"/>
                  <a:gd name="T44" fmla="*/ 121 w 369"/>
                  <a:gd name="T45" fmla="*/ 154 h 500"/>
                  <a:gd name="T46" fmla="*/ 117 w 369"/>
                  <a:gd name="T47" fmla="*/ 145 h 500"/>
                  <a:gd name="T48" fmla="*/ 117 w 369"/>
                  <a:gd name="T49" fmla="*/ 133 h 500"/>
                  <a:gd name="T50" fmla="*/ 134 w 369"/>
                  <a:gd name="T51" fmla="*/ 124 h 500"/>
                  <a:gd name="T52" fmla="*/ 141 w 369"/>
                  <a:gd name="T53" fmla="*/ 120 h 500"/>
                  <a:gd name="T54" fmla="*/ 137 w 369"/>
                  <a:gd name="T55" fmla="*/ 102 h 500"/>
                  <a:gd name="T56" fmla="*/ 137 w 369"/>
                  <a:gd name="T57" fmla="*/ 84 h 500"/>
                  <a:gd name="T58" fmla="*/ 131 w 369"/>
                  <a:gd name="T59" fmla="*/ 81 h 500"/>
                  <a:gd name="T60" fmla="*/ 121 w 369"/>
                  <a:gd name="T61" fmla="*/ 84 h 500"/>
                  <a:gd name="T62" fmla="*/ 111 w 369"/>
                  <a:gd name="T63" fmla="*/ 71 h 500"/>
                  <a:gd name="T64" fmla="*/ 101 w 369"/>
                  <a:gd name="T65" fmla="*/ 38 h 500"/>
                  <a:gd name="T66" fmla="*/ 81 w 369"/>
                  <a:gd name="T67" fmla="*/ 13 h 500"/>
                  <a:gd name="T68" fmla="*/ 82 w 369"/>
                  <a:gd name="T69" fmla="*/ 0 h 500"/>
                  <a:gd name="T70" fmla="*/ 272 w 369"/>
                  <a:gd name="T71" fmla="*/ 0 h 500"/>
                  <a:gd name="T72" fmla="*/ 288 w 369"/>
                  <a:gd name="T73" fmla="*/ 43 h 500"/>
                  <a:gd name="T74" fmla="*/ 285 w 369"/>
                  <a:gd name="T75" fmla="*/ 93 h 500"/>
                  <a:gd name="T76" fmla="*/ 298 w 369"/>
                  <a:gd name="T77" fmla="*/ 124 h 500"/>
                  <a:gd name="T78" fmla="*/ 306 w 369"/>
                  <a:gd name="T79" fmla="*/ 136 h 500"/>
                  <a:gd name="T80" fmla="*/ 312 w 369"/>
                  <a:gd name="T81" fmla="*/ 182 h 500"/>
                  <a:gd name="T82" fmla="*/ 318 w 369"/>
                  <a:gd name="T83" fmla="*/ 201 h 500"/>
                  <a:gd name="T84" fmla="*/ 352 w 369"/>
                  <a:gd name="T85" fmla="*/ 221 h 500"/>
                  <a:gd name="T86" fmla="*/ 369 w 369"/>
                  <a:gd name="T87" fmla="*/ 240 h 500"/>
                  <a:gd name="T88" fmla="*/ 369 w 369"/>
                  <a:gd name="T89" fmla="*/ 253 h 500"/>
                  <a:gd name="T90" fmla="*/ 355 w 369"/>
                  <a:gd name="T91" fmla="*/ 310 h 500"/>
                  <a:gd name="T92" fmla="*/ 349 w 369"/>
                  <a:gd name="T93" fmla="*/ 316 h 500"/>
                  <a:gd name="T94" fmla="*/ 355 w 369"/>
                  <a:gd name="T95" fmla="*/ 328 h 500"/>
                  <a:gd name="T96" fmla="*/ 339 w 369"/>
                  <a:gd name="T97" fmla="*/ 349 h 500"/>
                  <a:gd name="T98" fmla="*/ 318 w 369"/>
                  <a:gd name="T99" fmla="*/ 359 h 500"/>
                  <a:gd name="T100" fmla="*/ 318 w 369"/>
                  <a:gd name="T101" fmla="*/ 368 h 500"/>
                  <a:gd name="T102" fmla="*/ 288 w 369"/>
                  <a:gd name="T103" fmla="*/ 405 h 500"/>
                  <a:gd name="T104" fmla="*/ 268 w 369"/>
                  <a:gd name="T105" fmla="*/ 414 h 500"/>
                  <a:gd name="T106" fmla="*/ 265 w 369"/>
                  <a:gd name="T107" fmla="*/ 435 h 500"/>
                  <a:gd name="T108" fmla="*/ 245 w 369"/>
                  <a:gd name="T109" fmla="*/ 435 h 500"/>
                  <a:gd name="T110" fmla="*/ 235 w 369"/>
                  <a:gd name="T111" fmla="*/ 442 h 500"/>
                  <a:gd name="T112" fmla="*/ 215 w 369"/>
                  <a:gd name="T113" fmla="*/ 448 h 500"/>
                  <a:gd name="T114" fmla="*/ 188 w 369"/>
                  <a:gd name="T115" fmla="*/ 445 h 500"/>
                  <a:gd name="T116" fmla="*/ 168 w 369"/>
                  <a:gd name="T117" fmla="*/ 460 h 500"/>
                  <a:gd name="T118" fmla="*/ 144 w 369"/>
                  <a:gd name="T119" fmla="*/ 473 h 500"/>
                  <a:gd name="T120" fmla="*/ 121 w 369"/>
                  <a:gd name="T121" fmla="*/ 478 h 500"/>
                  <a:gd name="T122" fmla="*/ 103 w 369"/>
                  <a:gd name="T123" fmla="*/ 491 h 500"/>
                  <a:gd name="T124" fmla="*/ 84 w 369"/>
                  <a:gd name="T125"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9" h="500">
                    <a:moveTo>
                      <a:pt x="84" y="500"/>
                    </a:moveTo>
                    <a:lnTo>
                      <a:pt x="81" y="475"/>
                    </a:lnTo>
                    <a:lnTo>
                      <a:pt x="67" y="463"/>
                    </a:lnTo>
                    <a:lnTo>
                      <a:pt x="57" y="457"/>
                    </a:lnTo>
                    <a:lnTo>
                      <a:pt x="40" y="451"/>
                    </a:lnTo>
                    <a:lnTo>
                      <a:pt x="26" y="451"/>
                    </a:lnTo>
                    <a:lnTo>
                      <a:pt x="20" y="439"/>
                    </a:lnTo>
                    <a:lnTo>
                      <a:pt x="26" y="392"/>
                    </a:lnTo>
                    <a:lnTo>
                      <a:pt x="24" y="365"/>
                    </a:lnTo>
                    <a:lnTo>
                      <a:pt x="13" y="353"/>
                    </a:lnTo>
                    <a:lnTo>
                      <a:pt x="7" y="347"/>
                    </a:lnTo>
                    <a:lnTo>
                      <a:pt x="10" y="322"/>
                    </a:lnTo>
                    <a:lnTo>
                      <a:pt x="7" y="306"/>
                    </a:lnTo>
                    <a:lnTo>
                      <a:pt x="0" y="295"/>
                    </a:lnTo>
                    <a:lnTo>
                      <a:pt x="10" y="268"/>
                    </a:lnTo>
                    <a:lnTo>
                      <a:pt x="20" y="268"/>
                    </a:lnTo>
                    <a:lnTo>
                      <a:pt x="26" y="262"/>
                    </a:lnTo>
                    <a:lnTo>
                      <a:pt x="30" y="243"/>
                    </a:lnTo>
                    <a:lnTo>
                      <a:pt x="50" y="228"/>
                    </a:lnTo>
                    <a:lnTo>
                      <a:pt x="70" y="212"/>
                    </a:lnTo>
                    <a:lnTo>
                      <a:pt x="74" y="194"/>
                    </a:lnTo>
                    <a:lnTo>
                      <a:pt x="97" y="176"/>
                    </a:lnTo>
                    <a:lnTo>
                      <a:pt x="121" y="154"/>
                    </a:lnTo>
                    <a:lnTo>
                      <a:pt x="117" y="145"/>
                    </a:lnTo>
                    <a:lnTo>
                      <a:pt x="117" y="133"/>
                    </a:lnTo>
                    <a:lnTo>
                      <a:pt x="134" y="124"/>
                    </a:lnTo>
                    <a:lnTo>
                      <a:pt x="141" y="120"/>
                    </a:lnTo>
                    <a:lnTo>
                      <a:pt x="137" y="102"/>
                    </a:lnTo>
                    <a:lnTo>
                      <a:pt x="137" y="84"/>
                    </a:lnTo>
                    <a:lnTo>
                      <a:pt x="131" y="81"/>
                    </a:lnTo>
                    <a:lnTo>
                      <a:pt x="121" y="84"/>
                    </a:lnTo>
                    <a:lnTo>
                      <a:pt x="111" y="71"/>
                    </a:lnTo>
                    <a:lnTo>
                      <a:pt x="101" y="38"/>
                    </a:lnTo>
                    <a:lnTo>
                      <a:pt x="81" y="13"/>
                    </a:lnTo>
                    <a:lnTo>
                      <a:pt x="82" y="0"/>
                    </a:lnTo>
                    <a:lnTo>
                      <a:pt x="272" y="0"/>
                    </a:lnTo>
                    <a:lnTo>
                      <a:pt x="288" y="43"/>
                    </a:lnTo>
                    <a:lnTo>
                      <a:pt x="285" y="93"/>
                    </a:lnTo>
                    <a:lnTo>
                      <a:pt x="298" y="124"/>
                    </a:lnTo>
                    <a:lnTo>
                      <a:pt x="306" y="136"/>
                    </a:lnTo>
                    <a:lnTo>
                      <a:pt x="312" y="182"/>
                    </a:lnTo>
                    <a:lnTo>
                      <a:pt x="318" y="201"/>
                    </a:lnTo>
                    <a:lnTo>
                      <a:pt x="352" y="221"/>
                    </a:lnTo>
                    <a:lnTo>
                      <a:pt x="369" y="240"/>
                    </a:lnTo>
                    <a:lnTo>
                      <a:pt x="369" y="253"/>
                    </a:lnTo>
                    <a:lnTo>
                      <a:pt x="355" y="310"/>
                    </a:lnTo>
                    <a:lnTo>
                      <a:pt x="349" y="316"/>
                    </a:lnTo>
                    <a:lnTo>
                      <a:pt x="355" y="328"/>
                    </a:lnTo>
                    <a:lnTo>
                      <a:pt x="339" y="349"/>
                    </a:lnTo>
                    <a:lnTo>
                      <a:pt x="318" y="359"/>
                    </a:lnTo>
                    <a:lnTo>
                      <a:pt x="318" y="368"/>
                    </a:lnTo>
                    <a:lnTo>
                      <a:pt x="288" y="405"/>
                    </a:lnTo>
                    <a:lnTo>
                      <a:pt x="268" y="414"/>
                    </a:lnTo>
                    <a:lnTo>
                      <a:pt x="265" y="435"/>
                    </a:lnTo>
                    <a:lnTo>
                      <a:pt x="245" y="435"/>
                    </a:lnTo>
                    <a:lnTo>
                      <a:pt x="235" y="442"/>
                    </a:lnTo>
                    <a:lnTo>
                      <a:pt x="215" y="448"/>
                    </a:lnTo>
                    <a:lnTo>
                      <a:pt x="188" y="445"/>
                    </a:lnTo>
                    <a:lnTo>
                      <a:pt x="168" y="460"/>
                    </a:lnTo>
                    <a:lnTo>
                      <a:pt x="144" y="473"/>
                    </a:lnTo>
                    <a:lnTo>
                      <a:pt x="121" y="478"/>
                    </a:lnTo>
                    <a:lnTo>
                      <a:pt x="103" y="491"/>
                    </a:lnTo>
                    <a:lnTo>
                      <a:pt x="84" y="50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73" name="Freeform 468"/>
              <p:cNvSpPr>
                <a:spLocks/>
              </p:cNvSpPr>
              <p:nvPr/>
            </p:nvSpPr>
            <p:spPr bwMode="auto">
              <a:xfrm>
                <a:off x="3953" y="1078"/>
                <a:ext cx="15" cy="45"/>
              </a:xfrm>
              <a:custGeom>
                <a:avLst/>
                <a:gdLst>
                  <a:gd name="T0" fmla="*/ 16 w 16"/>
                  <a:gd name="T1" fmla="*/ 0 h 45"/>
                  <a:gd name="T2" fmla="*/ 0 w 16"/>
                  <a:gd name="T3" fmla="*/ 9 h 45"/>
                  <a:gd name="T4" fmla="*/ 0 w 16"/>
                  <a:gd name="T5" fmla="*/ 45 h 45"/>
                  <a:gd name="T6" fmla="*/ 8 w 16"/>
                  <a:gd name="T7" fmla="*/ 28 h 45"/>
                  <a:gd name="T8" fmla="*/ 11 w 16"/>
                  <a:gd name="T9" fmla="*/ 9 h 45"/>
                  <a:gd name="T10" fmla="*/ 5 w 16"/>
                  <a:gd name="T11" fmla="*/ 8 h 45"/>
                  <a:gd name="T12" fmla="*/ 16 w 16"/>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16" y="0"/>
                    </a:moveTo>
                    <a:lnTo>
                      <a:pt x="0" y="9"/>
                    </a:lnTo>
                    <a:lnTo>
                      <a:pt x="0" y="45"/>
                    </a:lnTo>
                    <a:lnTo>
                      <a:pt x="8" y="28"/>
                    </a:lnTo>
                    <a:lnTo>
                      <a:pt x="11" y="9"/>
                    </a:lnTo>
                    <a:lnTo>
                      <a:pt x="5" y="8"/>
                    </a:lnTo>
                    <a:lnTo>
                      <a:pt x="16"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74" name="Freeform 469"/>
              <p:cNvSpPr>
                <a:spLocks/>
              </p:cNvSpPr>
              <p:nvPr/>
            </p:nvSpPr>
            <p:spPr bwMode="auto">
              <a:xfrm>
                <a:off x="3978" y="1143"/>
                <a:ext cx="19" cy="26"/>
              </a:xfrm>
              <a:custGeom>
                <a:avLst/>
                <a:gdLst>
                  <a:gd name="T0" fmla="*/ 4 w 19"/>
                  <a:gd name="T1" fmla="*/ 0 h 26"/>
                  <a:gd name="T2" fmla="*/ 0 w 19"/>
                  <a:gd name="T3" fmla="*/ 7 h 26"/>
                  <a:gd name="T4" fmla="*/ 6 w 19"/>
                  <a:gd name="T5" fmla="*/ 26 h 26"/>
                  <a:gd name="T6" fmla="*/ 17 w 19"/>
                  <a:gd name="T7" fmla="*/ 20 h 26"/>
                  <a:gd name="T8" fmla="*/ 19 w 19"/>
                  <a:gd name="T9" fmla="*/ 11 h 26"/>
                  <a:gd name="T10" fmla="*/ 4 w 19"/>
                  <a:gd name="T11" fmla="*/ 0 h 26"/>
                </a:gdLst>
                <a:ahLst/>
                <a:cxnLst>
                  <a:cxn ang="0">
                    <a:pos x="T0" y="T1"/>
                  </a:cxn>
                  <a:cxn ang="0">
                    <a:pos x="T2" y="T3"/>
                  </a:cxn>
                  <a:cxn ang="0">
                    <a:pos x="T4" y="T5"/>
                  </a:cxn>
                  <a:cxn ang="0">
                    <a:pos x="T6" y="T7"/>
                  </a:cxn>
                  <a:cxn ang="0">
                    <a:pos x="T8" y="T9"/>
                  </a:cxn>
                  <a:cxn ang="0">
                    <a:pos x="T10" y="T11"/>
                  </a:cxn>
                </a:cxnLst>
                <a:rect l="0" t="0" r="r" b="b"/>
                <a:pathLst>
                  <a:path w="19" h="26">
                    <a:moveTo>
                      <a:pt x="4" y="0"/>
                    </a:moveTo>
                    <a:lnTo>
                      <a:pt x="0" y="7"/>
                    </a:lnTo>
                    <a:lnTo>
                      <a:pt x="6" y="26"/>
                    </a:lnTo>
                    <a:lnTo>
                      <a:pt x="17" y="20"/>
                    </a:lnTo>
                    <a:lnTo>
                      <a:pt x="19" y="11"/>
                    </a:lnTo>
                    <a:lnTo>
                      <a:pt x="4"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75" name="Freeform 470"/>
              <p:cNvSpPr>
                <a:spLocks/>
              </p:cNvSpPr>
              <p:nvPr/>
            </p:nvSpPr>
            <p:spPr bwMode="auto">
              <a:xfrm>
                <a:off x="3872" y="1140"/>
                <a:ext cx="42" cy="39"/>
              </a:xfrm>
              <a:custGeom>
                <a:avLst/>
                <a:gdLst>
                  <a:gd name="T0" fmla="*/ 41 w 41"/>
                  <a:gd name="T1" fmla="*/ 17 h 39"/>
                  <a:gd name="T2" fmla="*/ 32 w 41"/>
                  <a:gd name="T3" fmla="*/ 17 h 39"/>
                  <a:gd name="T4" fmla="*/ 21 w 41"/>
                  <a:gd name="T5" fmla="*/ 0 h 39"/>
                  <a:gd name="T6" fmla="*/ 13 w 41"/>
                  <a:gd name="T7" fmla="*/ 11 h 39"/>
                  <a:gd name="T8" fmla="*/ 2 w 41"/>
                  <a:gd name="T9" fmla="*/ 7 h 39"/>
                  <a:gd name="T10" fmla="*/ 0 w 41"/>
                  <a:gd name="T11" fmla="*/ 17 h 39"/>
                  <a:gd name="T12" fmla="*/ 6 w 41"/>
                  <a:gd name="T13" fmla="*/ 24 h 39"/>
                  <a:gd name="T14" fmla="*/ 6 w 41"/>
                  <a:gd name="T15" fmla="*/ 32 h 39"/>
                  <a:gd name="T16" fmla="*/ 13 w 41"/>
                  <a:gd name="T17" fmla="*/ 39 h 39"/>
                  <a:gd name="T18" fmla="*/ 21 w 41"/>
                  <a:gd name="T19" fmla="*/ 33 h 39"/>
                  <a:gd name="T20" fmla="*/ 35 w 41"/>
                  <a:gd name="T21" fmla="*/ 37 h 39"/>
                  <a:gd name="T22" fmla="*/ 41 w 41"/>
                  <a:gd name="T23" fmla="*/ 1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39">
                    <a:moveTo>
                      <a:pt x="41" y="17"/>
                    </a:moveTo>
                    <a:lnTo>
                      <a:pt x="32" y="17"/>
                    </a:lnTo>
                    <a:lnTo>
                      <a:pt x="21" y="0"/>
                    </a:lnTo>
                    <a:lnTo>
                      <a:pt x="13" y="11"/>
                    </a:lnTo>
                    <a:lnTo>
                      <a:pt x="2" y="7"/>
                    </a:lnTo>
                    <a:lnTo>
                      <a:pt x="0" y="17"/>
                    </a:lnTo>
                    <a:lnTo>
                      <a:pt x="6" y="24"/>
                    </a:lnTo>
                    <a:lnTo>
                      <a:pt x="6" y="32"/>
                    </a:lnTo>
                    <a:lnTo>
                      <a:pt x="13" y="39"/>
                    </a:lnTo>
                    <a:lnTo>
                      <a:pt x="21" y="33"/>
                    </a:lnTo>
                    <a:lnTo>
                      <a:pt x="35" y="37"/>
                    </a:lnTo>
                    <a:lnTo>
                      <a:pt x="41" y="17"/>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76" name="Freeform 471"/>
              <p:cNvSpPr>
                <a:spLocks/>
              </p:cNvSpPr>
              <p:nvPr/>
            </p:nvSpPr>
            <p:spPr bwMode="auto">
              <a:xfrm>
                <a:off x="3968" y="1238"/>
                <a:ext cx="60" cy="41"/>
              </a:xfrm>
              <a:custGeom>
                <a:avLst/>
                <a:gdLst>
                  <a:gd name="T0" fmla="*/ 7 w 58"/>
                  <a:gd name="T1" fmla="*/ 0 h 40"/>
                  <a:gd name="T2" fmla="*/ 0 w 58"/>
                  <a:gd name="T3" fmla="*/ 4 h 40"/>
                  <a:gd name="T4" fmla="*/ 21 w 58"/>
                  <a:gd name="T5" fmla="*/ 24 h 40"/>
                  <a:gd name="T6" fmla="*/ 28 w 58"/>
                  <a:gd name="T7" fmla="*/ 24 h 40"/>
                  <a:gd name="T8" fmla="*/ 51 w 58"/>
                  <a:gd name="T9" fmla="*/ 40 h 40"/>
                  <a:gd name="T10" fmla="*/ 58 w 58"/>
                  <a:gd name="T11" fmla="*/ 33 h 40"/>
                  <a:gd name="T12" fmla="*/ 52 w 58"/>
                  <a:gd name="T13" fmla="*/ 16 h 40"/>
                  <a:gd name="T14" fmla="*/ 51 w 58"/>
                  <a:gd name="T15" fmla="*/ 7 h 40"/>
                  <a:gd name="T16" fmla="*/ 34 w 58"/>
                  <a:gd name="T17" fmla="*/ 7 h 40"/>
                  <a:gd name="T18" fmla="*/ 21 w 58"/>
                  <a:gd name="T19" fmla="*/ 0 h 40"/>
                  <a:gd name="T20" fmla="*/ 7 w 58"/>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40">
                    <a:moveTo>
                      <a:pt x="7" y="0"/>
                    </a:moveTo>
                    <a:lnTo>
                      <a:pt x="0" y="4"/>
                    </a:lnTo>
                    <a:lnTo>
                      <a:pt x="21" y="24"/>
                    </a:lnTo>
                    <a:lnTo>
                      <a:pt x="28" y="24"/>
                    </a:lnTo>
                    <a:lnTo>
                      <a:pt x="51" y="40"/>
                    </a:lnTo>
                    <a:lnTo>
                      <a:pt x="58" y="33"/>
                    </a:lnTo>
                    <a:lnTo>
                      <a:pt x="52" y="16"/>
                    </a:lnTo>
                    <a:lnTo>
                      <a:pt x="51" y="7"/>
                    </a:lnTo>
                    <a:lnTo>
                      <a:pt x="34" y="7"/>
                    </a:lnTo>
                    <a:lnTo>
                      <a:pt x="21" y="0"/>
                    </a:lnTo>
                    <a:lnTo>
                      <a:pt x="7"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77" name="Freeform 472"/>
              <p:cNvSpPr>
                <a:spLocks/>
              </p:cNvSpPr>
              <p:nvPr/>
            </p:nvSpPr>
            <p:spPr bwMode="auto">
              <a:xfrm>
                <a:off x="3845" y="1262"/>
                <a:ext cx="38" cy="61"/>
              </a:xfrm>
              <a:custGeom>
                <a:avLst/>
                <a:gdLst>
                  <a:gd name="T0" fmla="*/ 33 w 37"/>
                  <a:gd name="T1" fmla="*/ 0 h 59"/>
                  <a:gd name="T2" fmla="*/ 37 w 37"/>
                  <a:gd name="T3" fmla="*/ 11 h 59"/>
                  <a:gd name="T4" fmla="*/ 19 w 37"/>
                  <a:gd name="T5" fmla="*/ 39 h 59"/>
                  <a:gd name="T6" fmla="*/ 20 w 37"/>
                  <a:gd name="T7" fmla="*/ 48 h 59"/>
                  <a:gd name="T8" fmla="*/ 9 w 37"/>
                  <a:gd name="T9" fmla="*/ 59 h 59"/>
                  <a:gd name="T10" fmla="*/ 0 w 37"/>
                  <a:gd name="T11" fmla="*/ 50 h 59"/>
                  <a:gd name="T12" fmla="*/ 4 w 37"/>
                  <a:gd name="T13" fmla="*/ 42 h 59"/>
                  <a:gd name="T14" fmla="*/ 6 w 37"/>
                  <a:gd name="T15" fmla="*/ 24 h 59"/>
                  <a:gd name="T16" fmla="*/ 15 w 37"/>
                  <a:gd name="T17" fmla="*/ 13 h 59"/>
                  <a:gd name="T18" fmla="*/ 4 w 37"/>
                  <a:gd name="T19" fmla="*/ 4 h 59"/>
                  <a:gd name="T20" fmla="*/ 11 w 37"/>
                  <a:gd name="T21" fmla="*/ 0 h 59"/>
                  <a:gd name="T22" fmla="*/ 22 w 37"/>
                  <a:gd name="T23" fmla="*/ 6 h 59"/>
                  <a:gd name="T24" fmla="*/ 33 w 37"/>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59">
                    <a:moveTo>
                      <a:pt x="33" y="0"/>
                    </a:moveTo>
                    <a:lnTo>
                      <a:pt x="37" y="11"/>
                    </a:lnTo>
                    <a:lnTo>
                      <a:pt x="19" y="39"/>
                    </a:lnTo>
                    <a:lnTo>
                      <a:pt x="20" y="48"/>
                    </a:lnTo>
                    <a:lnTo>
                      <a:pt x="9" y="59"/>
                    </a:lnTo>
                    <a:lnTo>
                      <a:pt x="0" y="50"/>
                    </a:lnTo>
                    <a:lnTo>
                      <a:pt x="4" y="42"/>
                    </a:lnTo>
                    <a:lnTo>
                      <a:pt x="6" y="24"/>
                    </a:lnTo>
                    <a:lnTo>
                      <a:pt x="15" y="13"/>
                    </a:lnTo>
                    <a:lnTo>
                      <a:pt x="4" y="4"/>
                    </a:lnTo>
                    <a:lnTo>
                      <a:pt x="11" y="0"/>
                    </a:lnTo>
                    <a:lnTo>
                      <a:pt x="22" y="6"/>
                    </a:lnTo>
                    <a:lnTo>
                      <a:pt x="33"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78" name="Freeform 473"/>
              <p:cNvSpPr>
                <a:spLocks/>
              </p:cNvSpPr>
              <p:nvPr/>
            </p:nvSpPr>
            <p:spPr bwMode="auto">
              <a:xfrm>
                <a:off x="3863" y="1300"/>
                <a:ext cx="32" cy="57"/>
              </a:xfrm>
              <a:custGeom>
                <a:avLst/>
                <a:gdLst>
                  <a:gd name="T0" fmla="*/ 28 w 32"/>
                  <a:gd name="T1" fmla="*/ 0 h 55"/>
                  <a:gd name="T2" fmla="*/ 21 w 32"/>
                  <a:gd name="T3" fmla="*/ 0 h 55"/>
                  <a:gd name="T4" fmla="*/ 21 w 32"/>
                  <a:gd name="T5" fmla="*/ 4 h 55"/>
                  <a:gd name="T6" fmla="*/ 21 w 32"/>
                  <a:gd name="T7" fmla="*/ 7 h 55"/>
                  <a:gd name="T8" fmla="*/ 21 w 32"/>
                  <a:gd name="T9" fmla="*/ 11 h 55"/>
                  <a:gd name="T10" fmla="*/ 15 w 32"/>
                  <a:gd name="T11" fmla="*/ 21 h 55"/>
                  <a:gd name="T12" fmla="*/ 6 w 32"/>
                  <a:gd name="T13" fmla="*/ 30 h 55"/>
                  <a:gd name="T14" fmla="*/ 8 w 32"/>
                  <a:gd name="T15" fmla="*/ 37 h 55"/>
                  <a:gd name="T16" fmla="*/ 0 w 32"/>
                  <a:gd name="T17" fmla="*/ 49 h 55"/>
                  <a:gd name="T18" fmla="*/ 8 w 32"/>
                  <a:gd name="T19" fmla="*/ 55 h 55"/>
                  <a:gd name="T20" fmla="*/ 28 w 32"/>
                  <a:gd name="T21" fmla="*/ 26 h 55"/>
                  <a:gd name="T22" fmla="*/ 28 w 32"/>
                  <a:gd name="T23" fmla="*/ 19 h 55"/>
                  <a:gd name="T24" fmla="*/ 32 w 32"/>
                  <a:gd name="T25" fmla="*/ 11 h 55"/>
                  <a:gd name="T26" fmla="*/ 28 w 32"/>
                  <a:gd name="T2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55">
                    <a:moveTo>
                      <a:pt x="28" y="0"/>
                    </a:moveTo>
                    <a:lnTo>
                      <a:pt x="21" y="0"/>
                    </a:lnTo>
                    <a:lnTo>
                      <a:pt x="21" y="4"/>
                    </a:lnTo>
                    <a:lnTo>
                      <a:pt x="21" y="7"/>
                    </a:lnTo>
                    <a:lnTo>
                      <a:pt x="21" y="11"/>
                    </a:lnTo>
                    <a:lnTo>
                      <a:pt x="15" y="21"/>
                    </a:lnTo>
                    <a:lnTo>
                      <a:pt x="6" y="30"/>
                    </a:lnTo>
                    <a:lnTo>
                      <a:pt x="8" y="37"/>
                    </a:lnTo>
                    <a:lnTo>
                      <a:pt x="0" y="49"/>
                    </a:lnTo>
                    <a:lnTo>
                      <a:pt x="8" y="55"/>
                    </a:lnTo>
                    <a:lnTo>
                      <a:pt x="28" y="26"/>
                    </a:lnTo>
                    <a:lnTo>
                      <a:pt x="28" y="19"/>
                    </a:lnTo>
                    <a:lnTo>
                      <a:pt x="32" y="11"/>
                    </a:lnTo>
                    <a:lnTo>
                      <a:pt x="28"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79" name="Freeform 474"/>
              <p:cNvSpPr>
                <a:spLocks/>
              </p:cNvSpPr>
              <p:nvPr/>
            </p:nvSpPr>
            <p:spPr bwMode="auto">
              <a:xfrm>
                <a:off x="3759" y="1369"/>
                <a:ext cx="45" cy="81"/>
              </a:xfrm>
              <a:custGeom>
                <a:avLst/>
                <a:gdLst>
                  <a:gd name="T0" fmla="*/ 29 w 44"/>
                  <a:gd name="T1" fmla="*/ 2 h 79"/>
                  <a:gd name="T2" fmla="*/ 25 w 44"/>
                  <a:gd name="T3" fmla="*/ 4 h 79"/>
                  <a:gd name="T4" fmla="*/ 17 w 44"/>
                  <a:gd name="T5" fmla="*/ 0 h 79"/>
                  <a:gd name="T6" fmla="*/ 4 w 44"/>
                  <a:gd name="T7" fmla="*/ 2 h 79"/>
                  <a:gd name="T8" fmla="*/ 4 w 44"/>
                  <a:gd name="T9" fmla="*/ 20 h 79"/>
                  <a:gd name="T10" fmla="*/ 11 w 44"/>
                  <a:gd name="T11" fmla="*/ 22 h 79"/>
                  <a:gd name="T12" fmla="*/ 11 w 44"/>
                  <a:gd name="T13" fmla="*/ 15 h 79"/>
                  <a:gd name="T14" fmla="*/ 23 w 44"/>
                  <a:gd name="T15" fmla="*/ 28 h 79"/>
                  <a:gd name="T16" fmla="*/ 19 w 44"/>
                  <a:gd name="T17" fmla="*/ 39 h 79"/>
                  <a:gd name="T18" fmla="*/ 10 w 44"/>
                  <a:gd name="T19" fmla="*/ 46 h 79"/>
                  <a:gd name="T20" fmla="*/ 6 w 44"/>
                  <a:gd name="T21" fmla="*/ 62 h 79"/>
                  <a:gd name="T22" fmla="*/ 0 w 44"/>
                  <a:gd name="T23" fmla="*/ 70 h 79"/>
                  <a:gd name="T24" fmla="*/ 8 w 44"/>
                  <a:gd name="T25" fmla="*/ 79 h 79"/>
                  <a:gd name="T26" fmla="*/ 31 w 44"/>
                  <a:gd name="T27" fmla="*/ 64 h 79"/>
                  <a:gd name="T28" fmla="*/ 23 w 44"/>
                  <a:gd name="T29" fmla="*/ 53 h 79"/>
                  <a:gd name="T30" fmla="*/ 29 w 44"/>
                  <a:gd name="T31" fmla="*/ 35 h 79"/>
                  <a:gd name="T32" fmla="*/ 42 w 44"/>
                  <a:gd name="T33" fmla="*/ 26 h 79"/>
                  <a:gd name="T34" fmla="*/ 44 w 44"/>
                  <a:gd name="T35" fmla="*/ 13 h 79"/>
                  <a:gd name="T36" fmla="*/ 29 w 44"/>
                  <a:gd name="T37"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79">
                    <a:moveTo>
                      <a:pt x="29" y="2"/>
                    </a:moveTo>
                    <a:lnTo>
                      <a:pt x="25" y="4"/>
                    </a:lnTo>
                    <a:lnTo>
                      <a:pt x="17" y="0"/>
                    </a:lnTo>
                    <a:lnTo>
                      <a:pt x="4" y="2"/>
                    </a:lnTo>
                    <a:lnTo>
                      <a:pt x="4" y="20"/>
                    </a:lnTo>
                    <a:lnTo>
                      <a:pt x="11" y="22"/>
                    </a:lnTo>
                    <a:lnTo>
                      <a:pt x="11" y="15"/>
                    </a:lnTo>
                    <a:lnTo>
                      <a:pt x="23" y="28"/>
                    </a:lnTo>
                    <a:lnTo>
                      <a:pt x="19" y="39"/>
                    </a:lnTo>
                    <a:lnTo>
                      <a:pt x="10" y="46"/>
                    </a:lnTo>
                    <a:lnTo>
                      <a:pt x="6" y="62"/>
                    </a:lnTo>
                    <a:lnTo>
                      <a:pt x="0" y="70"/>
                    </a:lnTo>
                    <a:lnTo>
                      <a:pt x="8" y="79"/>
                    </a:lnTo>
                    <a:lnTo>
                      <a:pt x="31" y="64"/>
                    </a:lnTo>
                    <a:lnTo>
                      <a:pt x="23" y="53"/>
                    </a:lnTo>
                    <a:lnTo>
                      <a:pt x="29" y="35"/>
                    </a:lnTo>
                    <a:lnTo>
                      <a:pt x="42" y="26"/>
                    </a:lnTo>
                    <a:lnTo>
                      <a:pt x="44" y="13"/>
                    </a:lnTo>
                    <a:lnTo>
                      <a:pt x="29" y="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80" name="Freeform 475"/>
              <p:cNvSpPr>
                <a:spLocks/>
              </p:cNvSpPr>
              <p:nvPr/>
            </p:nvSpPr>
            <p:spPr bwMode="auto">
              <a:xfrm>
                <a:off x="3785" y="1413"/>
                <a:ext cx="29" cy="49"/>
              </a:xfrm>
              <a:custGeom>
                <a:avLst/>
                <a:gdLst>
                  <a:gd name="T0" fmla="*/ 17 w 27"/>
                  <a:gd name="T1" fmla="*/ 0 h 47"/>
                  <a:gd name="T2" fmla="*/ 27 w 27"/>
                  <a:gd name="T3" fmla="*/ 11 h 47"/>
                  <a:gd name="T4" fmla="*/ 21 w 27"/>
                  <a:gd name="T5" fmla="*/ 23 h 47"/>
                  <a:gd name="T6" fmla="*/ 19 w 27"/>
                  <a:gd name="T7" fmla="*/ 34 h 47"/>
                  <a:gd name="T8" fmla="*/ 6 w 27"/>
                  <a:gd name="T9" fmla="*/ 47 h 47"/>
                  <a:gd name="T10" fmla="*/ 0 w 27"/>
                  <a:gd name="T11" fmla="*/ 38 h 47"/>
                  <a:gd name="T12" fmla="*/ 6 w 27"/>
                  <a:gd name="T13" fmla="*/ 21 h 47"/>
                  <a:gd name="T14" fmla="*/ 17 w 27"/>
                  <a:gd name="T15" fmla="*/ 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47">
                    <a:moveTo>
                      <a:pt x="17" y="0"/>
                    </a:moveTo>
                    <a:lnTo>
                      <a:pt x="27" y="11"/>
                    </a:lnTo>
                    <a:lnTo>
                      <a:pt x="21" y="23"/>
                    </a:lnTo>
                    <a:lnTo>
                      <a:pt x="19" y="34"/>
                    </a:lnTo>
                    <a:lnTo>
                      <a:pt x="6" y="47"/>
                    </a:lnTo>
                    <a:lnTo>
                      <a:pt x="0" y="38"/>
                    </a:lnTo>
                    <a:lnTo>
                      <a:pt x="6" y="21"/>
                    </a:lnTo>
                    <a:lnTo>
                      <a:pt x="17"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81" name="Freeform 476"/>
              <p:cNvSpPr>
                <a:spLocks/>
              </p:cNvSpPr>
              <p:nvPr/>
            </p:nvSpPr>
            <p:spPr bwMode="auto">
              <a:xfrm>
                <a:off x="3834" y="1369"/>
                <a:ext cx="29" cy="71"/>
              </a:xfrm>
              <a:custGeom>
                <a:avLst/>
                <a:gdLst>
                  <a:gd name="T0" fmla="*/ 13 w 28"/>
                  <a:gd name="T1" fmla="*/ 0 h 70"/>
                  <a:gd name="T2" fmla="*/ 26 w 28"/>
                  <a:gd name="T3" fmla="*/ 13 h 70"/>
                  <a:gd name="T4" fmla="*/ 24 w 28"/>
                  <a:gd name="T5" fmla="*/ 22 h 70"/>
                  <a:gd name="T6" fmla="*/ 19 w 28"/>
                  <a:gd name="T7" fmla="*/ 29 h 70"/>
                  <a:gd name="T8" fmla="*/ 26 w 28"/>
                  <a:gd name="T9" fmla="*/ 48 h 70"/>
                  <a:gd name="T10" fmla="*/ 28 w 28"/>
                  <a:gd name="T11" fmla="*/ 57 h 70"/>
                  <a:gd name="T12" fmla="*/ 21 w 28"/>
                  <a:gd name="T13" fmla="*/ 68 h 70"/>
                  <a:gd name="T14" fmla="*/ 9 w 28"/>
                  <a:gd name="T15" fmla="*/ 70 h 70"/>
                  <a:gd name="T16" fmla="*/ 0 w 28"/>
                  <a:gd name="T17" fmla="*/ 55 h 70"/>
                  <a:gd name="T18" fmla="*/ 6 w 28"/>
                  <a:gd name="T19" fmla="*/ 42 h 70"/>
                  <a:gd name="T20" fmla="*/ 13 w 28"/>
                  <a:gd name="T21" fmla="*/ 29 h 70"/>
                  <a:gd name="T22" fmla="*/ 13 w 28"/>
                  <a:gd name="T23" fmla="*/ 15 h 70"/>
                  <a:gd name="T24" fmla="*/ 13 w 28"/>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0">
                    <a:moveTo>
                      <a:pt x="13" y="0"/>
                    </a:moveTo>
                    <a:lnTo>
                      <a:pt x="26" y="13"/>
                    </a:lnTo>
                    <a:lnTo>
                      <a:pt x="24" y="22"/>
                    </a:lnTo>
                    <a:lnTo>
                      <a:pt x="19" y="29"/>
                    </a:lnTo>
                    <a:lnTo>
                      <a:pt x="26" y="48"/>
                    </a:lnTo>
                    <a:lnTo>
                      <a:pt x="28" y="57"/>
                    </a:lnTo>
                    <a:lnTo>
                      <a:pt x="21" y="68"/>
                    </a:lnTo>
                    <a:lnTo>
                      <a:pt x="9" y="70"/>
                    </a:lnTo>
                    <a:lnTo>
                      <a:pt x="0" y="55"/>
                    </a:lnTo>
                    <a:lnTo>
                      <a:pt x="6" y="42"/>
                    </a:lnTo>
                    <a:lnTo>
                      <a:pt x="13" y="29"/>
                    </a:lnTo>
                    <a:lnTo>
                      <a:pt x="13" y="15"/>
                    </a:lnTo>
                    <a:lnTo>
                      <a:pt x="13"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82" name="Freeform 477"/>
              <p:cNvSpPr>
                <a:spLocks/>
              </p:cNvSpPr>
              <p:nvPr/>
            </p:nvSpPr>
            <p:spPr bwMode="auto">
              <a:xfrm>
                <a:off x="3891" y="1259"/>
                <a:ext cx="154" cy="203"/>
              </a:xfrm>
              <a:custGeom>
                <a:avLst/>
                <a:gdLst>
                  <a:gd name="T0" fmla="*/ 44 w 152"/>
                  <a:gd name="T1" fmla="*/ 2 h 199"/>
                  <a:gd name="T2" fmla="*/ 28 w 152"/>
                  <a:gd name="T3" fmla="*/ 19 h 199"/>
                  <a:gd name="T4" fmla="*/ 20 w 152"/>
                  <a:gd name="T5" fmla="*/ 7 h 199"/>
                  <a:gd name="T6" fmla="*/ 19 w 152"/>
                  <a:gd name="T7" fmla="*/ 0 h 199"/>
                  <a:gd name="T8" fmla="*/ 6 w 152"/>
                  <a:gd name="T9" fmla="*/ 2 h 199"/>
                  <a:gd name="T10" fmla="*/ 0 w 152"/>
                  <a:gd name="T11" fmla="*/ 15 h 199"/>
                  <a:gd name="T12" fmla="*/ 11 w 152"/>
                  <a:gd name="T13" fmla="*/ 31 h 199"/>
                  <a:gd name="T14" fmla="*/ 13 w 152"/>
                  <a:gd name="T15" fmla="*/ 50 h 199"/>
                  <a:gd name="T16" fmla="*/ 28 w 152"/>
                  <a:gd name="T17" fmla="*/ 74 h 199"/>
                  <a:gd name="T18" fmla="*/ 41 w 152"/>
                  <a:gd name="T19" fmla="*/ 85 h 199"/>
                  <a:gd name="T20" fmla="*/ 39 w 152"/>
                  <a:gd name="T21" fmla="*/ 93 h 199"/>
                  <a:gd name="T22" fmla="*/ 41 w 152"/>
                  <a:gd name="T23" fmla="*/ 99 h 199"/>
                  <a:gd name="T24" fmla="*/ 41 w 152"/>
                  <a:gd name="T25" fmla="*/ 108 h 199"/>
                  <a:gd name="T26" fmla="*/ 59 w 152"/>
                  <a:gd name="T27" fmla="*/ 108 h 199"/>
                  <a:gd name="T28" fmla="*/ 74 w 152"/>
                  <a:gd name="T29" fmla="*/ 127 h 199"/>
                  <a:gd name="T30" fmla="*/ 72 w 152"/>
                  <a:gd name="T31" fmla="*/ 130 h 199"/>
                  <a:gd name="T32" fmla="*/ 67 w 152"/>
                  <a:gd name="T33" fmla="*/ 143 h 199"/>
                  <a:gd name="T34" fmla="*/ 57 w 152"/>
                  <a:gd name="T35" fmla="*/ 142 h 199"/>
                  <a:gd name="T36" fmla="*/ 44 w 152"/>
                  <a:gd name="T37" fmla="*/ 140 h 199"/>
                  <a:gd name="T38" fmla="*/ 35 w 152"/>
                  <a:gd name="T39" fmla="*/ 147 h 199"/>
                  <a:gd name="T40" fmla="*/ 39 w 152"/>
                  <a:gd name="T41" fmla="*/ 162 h 199"/>
                  <a:gd name="T42" fmla="*/ 48 w 152"/>
                  <a:gd name="T43" fmla="*/ 182 h 199"/>
                  <a:gd name="T44" fmla="*/ 72 w 152"/>
                  <a:gd name="T45" fmla="*/ 199 h 199"/>
                  <a:gd name="T46" fmla="*/ 93 w 152"/>
                  <a:gd name="T47" fmla="*/ 184 h 199"/>
                  <a:gd name="T48" fmla="*/ 91 w 152"/>
                  <a:gd name="T49" fmla="*/ 169 h 199"/>
                  <a:gd name="T50" fmla="*/ 89 w 152"/>
                  <a:gd name="T51" fmla="*/ 158 h 199"/>
                  <a:gd name="T52" fmla="*/ 91 w 152"/>
                  <a:gd name="T53" fmla="*/ 145 h 199"/>
                  <a:gd name="T54" fmla="*/ 100 w 152"/>
                  <a:gd name="T55" fmla="*/ 147 h 199"/>
                  <a:gd name="T56" fmla="*/ 108 w 152"/>
                  <a:gd name="T57" fmla="*/ 136 h 199"/>
                  <a:gd name="T58" fmla="*/ 119 w 152"/>
                  <a:gd name="T59" fmla="*/ 134 h 199"/>
                  <a:gd name="T60" fmla="*/ 130 w 152"/>
                  <a:gd name="T61" fmla="*/ 119 h 199"/>
                  <a:gd name="T62" fmla="*/ 115 w 152"/>
                  <a:gd name="T63" fmla="*/ 105 h 199"/>
                  <a:gd name="T64" fmla="*/ 104 w 152"/>
                  <a:gd name="T65" fmla="*/ 116 h 199"/>
                  <a:gd name="T66" fmla="*/ 100 w 152"/>
                  <a:gd name="T67" fmla="*/ 119 h 199"/>
                  <a:gd name="T68" fmla="*/ 89 w 152"/>
                  <a:gd name="T69" fmla="*/ 106 h 199"/>
                  <a:gd name="T70" fmla="*/ 96 w 152"/>
                  <a:gd name="T71" fmla="*/ 97 h 199"/>
                  <a:gd name="T72" fmla="*/ 104 w 152"/>
                  <a:gd name="T73" fmla="*/ 105 h 199"/>
                  <a:gd name="T74" fmla="*/ 113 w 152"/>
                  <a:gd name="T75" fmla="*/ 93 h 199"/>
                  <a:gd name="T76" fmla="*/ 126 w 152"/>
                  <a:gd name="T77" fmla="*/ 92 h 199"/>
                  <a:gd name="T78" fmla="*/ 132 w 152"/>
                  <a:gd name="T79" fmla="*/ 108 h 199"/>
                  <a:gd name="T80" fmla="*/ 143 w 152"/>
                  <a:gd name="T81" fmla="*/ 112 h 199"/>
                  <a:gd name="T82" fmla="*/ 152 w 152"/>
                  <a:gd name="T83" fmla="*/ 101 h 199"/>
                  <a:gd name="T84" fmla="*/ 130 w 152"/>
                  <a:gd name="T85" fmla="*/ 78 h 199"/>
                  <a:gd name="T86" fmla="*/ 133 w 152"/>
                  <a:gd name="T87" fmla="*/ 69 h 199"/>
                  <a:gd name="T88" fmla="*/ 126 w 152"/>
                  <a:gd name="T89" fmla="*/ 67 h 199"/>
                  <a:gd name="T90" fmla="*/ 133 w 152"/>
                  <a:gd name="T91" fmla="*/ 50 h 199"/>
                  <a:gd name="T92" fmla="*/ 122 w 152"/>
                  <a:gd name="T93" fmla="*/ 52 h 199"/>
                  <a:gd name="T94" fmla="*/ 98 w 152"/>
                  <a:gd name="T95" fmla="*/ 61 h 199"/>
                  <a:gd name="T96" fmla="*/ 98 w 152"/>
                  <a:gd name="T97" fmla="*/ 81 h 199"/>
                  <a:gd name="T98" fmla="*/ 89 w 152"/>
                  <a:gd name="T99" fmla="*/ 76 h 199"/>
                  <a:gd name="T100" fmla="*/ 80 w 152"/>
                  <a:gd name="T101" fmla="*/ 83 h 199"/>
                  <a:gd name="T102" fmla="*/ 61 w 152"/>
                  <a:gd name="T103" fmla="*/ 80 h 199"/>
                  <a:gd name="T104" fmla="*/ 57 w 152"/>
                  <a:gd name="T105" fmla="*/ 67 h 199"/>
                  <a:gd name="T106" fmla="*/ 52 w 152"/>
                  <a:gd name="T107" fmla="*/ 52 h 199"/>
                  <a:gd name="T108" fmla="*/ 65 w 152"/>
                  <a:gd name="T109" fmla="*/ 63 h 199"/>
                  <a:gd name="T110" fmla="*/ 80 w 152"/>
                  <a:gd name="T111" fmla="*/ 56 h 199"/>
                  <a:gd name="T112" fmla="*/ 82 w 152"/>
                  <a:gd name="T113" fmla="*/ 52 h 199"/>
                  <a:gd name="T114" fmla="*/ 80 w 152"/>
                  <a:gd name="T115" fmla="*/ 41 h 199"/>
                  <a:gd name="T116" fmla="*/ 63 w 152"/>
                  <a:gd name="T117" fmla="*/ 31 h 199"/>
                  <a:gd name="T118" fmla="*/ 54 w 152"/>
                  <a:gd name="T119" fmla="*/ 28 h 199"/>
                  <a:gd name="T120" fmla="*/ 57 w 152"/>
                  <a:gd name="T121" fmla="*/ 17 h 199"/>
                  <a:gd name="T122" fmla="*/ 57 w 152"/>
                  <a:gd name="T123" fmla="*/ 6 h 199"/>
                  <a:gd name="T124" fmla="*/ 44 w 152"/>
                  <a:gd name="T125" fmla="*/ 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99">
                    <a:moveTo>
                      <a:pt x="44" y="2"/>
                    </a:moveTo>
                    <a:lnTo>
                      <a:pt x="28" y="19"/>
                    </a:lnTo>
                    <a:lnTo>
                      <a:pt x="20" y="7"/>
                    </a:lnTo>
                    <a:lnTo>
                      <a:pt x="19" y="0"/>
                    </a:lnTo>
                    <a:lnTo>
                      <a:pt x="6" y="2"/>
                    </a:lnTo>
                    <a:lnTo>
                      <a:pt x="0" y="15"/>
                    </a:lnTo>
                    <a:lnTo>
                      <a:pt x="11" y="31"/>
                    </a:lnTo>
                    <a:lnTo>
                      <a:pt x="13" y="50"/>
                    </a:lnTo>
                    <a:lnTo>
                      <a:pt x="28" y="74"/>
                    </a:lnTo>
                    <a:lnTo>
                      <a:pt x="41" y="85"/>
                    </a:lnTo>
                    <a:lnTo>
                      <a:pt x="39" y="93"/>
                    </a:lnTo>
                    <a:lnTo>
                      <a:pt x="41" y="99"/>
                    </a:lnTo>
                    <a:lnTo>
                      <a:pt x="41" y="108"/>
                    </a:lnTo>
                    <a:lnTo>
                      <a:pt x="59" y="108"/>
                    </a:lnTo>
                    <a:lnTo>
                      <a:pt x="74" y="127"/>
                    </a:lnTo>
                    <a:lnTo>
                      <a:pt x="72" y="130"/>
                    </a:lnTo>
                    <a:lnTo>
                      <a:pt x="67" y="143"/>
                    </a:lnTo>
                    <a:lnTo>
                      <a:pt x="57" y="142"/>
                    </a:lnTo>
                    <a:lnTo>
                      <a:pt x="44" y="140"/>
                    </a:lnTo>
                    <a:lnTo>
                      <a:pt x="35" y="147"/>
                    </a:lnTo>
                    <a:lnTo>
                      <a:pt x="39" y="162"/>
                    </a:lnTo>
                    <a:lnTo>
                      <a:pt x="48" y="182"/>
                    </a:lnTo>
                    <a:lnTo>
                      <a:pt x="72" y="199"/>
                    </a:lnTo>
                    <a:lnTo>
                      <a:pt x="93" y="184"/>
                    </a:lnTo>
                    <a:lnTo>
                      <a:pt x="91" y="169"/>
                    </a:lnTo>
                    <a:lnTo>
                      <a:pt x="89" y="158"/>
                    </a:lnTo>
                    <a:lnTo>
                      <a:pt x="91" y="145"/>
                    </a:lnTo>
                    <a:lnTo>
                      <a:pt x="100" y="147"/>
                    </a:lnTo>
                    <a:lnTo>
                      <a:pt x="108" y="136"/>
                    </a:lnTo>
                    <a:lnTo>
                      <a:pt x="119" y="134"/>
                    </a:lnTo>
                    <a:lnTo>
                      <a:pt x="130" y="119"/>
                    </a:lnTo>
                    <a:lnTo>
                      <a:pt x="115" y="105"/>
                    </a:lnTo>
                    <a:lnTo>
                      <a:pt x="104" y="116"/>
                    </a:lnTo>
                    <a:lnTo>
                      <a:pt x="100" y="119"/>
                    </a:lnTo>
                    <a:lnTo>
                      <a:pt x="89" y="106"/>
                    </a:lnTo>
                    <a:lnTo>
                      <a:pt x="96" y="97"/>
                    </a:lnTo>
                    <a:lnTo>
                      <a:pt x="104" y="105"/>
                    </a:lnTo>
                    <a:lnTo>
                      <a:pt x="113" y="93"/>
                    </a:lnTo>
                    <a:lnTo>
                      <a:pt x="126" y="92"/>
                    </a:lnTo>
                    <a:lnTo>
                      <a:pt x="132" y="108"/>
                    </a:lnTo>
                    <a:lnTo>
                      <a:pt x="143" y="112"/>
                    </a:lnTo>
                    <a:lnTo>
                      <a:pt x="152" y="101"/>
                    </a:lnTo>
                    <a:lnTo>
                      <a:pt x="130" y="78"/>
                    </a:lnTo>
                    <a:lnTo>
                      <a:pt x="133" y="69"/>
                    </a:lnTo>
                    <a:lnTo>
                      <a:pt x="126" y="67"/>
                    </a:lnTo>
                    <a:lnTo>
                      <a:pt x="133" y="50"/>
                    </a:lnTo>
                    <a:lnTo>
                      <a:pt x="122" y="52"/>
                    </a:lnTo>
                    <a:lnTo>
                      <a:pt x="98" y="61"/>
                    </a:lnTo>
                    <a:lnTo>
                      <a:pt x="98" y="81"/>
                    </a:lnTo>
                    <a:lnTo>
                      <a:pt x="89" y="76"/>
                    </a:lnTo>
                    <a:lnTo>
                      <a:pt x="80" y="83"/>
                    </a:lnTo>
                    <a:lnTo>
                      <a:pt x="61" y="80"/>
                    </a:lnTo>
                    <a:lnTo>
                      <a:pt x="57" y="67"/>
                    </a:lnTo>
                    <a:lnTo>
                      <a:pt x="52" y="52"/>
                    </a:lnTo>
                    <a:lnTo>
                      <a:pt x="65" y="63"/>
                    </a:lnTo>
                    <a:lnTo>
                      <a:pt x="80" y="56"/>
                    </a:lnTo>
                    <a:lnTo>
                      <a:pt x="82" y="52"/>
                    </a:lnTo>
                    <a:lnTo>
                      <a:pt x="80" y="41"/>
                    </a:lnTo>
                    <a:lnTo>
                      <a:pt x="63" y="31"/>
                    </a:lnTo>
                    <a:lnTo>
                      <a:pt x="54" y="28"/>
                    </a:lnTo>
                    <a:lnTo>
                      <a:pt x="57" y="17"/>
                    </a:lnTo>
                    <a:lnTo>
                      <a:pt x="57" y="6"/>
                    </a:lnTo>
                    <a:lnTo>
                      <a:pt x="44" y="2"/>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83" name="Freeform 478"/>
              <p:cNvSpPr>
                <a:spLocks/>
              </p:cNvSpPr>
              <p:nvPr/>
            </p:nvSpPr>
            <p:spPr bwMode="auto">
              <a:xfrm>
                <a:off x="3870" y="1367"/>
                <a:ext cx="51" cy="50"/>
              </a:xfrm>
              <a:custGeom>
                <a:avLst/>
                <a:gdLst>
                  <a:gd name="T0" fmla="*/ 44 w 49"/>
                  <a:gd name="T1" fmla="*/ 0 h 50"/>
                  <a:gd name="T2" fmla="*/ 49 w 49"/>
                  <a:gd name="T3" fmla="*/ 6 h 50"/>
                  <a:gd name="T4" fmla="*/ 49 w 49"/>
                  <a:gd name="T5" fmla="*/ 17 h 50"/>
                  <a:gd name="T6" fmla="*/ 47 w 49"/>
                  <a:gd name="T7" fmla="*/ 26 h 50"/>
                  <a:gd name="T8" fmla="*/ 24 w 49"/>
                  <a:gd name="T9" fmla="*/ 43 h 50"/>
                  <a:gd name="T10" fmla="*/ 11 w 49"/>
                  <a:gd name="T11" fmla="*/ 50 h 50"/>
                  <a:gd name="T12" fmla="*/ 0 w 49"/>
                  <a:gd name="T13" fmla="*/ 39 h 50"/>
                  <a:gd name="T14" fmla="*/ 9 w 49"/>
                  <a:gd name="T15" fmla="*/ 24 h 50"/>
                  <a:gd name="T16" fmla="*/ 20 w 49"/>
                  <a:gd name="T17" fmla="*/ 17 h 50"/>
                  <a:gd name="T18" fmla="*/ 44 w 49"/>
                  <a:gd name="T1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50">
                    <a:moveTo>
                      <a:pt x="44" y="0"/>
                    </a:moveTo>
                    <a:lnTo>
                      <a:pt x="49" y="6"/>
                    </a:lnTo>
                    <a:lnTo>
                      <a:pt x="49" y="17"/>
                    </a:lnTo>
                    <a:lnTo>
                      <a:pt x="47" y="26"/>
                    </a:lnTo>
                    <a:lnTo>
                      <a:pt x="24" y="43"/>
                    </a:lnTo>
                    <a:lnTo>
                      <a:pt x="11" y="50"/>
                    </a:lnTo>
                    <a:lnTo>
                      <a:pt x="0" y="39"/>
                    </a:lnTo>
                    <a:lnTo>
                      <a:pt x="9" y="24"/>
                    </a:lnTo>
                    <a:lnTo>
                      <a:pt x="20" y="17"/>
                    </a:lnTo>
                    <a:lnTo>
                      <a:pt x="44" y="0"/>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grpSp>
        <p:sp>
          <p:nvSpPr>
            <p:cNvPr id="359" name="Freeform 479"/>
            <p:cNvSpPr>
              <a:spLocks/>
            </p:cNvSpPr>
            <p:nvPr/>
          </p:nvSpPr>
          <p:spPr bwMode="auto">
            <a:xfrm>
              <a:off x="3686" y="3059"/>
              <a:ext cx="166" cy="108"/>
            </a:xfrm>
            <a:custGeom>
              <a:avLst/>
              <a:gdLst>
                <a:gd name="T0" fmla="*/ 6 w 162"/>
                <a:gd name="T1" fmla="*/ 33 h 110"/>
                <a:gd name="T2" fmla="*/ 34 w 162"/>
                <a:gd name="T3" fmla="*/ 14 h 110"/>
                <a:gd name="T4" fmla="*/ 52 w 162"/>
                <a:gd name="T5" fmla="*/ 11 h 110"/>
                <a:gd name="T6" fmla="*/ 70 w 162"/>
                <a:gd name="T7" fmla="*/ 6 h 110"/>
                <a:gd name="T8" fmla="*/ 85 w 162"/>
                <a:gd name="T9" fmla="*/ 6 h 110"/>
                <a:gd name="T10" fmla="*/ 100 w 162"/>
                <a:gd name="T11" fmla="*/ 0 h 110"/>
                <a:gd name="T12" fmla="*/ 126 w 162"/>
                <a:gd name="T13" fmla="*/ 6 h 110"/>
                <a:gd name="T14" fmla="*/ 141 w 162"/>
                <a:gd name="T15" fmla="*/ 5 h 110"/>
                <a:gd name="T16" fmla="*/ 156 w 162"/>
                <a:gd name="T17" fmla="*/ 20 h 110"/>
                <a:gd name="T18" fmla="*/ 154 w 162"/>
                <a:gd name="T19" fmla="*/ 63 h 110"/>
                <a:gd name="T20" fmla="*/ 162 w 162"/>
                <a:gd name="T21" fmla="*/ 68 h 110"/>
                <a:gd name="T22" fmla="*/ 151 w 162"/>
                <a:gd name="T23" fmla="*/ 86 h 110"/>
                <a:gd name="T24" fmla="*/ 115 w 162"/>
                <a:gd name="T25" fmla="*/ 93 h 110"/>
                <a:gd name="T26" fmla="*/ 100 w 162"/>
                <a:gd name="T27" fmla="*/ 89 h 110"/>
                <a:gd name="T28" fmla="*/ 90 w 162"/>
                <a:gd name="T29" fmla="*/ 110 h 110"/>
                <a:gd name="T30" fmla="*/ 63 w 162"/>
                <a:gd name="T31" fmla="*/ 108 h 110"/>
                <a:gd name="T32" fmla="*/ 52 w 162"/>
                <a:gd name="T33" fmla="*/ 105 h 110"/>
                <a:gd name="T34" fmla="*/ 36 w 162"/>
                <a:gd name="T35" fmla="*/ 104 h 110"/>
                <a:gd name="T36" fmla="*/ 27 w 162"/>
                <a:gd name="T37" fmla="*/ 95 h 110"/>
                <a:gd name="T38" fmla="*/ 21 w 162"/>
                <a:gd name="T39" fmla="*/ 98 h 110"/>
                <a:gd name="T40" fmla="*/ 9 w 162"/>
                <a:gd name="T41" fmla="*/ 89 h 110"/>
                <a:gd name="T42" fmla="*/ 0 w 162"/>
                <a:gd name="T43" fmla="*/ 63 h 110"/>
                <a:gd name="T44" fmla="*/ 7 w 162"/>
                <a:gd name="T45" fmla="*/ 50 h 110"/>
                <a:gd name="T46" fmla="*/ 6 w 162"/>
                <a:gd name="T47" fmla="*/ 3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2" h="110">
                  <a:moveTo>
                    <a:pt x="6" y="33"/>
                  </a:moveTo>
                  <a:lnTo>
                    <a:pt x="34" y="14"/>
                  </a:lnTo>
                  <a:lnTo>
                    <a:pt x="52" y="11"/>
                  </a:lnTo>
                  <a:lnTo>
                    <a:pt x="70" y="6"/>
                  </a:lnTo>
                  <a:lnTo>
                    <a:pt x="85" y="6"/>
                  </a:lnTo>
                  <a:lnTo>
                    <a:pt x="100" y="0"/>
                  </a:lnTo>
                  <a:lnTo>
                    <a:pt x="126" y="6"/>
                  </a:lnTo>
                  <a:lnTo>
                    <a:pt x="141" y="5"/>
                  </a:lnTo>
                  <a:lnTo>
                    <a:pt x="156" y="20"/>
                  </a:lnTo>
                  <a:lnTo>
                    <a:pt x="154" y="63"/>
                  </a:lnTo>
                  <a:lnTo>
                    <a:pt x="162" y="68"/>
                  </a:lnTo>
                  <a:lnTo>
                    <a:pt x="151" y="86"/>
                  </a:lnTo>
                  <a:lnTo>
                    <a:pt x="115" y="93"/>
                  </a:lnTo>
                  <a:lnTo>
                    <a:pt x="100" y="89"/>
                  </a:lnTo>
                  <a:lnTo>
                    <a:pt x="90" y="110"/>
                  </a:lnTo>
                  <a:lnTo>
                    <a:pt x="63" y="108"/>
                  </a:lnTo>
                  <a:lnTo>
                    <a:pt x="52" y="105"/>
                  </a:lnTo>
                  <a:lnTo>
                    <a:pt x="36" y="104"/>
                  </a:lnTo>
                  <a:lnTo>
                    <a:pt x="27" y="95"/>
                  </a:lnTo>
                  <a:lnTo>
                    <a:pt x="21" y="98"/>
                  </a:lnTo>
                  <a:lnTo>
                    <a:pt x="9" y="89"/>
                  </a:lnTo>
                  <a:lnTo>
                    <a:pt x="0" y="63"/>
                  </a:lnTo>
                  <a:lnTo>
                    <a:pt x="7" y="50"/>
                  </a:lnTo>
                  <a:lnTo>
                    <a:pt x="6" y="33"/>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0" name="Freeform 481"/>
            <p:cNvSpPr>
              <a:spLocks/>
            </p:cNvSpPr>
            <p:nvPr/>
          </p:nvSpPr>
          <p:spPr bwMode="auto">
            <a:xfrm>
              <a:off x="4055" y="2523"/>
              <a:ext cx="236" cy="235"/>
            </a:xfrm>
            <a:custGeom>
              <a:avLst/>
              <a:gdLst>
                <a:gd name="T0" fmla="*/ 121 w 226"/>
                <a:gd name="T1" fmla="*/ 249 h 249"/>
                <a:gd name="T2" fmla="*/ 108 w 226"/>
                <a:gd name="T3" fmla="*/ 235 h 249"/>
                <a:gd name="T4" fmla="*/ 105 w 226"/>
                <a:gd name="T5" fmla="*/ 202 h 249"/>
                <a:gd name="T6" fmla="*/ 91 w 226"/>
                <a:gd name="T7" fmla="*/ 178 h 249"/>
                <a:gd name="T8" fmla="*/ 90 w 226"/>
                <a:gd name="T9" fmla="*/ 157 h 249"/>
                <a:gd name="T10" fmla="*/ 94 w 226"/>
                <a:gd name="T11" fmla="*/ 142 h 249"/>
                <a:gd name="T12" fmla="*/ 82 w 226"/>
                <a:gd name="T13" fmla="*/ 120 h 249"/>
                <a:gd name="T14" fmla="*/ 67 w 226"/>
                <a:gd name="T15" fmla="*/ 103 h 249"/>
                <a:gd name="T16" fmla="*/ 61 w 226"/>
                <a:gd name="T17" fmla="*/ 85 h 249"/>
                <a:gd name="T18" fmla="*/ 58 w 226"/>
                <a:gd name="T19" fmla="*/ 73 h 249"/>
                <a:gd name="T20" fmla="*/ 40 w 226"/>
                <a:gd name="T21" fmla="*/ 61 h 249"/>
                <a:gd name="T22" fmla="*/ 30 w 226"/>
                <a:gd name="T23" fmla="*/ 45 h 249"/>
                <a:gd name="T24" fmla="*/ 19 w 226"/>
                <a:gd name="T25" fmla="*/ 27 h 249"/>
                <a:gd name="T26" fmla="*/ 0 w 226"/>
                <a:gd name="T27" fmla="*/ 15 h 249"/>
                <a:gd name="T28" fmla="*/ 30 w 226"/>
                <a:gd name="T29" fmla="*/ 0 h 249"/>
                <a:gd name="T30" fmla="*/ 54 w 226"/>
                <a:gd name="T31" fmla="*/ 3 h 249"/>
                <a:gd name="T32" fmla="*/ 69 w 226"/>
                <a:gd name="T33" fmla="*/ 6 h 249"/>
                <a:gd name="T34" fmla="*/ 108 w 226"/>
                <a:gd name="T35" fmla="*/ 34 h 249"/>
                <a:gd name="T36" fmla="*/ 117 w 226"/>
                <a:gd name="T37" fmla="*/ 39 h 249"/>
                <a:gd name="T38" fmla="*/ 145 w 226"/>
                <a:gd name="T39" fmla="*/ 45 h 249"/>
                <a:gd name="T40" fmla="*/ 162 w 226"/>
                <a:gd name="T41" fmla="*/ 69 h 249"/>
                <a:gd name="T42" fmla="*/ 154 w 226"/>
                <a:gd name="T43" fmla="*/ 87 h 249"/>
                <a:gd name="T44" fmla="*/ 165 w 226"/>
                <a:gd name="T45" fmla="*/ 111 h 249"/>
                <a:gd name="T46" fmla="*/ 193 w 226"/>
                <a:gd name="T47" fmla="*/ 129 h 249"/>
                <a:gd name="T48" fmla="*/ 203 w 226"/>
                <a:gd name="T49" fmla="*/ 144 h 249"/>
                <a:gd name="T50" fmla="*/ 220 w 226"/>
                <a:gd name="T51" fmla="*/ 150 h 249"/>
                <a:gd name="T52" fmla="*/ 226 w 226"/>
                <a:gd name="T53" fmla="*/ 151 h 249"/>
                <a:gd name="T54" fmla="*/ 215 w 226"/>
                <a:gd name="T55" fmla="*/ 159 h 249"/>
                <a:gd name="T56" fmla="*/ 187 w 226"/>
                <a:gd name="T57" fmla="*/ 159 h 249"/>
                <a:gd name="T58" fmla="*/ 162 w 226"/>
                <a:gd name="T59" fmla="*/ 157 h 249"/>
                <a:gd name="T60" fmla="*/ 151 w 226"/>
                <a:gd name="T61" fmla="*/ 162 h 249"/>
                <a:gd name="T62" fmla="*/ 154 w 226"/>
                <a:gd name="T63" fmla="*/ 189 h 249"/>
                <a:gd name="T64" fmla="*/ 150 w 226"/>
                <a:gd name="T65" fmla="*/ 210 h 249"/>
                <a:gd name="T66" fmla="*/ 126 w 226"/>
                <a:gd name="T67" fmla="*/ 235 h 249"/>
                <a:gd name="T68" fmla="*/ 121 w 226"/>
                <a:gd name="T69"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6" h="249">
                  <a:moveTo>
                    <a:pt x="121" y="249"/>
                  </a:moveTo>
                  <a:lnTo>
                    <a:pt x="108" y="235"/>
                  </a:lnTo>
                  <a:lnTo>
                    <a:pt x="105" y="202"/>
                  </a:lnTo>
                  <a:lnTo>
                    <a:pt x="91" y="178"/>
                  </a:lnTo>
                  <a:lnTo>
                    <a:pt x="90" y="157"/>
                  </a:lnTo>
                  <a:lnTo>
                    <a:pt x="94" y="142"/>
                  </a:lnTo>
                  <a:lnTo>
                    <a:pt x="82" y="120"/>
                  </a:lnTo>
                  <a:lnTo>
                    <a:pt x="67" y="103"/>
                  </a:lnTo>
                  <a:lnTo>
                    <a:pt x="61" y="85"/>
                  </a:lnTo>
                  <a:lnTo>
                    <a:pt x="58" y="73"/>
                  </a:lnTo>
                  <a:lnTo>
                    <a:pt x="40" y="61"/>
                  </a:lnTo>
                  <a:lnTo>
                    <a:pt x="30" y="45"/>
                  </a:lnTo>
                  <a:lnTo>
                    <a:pt x="19" y="27"/>
                  </a:lnTo>
                  <a:lnTo>
                    <a:pt x="0" y="15"/>
                  </a:lnTo>
                  <a:lnTo>
                    <a:pt x="30" y="0"/>
                  </a:lnTo>
                  <a:lnTo>
                    <a:pt x="54" y="3"/>
                  </a:lnTo>
                  <a:lnTo>
                    <a:pt x="69" y="6"/>
                  </a:lnTo>
                  <a:lnTo>
                    <a:pt x="108" y="34"/>
                  </a:lnTo>
                  <a:lnTo>
                    <a:pt x="117" y="39"/>
                  </a:lnTo>
                  <a:lnTo>
                    <a:pt x="145" y="45"/>
                  </a:lnTo>
                  <a:lnTo>
                    <a:pt x="162" y="69"/>
                  </a:lnTo>
                  <a:lnTo>
                    <a:pt x="154" y="87"/>
                  </a:lnTo>
                  <a:lnTo>
                    <a:pt x="165" y="111"/>
                  </a:lnTo>
                  <a:lnTo>
                    <a:pt x="193" y="129"/>
                  </a:lnTo>
                  <a:lnTo>
                    <a:pt x="203" y="144"/>
                  </a:lnTo>
                  <a:lnTo>
                    <a:pt x="220" y="150"/>
                  </a:lnTo>
                  <a:lnTo>
                    <a:pt x="226" y="151"/>
                  </a:lnTo>
                  <a:lnTo>
                    <a:pt x="215" y="159"/>
                  </a:lnTo>
                  <a:lnTo>
                    <a:pt x="187" y="159"/>
                  </a:lnTo>
                  <a:lnTo>
                    <a:pt x="162" y="157"/>
                  </a:lnTo>
                  <a:lnTo>
                    <a:pt x="151" y="162"/>
                  </a:lnTo>
                  <a:lnTo>
                    <a:pt x="154" y="189"/>
                  </a:lnTo>
                  <a:lnTo>
                    <a:pt x="150" y="210"/>
                  </a:lnTo>
                  <a:lnTo>
                    <a:pt x="126" y="235"/>
                  </a:lnTo>
                  <a:lnTo>
                    <a:pt x="121" y="249"/>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1" name="Freeform 482"/>
            <p:cNvSpPr>
              <a:spLocks/>
            </p:cNvSpPr>
            <p:nvPr/>
          </p:nvSpPr>
          <p:spPr bwMode="auto">
            <a:xfrm>
              <a:off x="3688" y="1865"/>
              <a:ext cx="299" cy="215"/>
            </a:xfrm>
            <a:custGeom>
              <a:avLst/>
              <a:gdLst>
                <a:gd name="T0" fmla="*/ 2 w 287"/>
                <a:gd name="T1" fmla="*/ 24 h 225"/>
                <a:gd name="T2" fmla="*/ 0 w 287"/>
                <a:gd name="T3" fmla="*/ 31 h 225"/>
                <a:gd name="T4" fmla="*/ 4 w 287"/>
                <a:gd name="T5" fmla="*/ 58 h 225"/>
                <a:gd name="T6" fmla="*/ 17 w 287"/>
                <a:gd name="T7" fmla="*/ 97 h 225"/>
                <a:gd name="T8" fmla="*/ 28 w 287"/>
                <a:gd name="T9" fmla="*/ 108 h 225"/>
                <a:gd name="T10" fmla="*/ 54 w 287"/>
                <a:gd name="T11" fmla="*/ 118 h 225"/>
                <a:gd name="T12" fmla="*/ 65 w 287"/>
                <a:gd name="T13" fmla="*/ 121 h 225"/>
                <a:gd name="T14" fmla="*/ 67 w 287"/>
                <a:gd name="T15" fmla="*/ 134 h 225"/>
                <a:gd name="T16" fmla="*/ 67 w 287"/>
                <a:gd name="T17" fmla="*/ 156 h 225"/>
                <a:gd name="T18" fmla="*/ 93 w 287"/>
                <a:gd name="T19" fmla="*/ 182 h 225"/>
                <a:gd name="T20" fmla="*/ 109 w 287"/>
                <a:gd name="T21" fmla="*/ 190 h 225"/>
                <a:gd name="T22" fmla="*/ 117 w 287"/>
                <a:gd name="T23" fmla="*/ 194 h 225"/>
                <a:gd name="T24" fmla="*/ 139 w 287"/>
                <a:gd name="T25" fmla="*/ 221 h 225"/>
                <a:gd name="T26" fmla="*/ 146 w 287"/>
                <a:gd name="T27" fmla="*/ 216 h 225"/>
                <a:gd name="T28" fmla="*/ 161 w 287"/>
                <a:gd name="T29" fmla="*/ 214 h 225"/>
                <a:gd name="T30" fmla="*/ 178 w 287"/>
                <a:gd name="T31" fmla="*/ 225 h 225"/>
                <a:gd name="T32" fmla="*/ 191 w 287"/>
                <a:gd name="T33" fmla="*/ 218 h 225"/>
                <a:gd name="T34" fmla="*/ 209 w 287"/>
                <a:gd name="T35" fmla="*/ 197 h 225"/>
                <a:gd name="T36" fmla="*/ 222 w 287"/>
                <a:gd name="T37" fmla="*/ 190 h 225"/>
                <a:gd name="T38" fmla="*/ 235 w 287"/>
                <a:gd name="T39" fmla="*/ 195 h 225"/>
                <a:gd name="T40" fmla="*/ 243 w 287"/>
                <a:gd name="T41" fmla="*/ 192 h 225"/>
                <a:gd name="T42" fmla="*/ 244 w 287"/>
                <a:gd name="T43" fmla="*/ 184 h 225"/>
                <a:gd name="T44" fmla="*/ 246 w 287"/>
                <a:gd name="T45" fmla="*/ 142 h 225"/>
                <a:gd name="T46" fmla="*/ 254 w 287"/>
                <a:gd name="T47" fmla="*/ 129 h 225"/>
                <a:gd name="T48" fmla="*/ 254 w 287"/>
                <a:gd name="T49" fmla="*/ 110 h 225"/>
                <a:gd name="T50" fmla="*/ 257 w 287"/>
                <a:gd name="T51" fmla="*/ 103 h 225"/>
                <a:gd name="T52" fmla="*/ 272 w 287"/>
                <a:gd name="T53" fmla="*/ 92 h 225"/>
                <a:gd name="T54" fmla="*/ 287 w 287"/>
                <a:gd name="T55" fmla="*/ 90 h 225"/>
                <a:gd name="T56" fmla="*/ 287 w 287"/>
                <a:gd name="T57" fmla="*/ 69 h 225"/>
                <a:gd name="T58" fmla="*/ 283 w 287"/>
                <a:gd name="T59" fmla="*/ 53 h 225"/>
                <a:gd name="T60" fmla="*/ 272 w 287"/>
                <a:gd name="T61" fmla="*/ 47 h 225"/>
                <a:gd name="T62" fmla="*/ 267 w 287"/>
                <a:gd name="T63" fmla="*/ 49 h 225"/>
                <a:gd name="T64" fmla="*/ 248 w 287"/>
                <a:gd name="T65" fmla="*/ 31 h 225"/>
                <a:gd name="T66" fmla="*/ 237 w 287"/>
                <a:gd name="T67" fmla="*/ 19 h 225"/>
                <a:gd name="T68" fmla="*/ 224 w 287"/>
                <a:gd name="T69" fmla="*/ 19 h 225"/>
                <a:gd name="T70" fmla="*/ 198 w 287"/>
                <a:gd name="T71" fmla="*/ 19 h 225"/>
                <a:gd name="T72" fmla="*/ 193 w 287"/>
                <a:gd name="T73" fmla="*/ 15 h 225"/>
                <a:gd name="T74" fmla="*/ 187 w 287"/>
                <a:gd name="T75" fmla="*/ 2 h 225"/>
                <a:gd name="T76" fmla="*/ 180 w 287"/>
                <a:gd name="T77" fmla="*/ 0 h 225"/>
                <a:gd name="T78" fmla="*/ 157 w 287"/>
                <a:gd name="T79" fmla="*/ 0 h 225"/>
                <a:gd name="T80" fmla="*/ 148 w 287"/>
                <a:gd name="T81" fmla="*/ 11 h 225"/>
                <a:gd name="T82" fmla="*/ 139 w 287"/>
                <a:gd name="T83" fmla="*/ 9 h 225"/>
                <a:gd name="T84" fmla="*/ 124 w 287"/>
                <a:gd name="T85" fmla="*/ 6 h 225"/>
                <a:gd name="T86" fmla="*/ 117 w 287"/>
                <a:gd name="T87" fmla="*/ 4 h 225"/>
                <a:gd name="T88" fmla="*/ 106 w 287"/>
                <a:gd name="T89" fmla="*/ 7 h 225"/>
                <a:gd name="T90" fmla="*/ 98 w 287"/>
                <a:gd name="T91" fmla="*/ 13 h 225"/>
                <a:gd name="T92" fmla="*/ 83 w 287"/>
                <a:gd name="T93" fmla="*/ 7 h 225"/>
                <a:gd name="T94" fmla="*/ 52 w 287"/>
                <a:gd name="T95" fmla="*/ 2 h 225"/>
                <a:gd name="T96" fmla="*/ 44 w 287"/>
                <a:gd name="T97" fmla="*/ 0 h 225"/>
                <a:gd name="T98" fmla="*/ 35 w 287"/>
                <a:gd name="T99" fmla="*/ 7 h 225"/>
                <a:gd name="T100" fmla="*/ 20 w 287"/>
                <a:gd name="T101" fmla="*/ 17 h 225"/>
                <a:gd name="T102" fmla="*/ 2 w 287"/>
                <a:gd name="T103" fmla="*/ 24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7" h="225">
                  <a:moveTo>
                    <a:pt x="2" y="24"/>
                  </a:moveTo>
                  <a:lnTo>
                    <a:pt x="0" y="31"/>
                  </a:lnTo>
                  <a:lnTo>
                    <a:pt x="4" y="58"/>
                  </a:lnTo>
                  <a:lnTo>
                    <a:pt x="17" y="97"/>
                  </a:lnTo>
                  <a:lnTo>
                    <a:pt x="28" y="108"/>
                  </a:lnTo>
                  <a:lnTo>
                    <a:pt x="54" y="118"/>
                  </a:lnTo>
                  <a:lnTo>
                    <a:pt x="65" y="121"/>
                  </a:lnTo>
                  <a:lnTo>
                    <a:pt x="67" y="134"/>
                  </a:lnTo>
                  <a:lnTo>
                    <a:pt x="67" y="156"/>
                  </a:lnTo>
                  <a:lnTo>
                    <a:pt x="93" y="182"/>
                  </a:lnTo>
                  <a:lnTo>
                    <a:pt x="109" y="190"/>
                  </a:lnTo>
                  <a:lnTo>
                    <a:pt x="117" y="194"/>
                  </a:lnTo>
                  <a:lnTo>
                    <a:pt x="139" y="221"/>
                  </a:lnTo>
                  <a:lnTo>
                    <a:pt x="146" y="216"/>
                  </a:lnTo>
                  <a:lnTo>
                    <a:pt x="161" y="214"/>
                  </a:lnTo>
                  <a:lnTo>
                    <a:pt x="178" y="225"/>
                  </a:lnTo>
                  <a:lnTo>
                    <a:pt x="191" y="218"/>
                  </a:lnTo>
                  <a:lnTo>
                    <a:pt x="209" y="197"/>
                  </a:lnTo>
                  <a:lnTo>
                    <a:pt x="222" y="190"/>
                  </a:lnTo>
                  <a:lnTo>
                    <a:pt x="235" y="195"/>
                  </a:lnTo>
                  <a:lnTo>
                    <a:pt x="243" y="192"/>
                  </a:lnTo>
                  <a:lnTo>
                    <a:pt x="244" y="184"/>
                  </a:lnTo>
                  <a:lnTo>
                    <a:pt x="246" y="142"/>
                  </a:lnTo>
                  <a:lnTo>
                    <a:pt x="254" y="129"/>
                  </a:lnTo>
                  <a:lnTo>
                    <a:pt x="254" y="110"/>
                  </a:lnTo>
                  <a:lnTo>
                    <a:pt x="257" y="103"/>
                  </a:lnTo>
                  <a:lnTo>
                    <a:pt x="272" y="92"/>
                  </a:lnTo>
                  <a:lnTo>
                    <a:pt x="287" y="90"/>
                  </a:lnTo>
                  <a:lnTo>
                    <a:pt x="287" y="69"/>
                  </a:lnTo>
                  <a:lnTo>
                    <a:pt x="283" y="53"/>
                  </a:lnTo>
                  <a:lnTo>
                    <a:pt x="272" y="47"/>
                  </a:lnTo>
                  <a:lnTo>
                    <a:pt x="267" y="49"/>
                  </a:lnTo>
                  <a:lnTo>
                    <a:pt x="248" y="31"/>
                  </a:lnTo>
                  <a:lnTo>
                    <a:pt x="237" y="19"/>
                  </a:lnTo>
                  <a:lnTo>
                    <a:pt x="224" y="19"/>
                  </a:lnTo>
                  <a:lnTo>
                    <a:pt x="198" y="19"/>
                  </a:lnTo>
                  <a:lnTo>
                    <a:pt x="193" y="15"/>
                  </a:lnTo>
                  <a:lnTo>
                    <a:pt x="187" y="2"/>
                  </a:lnTo>
                  <a:lnTo>
                    <a:pt x="180" y="0"/>
                  </a:lnTo>
                  <a:lnTo>
                    <a:pt x="157" y="0"/>
                  </a:lnTo>
                  <a:lnTo>
                    <a:pt x="148" y="11"/>
                  </a:lnTo>
                  <a:lnTo>
                    <a:pt x="139" y="9"/>
                  </a:lnTo>
                  <a:lnTo>
                    <a:pt x="124" y="6"/>
                  </a:lnTo>
                  <a:lnTo>
                    <a:pt x="117" y="4"/>
                  </a:lnTo>
                  <a:lnTo>
                    <a:pt x="106" y="7"/>
                  </a:lnTo>
                  <a:lnTo>
                    <a:pt x="98" y="13"/>
                  </a:lnTo>
                  <a:lnTo>
                    <a:pt x="83" y="7"/>
                  </a:lnTo>
                  <a:lnTo>
                    <a:pt x="52" y="2"/>
                  </a:lnTo>
                  <a:lnTo>
                    <a:pt x="44" y="0"/>
                  </a:lnTo>
                  <a:lnTo>
                    <a:pt x="35" y="7"/>
                  </a:lnTo>
                  <a:lnTo>
                    <a:pt x="20" y="17"/>
                  </a:lnTo>
                  <a:lnTo>
                    <a:pt x="2" y="24"/>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2" name="Freeform 483"/>
            <p:cNvSpPr>
              <a:spLocks/>
            </p:cNvSpPr>
            <p:nvPr/>
          </p:nvSpPr>
          <p:spPr bwMode="auto">
            <a:xfrm>
              <a:off x="3709" y="1680"/>
              <a:ext cx="68" cy="63"/>
            </a:xfrm>
            <a:custGeom>
              <a:avLst/>
              <a:gdLst>
                <a:gd name="T0" fmla="*/ 54 w 65"/>
                <a:gd name="T1" fmla="*/ 0 h 67"/>
                <a:gd name="T2" fmla="*/ 32 w 65"/>
                <a:gd name="T3" fmla="*/ 4 h 67"/>
                <a:gd name="T4" fmla="*/ 24 w 65"/>
                <a:gd name="T5" fmla="*/ 0 h 67"/>
                <a:gd name="T6" fmla="*/ 11 w 65"/>
                <a:gd name="T7" fmla="*/ 17 h 67"/>
                <a:gd name="T8" fmla="*/ 6 w 65"/>
                <a:gd name="T9" fmla="*/ 13 h 67"/>
                <a:gd name="T10" fmla="*/ 0 w 65"/>
                <a:gd name="T11" fmla="*/ 24 h 67"/>
                <a:gd name="T12" fmla="*/ 7 w 65"/>
                <a:gd name="T13" fmla="*/ 30 h 67"/>
                <a:gd name="T14" fmla="*/ 7 w 65"/>
                <a:gd name="T15" fmla="*/ 58 h 67"/>
                <a:gd name="T16" fmla="*/ 13 w 65"/>
                <a:gd name="T17" fmla="*/ 67 h 67"/>
                <a:gd name="T18" fmla="*/ 46 w 65"/>
                <a:gd name="T19" fmla="*/ 30 h 67"/>
                <a:gd name="T20" fmla="*/ 59 w 65"/>
                <a:gd name="T21" fmla="*/ 30 h 67"/>
                <a:gd name="T22" fmla="*/ 65 w 65"/>
                <a:gd name="T23" fmla="*/ 20 h 67"/>
                <a:gd name="T24" fmla="*/ 63 w 65"/>
                <a:gd name="T25" fmla="*/ 15 h 67"/>
                <a:gd name="T26" fmla="*/ 54 w 65"/>
                <a:gd name="T2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7">
                  <a:moveTo>
                    <a:pt x="54" y="0"/>
                  </a:moveTo>
                  <a:lnTo>
                    <a:pt x="32" y="4"/>
                  </a:lnTo>
                  <a:lnTo>
                    <a:pt x="24" y="0"/>
                  </a:lnTo>
                  <a:lnTo>
                    <a:pt x="11" y="17"/>
                  </a:lnTo>
                  <a:lnTo>
                    <a:pt x="6" y="13"/>
                  </a:lnTo>
                  <a:lnTo>
                    <a:pt x="0" y="24"/>
                  </a:lnTo>
                  <a:lnTo>
                    <a:pt x="7" y="30"/>
                  </a:lnTo>
                  <a:lnTo>
                    <a:pt x="7" y="58"/>
                  </a:lnTo>
                  <a:lnTo>
                    <a:pt x="13" y="67"/>
                  </a:lnTo>
                  <a:lnTo>
                    <a:pt x="46" y="30"/>
                  </a:lnTo>
                  <a:lnTo>
                    <a:pt x="59" y="30"/>
                  </a:lnTo>
                  <a:lnTo>
                    <a:pt x="65" y="20"/>
                  </a:lnTo>
                  <a:lnTo>
                    <a:pt x="63" y="15"/>
                  </a:lnTo>
                  <a:lnTo>
                    <a:pt x="54" y="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3" name="Freeform 484"/>
            <p:cNvSpPr>
              <a:spLocks/>
            </p:cNvSpPr>
            <p:nvPr/>
          </p:nvSpPr>
          <p:spPr bwMode="auto">
            <a:xfrm>
              <a:off x="3673" y="1733"/>
              <a:ext cx="403" cy="180"/>
            </a:xfrm>
            <a:custGeom>
              <a:avLst/>
              <a:gdLst>
                <a:gd name="T0" fmla="*/ 96 w 403"/>
                <a:gd name="T1" fmla="*/ 60 h 180"/>
                <a:gd name="T2" fmla="*/ 87 w 403"/>
                <a:gd name="T3" fmla="*/ 36 h 180"/>
                <a:gd name="T4" fmla="*/ 62 w 403"/>
                <a:gd name="T5" fmla="*/ 24 h 180"/>
                <a:gd name="T6" fmla="*/ 35 w 403"/>
                <a:gd name="T7" fmla="*/ 43 h 180"/>
                <a:gd name="T8" fmla="*/ 18 w 403"/>
                <a:gd name="T9" fmla="*/ 83 h 180"/>
                <a:gd name="T10" fmla="*/ 14 w 403"/>
                <a:gd name="T11" fmla="*/ 96 h 180"/>
                <a:gd name="T12" fmla="*/ 0 w 403"/>
                <a:gd name="T13" fmla="*/ 110 h 180"/>
                <a:gd name="T14" fmla="*/ 4 w 403"/>
                <a:gd name="T15" fmla="*/ 138 h 180"/>
                <a:gd name="T16" fmla="*/ 16 w 403"/>
                <a:gd name="T17" fmla="*/ 157 h 180"/>
                <a:gd name="T18" fmla="*/ 51 w 403"/>
                <a:gd name="T19" fmla="*/ 141 h 180"/>
                <a:gd name="T20" fmla="*/ 74 w 403"/>
                <a:gd name="T21" fmla="*/ 138 h 180"/>
                <a:gd name="T22" fmla="*/ 103 w 403"/>
                <a:gd name="T23" fmla="*/ 145 h 180"/>
                <a:gd name="T24" fmla="*/ 133 w 403"/>
                <a:gd name="T25" fmla="*/ 138 h 180"/>
                <a:gd name="T26" fmla="*/ 152 w 403"/>
                <a:gd name="T27" fmla="*/ 143 h 180"/>
                <a:gd name="T28" fmla="*/ 177 w 403"/>
                <a:gd name="T29" fmla="*/ 138 h 180"/>
                <a:gd name="T30" fmla="*/ 207 w 403"/>
                <a:gd name="T31" fmla="*/ 136 h 180"/>
                <a:gd name="T32" fmla="*/ 236 w 403"/>
                <a:gd name="T33" fmla="*/ 153 h 180"/>
                <a:gd name="T34" fmla="*/ 275 w 403"/>
                <a:gd name="T35" fmla="*/ 168 h 180"/>
                <a:gd name="T36" fmla="*/ 298 w 403"/>
                <a:gd name="T37" fmla="*/ 180 h 180"/>
                <a:gd name="T38" fmla="*/ 333 w 403"/>
                <a:gd name="T39" fmla="*/ 172 h 180"/>
                <a:gd name="T40" fmla="*/ 351 w 403"/>
                <a:gd name="T41" fmla="*/ 155 h 180"/>
                <a:gd name="T42" fmla="*/ 403 w 403"/>
                <a:gd name="T43" fmla="*/ 125 h 180"/>
                <a:gd name="T44" fmla="*/ 386 w 403"/>
                <a:gd name="T45" fmla="*/ 84 h 180"/>
                <a:gd name="T46" fmla="*/ 358 w 403"/>
                <a:gd name="T47" fmla="*/ 64 h 180"/>
                <a:gd name="T48" fmla="*/ 344 w 403"/>
                <a:gd name="T49" fmla="*/ 31 h 180"/>
                <a:gd name="T50" fmla="*/ 318 w 403"/>
                <a:gd name="T51" fmla="*/ 18 h 180"/>
                <a:gd name="T52" fmla="*/ 273 w 403"/>
                <a:gd name="T53" fmla="*/ 28 h 180"/>
                <a:gd name="T54" fmla="*/ 248 w 403"/>
                <a:gd name="T55" fmla="*/ 18 h 180"/>
                <a:gd name="T56" fmla="*/ 225 w 403"/>
                <a:gd name="T57" fmla="*/ 4 h 180"/>
                <a:gd name="T58" fmla="*/ 201 w 403"/>
                <a:gd name="T59" fmla="*/ 0 h 180"/>
                <a:gd name="T60" fmla="*/ 176 w 403"/>
                <a:gd name="T61" fmla="*/ 4 h 180"/>
                <a:gd name="T62" fmla="*/ 163 w 403"/>
                <a:gd name="T63" fmla="*/ 18 h 180"/>
                <a:gd name="T64" fmla="*/ 168 w 403"/>
                <a:gd name="T65" fmla="*/ 57 h 180"/>
                <a:gd name="T66" fmla="*/ 152 w 403"/>
                <a:gd name="T67" fmla="*/ 79 h 180"/>
                <a:gd name="T68" fmla="*/ 135 w 403"/>
                <a:gd name="T69"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3" h="180">
                  <a:moveTo>
                    <a:pt x="115" y="71"/>
                  </a:moveTo>
                  <a:lnTo>
                    <a:pt x="96" y="60"/>
                  </a:lnTo>
                  <a:lnTo>
                    <a:pt x="92" y="48"/>
                  </a:lnTo>
                  <a:lnTo>
                    <a:pt x="87" y="36"/>
                  </a:lnTo>
                  <a:lnTo>
                    <a:pt x="78" y="24"/>
                  </a:lnTo>
                  <a:lnTo>
                    <a:pt x="62" y="24"/>
                  </a:lnTo>
                  <a:lnTo>
                    <a:pt x="51" y="30"/>
                  </a:lnTo>
                  <a:lnTo>
                    <a:pt x="35" y="43"/>
                  </a:lnTo>
                  <a:lnTo>
                    <a:pt x="16" y="74"/>
                  </a:lnTo>
                  <a:lnTo>
                    <a:pt x="18" y="83"/>
                  </a:lnTo>
                  <a:lnTo>
                    <a:pt x="18" y="91"/>
                  </a:lnTo>
                  <a:lnTo>
                    <a:pt x="14" y="96"/>
                  </a:lnTo>
                  <a:lnTo>
                    <a:pt x="6" y="103"/>
                  </a:lnTo>
                  <a:lnTo>
                    <a:pt x="0" y="110"/>
                  </a:lnTo>
                  <a:lnTo>
                    <a:pt x="4" y="119"/>
                  </a:lnTo>
                  <a:lnTo>
                    <a:pt x="4" y="138"/>
                  </a:lnTo>
                  <a:lnTo>
                    <a:pt x="7" y="153"/>
                  </a:lnTo>
                  <a:lnTo>
                    <a:pt x="16" y="157"/>
                  </a:lnTo>
                  <a:lnTo>
                    <a:pt x="32" y="151"/>
                  </a:lnTo>
                  <a:lnTo>
                    <a:pt x="51" y="141"/>
                  </a:lnTo>
                  <a:lnTo>
                    <a:pt x="59" y="135"/>
                  </a:lnTo>
                  <a:lnTo>
                    <a:pt x="74" y="138"/>
                  </a:lnTo>
                  <a:lnTo>
                    <a:pt x="90" y="141"/>
                  </a:lnTo>
                  <a:lnTo>
                    <a:pt x="103" y="145"/>
                  </a:lnTo>
                  <a:lnTo>
                    <a:pt x="113" y="148"/>
                  </a:lnTo>
                  <a:lnTo>
                    <a:pt x="133" y="138"/>
                  </a:lnTo>
                  <a:lnTo>
                    <a:pt x="142" y="138"/>
                  </a:lnTo>
                  <a:lnTo>
                    <a:pt x="152" y="143"/>
                  </a:lnTo>
                  <a:lnTo>
                    <a:pt x="165" y="147"/>
                  </a:lnTo>
                  <a:lnTo>
                    <a:pt x="177" y="138"/>
                  </a:lnTo>
                  <a:lnTo>
                    <a:pt x="195" y="135"/>
                  </a:lnTo>
                  <a:lnTo>
                    <a:pt x="207" y="136"/>
                  </a:lnTo>
                  <a:lnTo>
                    <a:pt x="216" y="151"/>
                  </a:lnTo>
                  <a:lnTo>
                    <a:pt x="236" y="153"/>
                  </a:lnTo>
                  <a:lnTo>
                    <a:pt x="259" y="151"/>
                  </a:lnTo>
                  <a:lnTo>
                    <a:pt x="275" y="168"/>
                  </a:lnTo>
                  <a:lnTo>
                    <a:pt x="287" y="178"/>
                  </a:lnTo>
                  <a:lnTo>
                    <a:pt x="298" y="180"/>
                  </a:lnTo>
                  <a:lnTo>
                    <a:pt x="316" y="174"/>
                  </a:lnTo>
                  <a:lnTo>
                    <a:pt x="333" y="172"/>
                  </a:lnTo>
                  <a:lnTo>
                    <a:pt x="345" y="163"/>
                  </a:lnTo>
                  <a:lnTo>
                    <a:pt x="351" y="155"/>
                  </a:lnTo>
                  <a:lnTo>
                    <a:pt x="372" y="135"/>
                  </a:lnTo>
                  <a:lnTo>
                    <a:pt x="403" y="125"/>
                  </a:lnTo>
                  <a:lnTo>
                    <a:pt x="390" y="109"/>
                  </a:lnTo>
                  <a:lnTo>
                    <a:pt x="386" y="84"/>
                  </a:lnTo>
                  <a:lnTo>
                    <a:pt x="376" y="79"/>
                  </a:lnTo>
                  <a:lnTo>
                    <a:pt x="358" y="64"/>
                  </a:lnTo>
                  <a:lnTo>
                    <a:pt x="351" y="48"/>
                  </a:lnTo>
                  <a:lnTo>
                    <a:pt x="344" y="31"/>
                  </a:lnTo>
                  <a:lnTo>
                    <a:pt x="328" y="19"/>
                  </a:lnTo>
                  <a:lnTo>
                    <a:pt x="318" y="18"/>
                  </a:lnTo>
                  <a:lnTo>
                    <a:pt x="287" y="19"/>
                  </a:lnTo>
                  <a:lnTo>
                    <a:pt x="273" y="28"/>
                  </a:lnTo>
                  <a:lnTo>
                    <a:pt x="264" y="31"/>
                  </a:lnTo>
                  <a:lnTo>
                    <a:pt x="248" y="18"/>
                  </a:lnTo>
                  <a:lnTo>
                    <a:pt x="234" y="12"/>
                  </a:lnTo>
                  <a:lnTo>
                    <a:pt x="225" y="4"/>
                  </a:lnTo>
                  <a:lnTo>
                    <a:pt x="218" y="2"/>
                  </a:lnTo>
                  <a:lnTo>
                    <a:pt x="201" y="0"/>
                  </a:lnTo>
                  <a:lnTo>
                    <a:pt x="188" y="4"/>
                  </a:lnTo>
                  <a:lnTo>
                    <a:pt x="176" y="4"/>
                  </a:lnTo>
                  <a:lnTo>
                    <a:pt x="170" y="8"/>
                  </a:lnTo>
                  <a:lnTo>
                    <a:pt x="163" y="18"/>
                  </a:lnTo>
                  <a:lnTo>
                    <a:pt x="163" y="36"/>
                  </a:lnTo>
                  <a:lnTo>
                    <a:pt x="168" y="57"/>
                  </a:lnTo>
                  <a:lnTo>
                    <a:pt x="168" y="66"/>
                  </a:lnTo>
                  <a:lnTo>
                    <a:pt x="152" y="79"/>
                  </a:lnTo>
                  <a:lnTo>
                    <a:pt x="142" y="86"/>
                  </a:lnTo>
                  <a:lnTo>
                    <a:pt x="135" y="78"/>
                  </a:lnTo>
                  <a:lnTo>
                    <a:pt x="115" y="71"/>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4" name="Freeform 485"/>
            <p:cNvSpPr>
              <a:spLocks/>
            </p:cNvSpPr>
            <p:nvPr/>
          </p:nvSpPr>
          <p:spPr bwMode="auto">
            <a:xfrm>
              <a:off x="3811" y="2867"/>
              <a:ext cx="403" cy="264"/>
            </a:xfrm>
            <a:custGeom>
              <a:avLst/>
              <a:gdLst>
                <a:gd name="T0" fmla="*/ 7 w 383"/>
                <a:gd name="T1" fmla="*/ 39 h 281"/>
                <a:gd name="T2" fmla="*/ 2 w 383"/>
                <a:gd name="T3" fmla="*/ 59 h 281"/>
                <a:gd name="T4" fmla="*/ 28 w 383"/>
                <a:gd name="T5" fmla="*/ 82 h 281"/>
                <a:gd name="T6" fmla="*/ 30 w 383"/>
                <a:gd name="T7" fmla="*/ 115 h 281"/>
                <a:gd name="T8" fmla="*/ 6 w 383"/>
                <a:gd name="T9" fmla="*/ 135 h 281"/>
                <a:gd name="T10" fmla="*/ 9 w 383"/>
                <a:gd name="T11" fmla="*/ 159 h 281"/>
                <a:gd name="T12" fmla="*/ 6 w 383"/>
                <a:gd name="T13" fmla="*/ 186 h 281"/>
                <a:gd name="T14" fmla="*/ 9 w 383"/>
                <a:gd name="T15" fmla="*/ 209 h 281"/>
                <a:gd name="T16" fmla="*/ 30 w 383"/>
                <a:gd name="T17" fmla="*/ 222 h 281"/>
                <a:gd name="T18" fmla="*/ 31 w 383"/>
                <a:gd name="T19" fmla="*/ 255 h 281"/>
                <a:gd name="T20" fmla="*/ 44 w 383"/>
                <a:gd name="T21" fmla="*/ 281 h 281"/>
                <a:gd name="T22" fmla="*/ 109 w 383"/>
                <a:gd name="T23" fmla="*/ 264 h 281"/>
                <a:gd name="T24" fmla="*/ 148 w 383"/>
                <a:gd name="T25" fmla="*/ 236 h 281"/>
                <a:gd name="T26" fmla="*/ 178 w 383"/>
                <a:gd name="T27" fmla="*/ 253 h 281"/>
                <a:gd name="T28" fmla="*/ 207 w 383"/>
                <a:gd name="T29" fmla="*/ 262 h 281"/>
                <a:gd name="T30" fmla="*/ 242 w 383"/>
                <a:gd name="T31" fmla="*/ 249 h 281"/>
                <a:gd name="T32" fmla="*/ 244 w 383"/>
                <a:gd name="T33" fmla="*/ 220 h 281"/>
                <a:gd name="T34" fmla="*/ 270 w 383"/>
                <a:gd name="T35" fmla="*/ 220 h 281"/>
                <a:gd name="T36" fmla="*/ 283 w 383"/>
                <a:gd name="T37" fmla="*/ 212 h 281"/>
                <a:gd name="T38" fmla="*/ 335 w 383"/>
                <a:gd name="T39" fmla="*/ 196 h 281"/>
                <a:gd name="T40" fmla="*/ 353 w 383"/>
                <a:gd name="T41" fmla="*/ 175 h 281"/>
                <a:gd name="T42" fmla="*/ 327 w 383"/>
                <a:gd name="T43" fmla="*/ 147 h 281"/>
                <a:gd name="T44" fmla="*/ 339 w 383"/>
                <a:gd name="T45" fmla="*/ 124 h 281"/>
                <a:gd name="T46" fmla="*/ 348 w 383"/>
                <a:gd name="T47" fmla="*/ 111 h 281"/>
                <a:gd name="T48" fmla="*/ 355 w 383"/>
                <a:gd name="T49" fmla="*/ 82 h 281"/>
                <a:gd name="T50" fmla="*/ 363 w 383"/>
                <a:gd name="T51" fmla="*/ 52 h 281"/>
                <a:gd name="T52" fmla="*/ 383 w 383"/>
                <a:gd name="T53" fmla="*/ 39 h 281"/>
                <a:gd name="T54" fmla="*/ 372 w 383"/>
                <a:gd name="T55" fmla="*/ 9 h 281"/>
                <a:gd name="T56" fmla="*/ 320 w 383"/>
                <a:gd name="T57" fmla="*/ 2 h 281"/>
                <a:gd name="T58" fmla="*/ 265 w 383"/>
                <a:gd name="T59" fmla="*/ 6 h 281"/>
                <a:gd name="T60" fmla="*/ 213 w 383"/>
                <a:gd name="T61" fmla="*/ 32 h 281"/>
                <a:gd name="T62" fmla="*/ 172 w 383"/>
                <a:gd name="T63" fmla="*/ 50 h 281"/>
                <a:gd name="T64" fmla="*/ 118 w 383"/>
                <a:gd name="T65" fmla="*/ 54 h 281"/>
                <a:gd name="T66" fmla="*/ 83 w 383"/>
                <a:gd name="T67" fmla="*/ 52 h 281"/>
                <a:gd name="T68" fmla="*/ 41 w 383"/>
                <a:gd name="T69" fmla="*/ 37 h 281"/>
                <a:gd name="T70" fmla="*/ 9 w 383"/>
                <a:gd name="T71" fmla="*/ 33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281">
                  <a:moveTo>
                    <a:pt x="9" y="33"/>
                  </a:moveTo>
                  <a:lnTo>
                    <a:pt x="7" y="39"/>
                  </a:lnTo>
                  <a:lnTo>
                    <a:pt x="0" y="46"/>
                  </a:lnTo>
                  <a:lnTo>
                    <a:pt x="2" y="59"/>
                  </a:lnTo>
                  <a:lnTo>
                    <a:pt x="13" y="80"/>
                  </a:lnTo>
                  <a:lnTo>
                    <a:pt x="28" y="82"/>
                  </a:lnTo>
                  <a:lnTo>
                    <a:pt x="31" y="91"/>
                  </a:lnTo>
                  <a:lnTo>
                    <a:pt x="30" y="115"/>
                  </a:lnTo>
                  <a:lnTo>
                    <a:pt x="24" y="122"/>
                  </a:lnTo>
                  <a:lnTo>
                    <a:pt x="6" y="135"/>
                  </a:lnTo>
                  <a:lnTo>
                    <a:pt x="4" y="141"/>
                  </a:lnTo>
                  <a:lnTo>
                    <a:pt x="9" y="159"/>
                  </a:lnTo>
                  <a:lnTo>
                    <a:pt x="11" y="173"/>
                  </a:lnTo>
                  <a:lnTo>
                    <a:pt x="6" y="186"/>
                  </a:lnTo>
                  <a:lnTo>
                    <a:pt x="0" y="196"/>
                  </a:lnTo>
                  <a:lnTo>
                    <a:pt x="9" y="209"/>
                  </a:lnTo>
                  <a:lnTo>
                    <a:pt x="17" y="207"/>
                  </a:lnTo>
                  <a:lnTo>
                    <a:pt x="30" y="222"/>
                  </a:lnTo>
                  <a:lnTo>
                    <a:pt x="31" y="236"/>
                  </a:lnTo>
                  <a:lnTo>
                    <a:pt x="31" y="255"/>
                  </a:lnTo>
                  <a:lnTo>
                    <a:pt x="30" y="264"/>
                  </a:lnTo>
                  <a:lnTo>
                    <a:pt x="44" y="281"/>
                  </a:lnTo>
                  <a:lnTo>
                    <a:pt x="74" y="275"/>
                  </a:lnTo>
                  <a:lnTo>
                    <a:pt x="109" y="264"/>
                  </a:lnTo>
                  <a:lnTo>
                    <a:pt x="135" y="248"/>
                  </a:lnTo>
                  <a:lnTo>
                    <a:pt x="148" y="236"/>
                  </a:lnTo>
                  <a:lnTo>
                    <a:pt x="165" y="259"/>
                  </a:lnTo>
                  <a:lnTo>
                    <a:pt x="178" y="253"/>
                  </a:lnTo>
                  <a:lnTo>
                    <a:pt x="196" y="259"/>
                  </a:lnTo>
                  <a:lnTo>
                    <a:pt x="207" y="262"/>
                  </a:lnTo>
                  <a:lnTo>
                    <a:pt x="229" y="253"/>
                  </a:lnTo>
                  <a:lnTo>
                    <a:pt x="242" y="249"/>
                  </a:lnTo>
                  <a:lnTo>
                    <a:pt x="242" y="238"/>
                  </a:lnTo>
                  <a:lnTo>
                    <a:pt x="244" y="220"/>
                  </a:lnTo>
                  <a:lnTo>
                    <a:pt x="255" y="214"/>
                  </a:lnTo>
                  <a:lnTo>
                    <a:pt x="270" y="220"/>
                  </a:lnTo>
                  <a:lnTo>
                    <a:pt x="272" y="227"/>
                  </a:lnTo>
                  <a:lnTo>
                    <a:pt x="283" y="212"/>
                  </a:lnTo>
                  <a:lnTo>
                    <a:pt x="311" y="199"/>
                  </a:lnTo>
                  <a:lnTo>
                    <a:pt x="335" y="196"/>
                  </a:lnTo>
                  <a:lnTo>
                    <a:pt x="357" y="196"/>
                  </a:lnTo>
                  <a:lnTo>
                    <a:pt x="353" y="175"/>
                  </a:lnTo>
                  <a:lnTo>
                    <a:pt x="350" y="164"/>
                  </a:lnTo>
                  <a:lnTo>
                    <a:pt x="327" y="147"/>
                  </a:lnTo>
                  <a:lnTo>
                    <a:pt x="326" y="142"/>
                  </a:lnTo>
                  <a:lnTo>
                    <a:pt x="339" y="124"/>
                  </a:lnTo>
                  <a:lnTo>
                    <a:pt x="352" y="121"/>
                  </a:lnTo>
                  <a:lnTo>
                    <a:pt x="348" y="111"/>
                  </a:lnTo>
                  <a:lnTo>
                    <a:pt x="355" y="93"/>
                  </a:lnTo>
                  <a:lnTo>
                    <a:pt x="355" y="82"/>
                  </a:lnTo>
                  <a:lnTo>
                    <a:pt x="359" y="61"/>
                  </a:lnTo>
                  <a:lnTo>
                    <a:pt x="363" y="52"/>
                  </a:lnTo>
                  <a:lnTo>
                    <a:pt x="376" y="54"/>
                  </a:lnTo>
                  <a:lnTo>
                    <a:pt x="383" y="39"/>
                  </a:lnTo>
                  <a:lnTo>
                    <a:pt x="376" y="26"/>
                  </a:lnTo>
                  <a:lnTo>
                    <a:pt x="372" y="9"/>
                  </a:lnTo>
                  <a:lnTo>
                    <a:pt x="363" y="11"/>
                  </a:lnTo>
                  <a:lnTo>
                    <a:pt x="320" y="2"/>
                  </a:lnTo>
                  <a:lnTo>
                    <a:pt x="292" y="0"/>
                  </a:lnTo>
                  <a:lnTo>
                    <a:pt x="265" y="6"/>
                  </a:lnTo>
                  <a:lnTo>
                    <a:pt x="241" y="17"/>
                  </a:lnTo>
                  <a:lnTo>
                    <a:pt x="213" y="32"/>
                  </a:lnTo>
                  <a:lnTo>
                    <a:pt x="192" y="48"/>
                  </a:lnTo>
                  <a:lnTo>
                    <a:pt x="172" y="50"/>
                  </a:lnTo>
                  <a:lnTo>
                    <a:pt x="144" y="45"/>
                  </a:lnTo>
                  <a:lnTo>
                    <a:pt x="118" y="54"/>
                  </a:lnTo>
                  <a:lnTo>
                    <a:pt x="102" y="58"/>
                  </a:lnTo>
                  <a:lnTo>
                    <a:pt x="83" y="52"/>
                  </a:lnTo>
                  <a:lnTo>
                    <a:pt x="56" y="41"/>
                  </a:lnTo>
                  <a:lnTo>
                    <a:pt x="41" y="37"/>
                  </a:lnTo>
                  <a:lnTo>
                    <a:pt x="20" y="33"/>
                  </a:lnTo>
                  <a:lnTo>
                    <a:pt x="9" y="33"/>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5" name="Freeform 486"/>
            <p:cNvSpPr>
              <a:spLocks/>
            </p:cNvSpPr>
            <p:nvPr/>
          </p:nvSpPr>
          <p:spPr bwMode="auto">
            <a:xfrm>
              <a:off x="3690" y="2540"/>
              <a:ext cx="584" cy="379"/>
            </a:xfrm>
            <a:custGeom>
              <a:avLst/>
              <a:gdLst>
                <a:gd name="T0" fmla="*/ 133 w 584"/>
                <a:gd name="T1" fmla="*/ 43 h 379"/>
                <a:gd name="T2" fmla="*/ 106 w 584"/>
                <a:gd name="T3" fmla="*/ 58 h 379"/>
                <a:gd name="T4" fmla="*/ 105 w 584"/>
                <a:gd name="T5" fmla="*/ 123 h 379"/>
                <a:gd name="T6" fmla="*/ 70 w 584"/>
                <a:gd name="T7" fmla="*/ 159 h 379"/>
                <a:gd name="T8" fmla="*/ 25 w 584"/>
                <a:gd name="T9" fmla="*/ 178 h 379"/>
                <a:gd name="T10" fmla="*/ 0 w 584"/>
                <a:gd name="T11" fmla="*/ 198 h 379"/>
                <a:gd name="T12" fmla="*/ 23 w 584"/>
                <a:gd name="T13" fmla="*/ 223 h 379"/>
                <a:gd name="T14" fmla="*/ 23 w 584"/>
                <a:gd name="T15" fmla="*/ 243 h 379"/>
                <a:gd name="T16" fmla="*/ 48 w 584"/>
                <a:gd name="T17" fmla="*/ 248 h 379"/>
                <a:gd name="T18" fmla="*/ 60 w 584"/>
                <a:gd name="T19" fmla="*/ 278 h 379"/>
                <a:gd name="T20" fmla="*/ 70 w 584"/>
                <a:gd name="T21" fmla="*/ 308 h 379"/>
                <a:gd name="T22" fmla="*/ 85 w 584"/>
                <a:gd name="T23" fmla="*/ 305 h 379"/>
                <a:gd name="T24" fmla="*/ 114 w 584"/>
                <a:gd name="T25" fmla="*/ 307 h 379"/>
                <a:gd name="T26" fmla="*/ 114 w 584"/>
                <a:gd name="T27" fmla="*/ 323 h 379"/>
                <a:gd name="T28" fmla="*/ 133 w 584"/>
                <a:gd name="T29" fmla="*/ 338 h 379"/>
                <a:gd name="T30" fmla="*/ 133 w 584"/>
                <a:gd name="T31" fmla="*/ 356 h 379"/>
                <a:gd name="T32" fmla="*/ 173 w 584"/>
                <a:gd name="T33" fmla="*/ 365 h 379"/>
                <a:gd name="T34" fmla="*/ 229 w 584"/>
                <a:gd name="T35" fmla="*/ 379 h 379"/>
                <a:gd name="T36" fmla="*/ 270 w 584"/>
                <a:gd name="T37" fmla="*/ 369 h 379"/>
                <a:gd name="T38" fmla="*/ 318 w 584"/>
                <a:gd name="T39" fmla="*/ 372 h 379"/>
                <a:gd name="T40" fmla="*/ 345 w 584"/>
                <a:gd name="T41" fmla="*/ 358 h 379"/>
                <a:gd name="T42" fmla="*/ 423 w 584"/>
                <a:gd name="T43" fmla="*/ 326 h 379"/>
                <a:gd name="T44" fmla="*/ 468 w 584"/>
                <a:gd name="T45" fmla="*/ 330 h 379"/>
                <a:gd name="T46" fmla="*/ 503 w 584"/>
                <a:gd name="T47" fmla="*/ 336 h 379"/>
                <a:gd name="T48" fmla="*/ 524 w 584"/>
                <a:gd name="T49" fmla="*/ 320 h 379"/>
                <a:gd name="T50" fmla="*/ 526 w 584"/>
                <a:gd name="T51" fmla="*/ 266 h 379"/>
                <a:gd name="T52" fmla="*/ 547 w 584"/>
                <a:gd name="T53" fmla="*/ 248 h 379"/>
                <a:gd name="T54" fmla="*/ 566 w 584"/>
                <a:gd name="T55" fmla="*/ 248 h 379"/>
                <a:gd name="T56" fmla="*/ 570 w 584"/>
                <a:gd name="T57" fmla="*/ 234 h 379"/>
                <a:gd name="T58" fmla="*/ 584 w 584"/>
                <a:gd name="T59" fmla="*/ 222 h 379"/>
                <a:gd name="T60" fmla="*/ 555 w 584"/>
                <a:gd name="T61" fmla="*/ 213 h 379"/>
                <a:gd name="T62" fmla="*/ 519 w 584"/>
                <a:gd name="T63" fmla="*/ 220 h 379"/>
                <a:gd name="T64" fmla="*/ 485 w 584"/>
                <a:gd name="T65" fmla="*/ 213 h 379"/>
                <a:gd name="T66" fmla="*/ 480 w 584"/>
                <a:gd name="T67" fmla="*/ 189 h 379"/>
                <a:gd name="T68" fmla="*/ 468 w 584"/>
                <a:gd name="T69" fmla="*/ 164 h 379"/>
                <a:gd name="T70" fmla="*/ 462 w 584"/>
                <a:gd name="T71" fmla="*/ 140 h 379"/>
                <a:gd name="T72" fmla="*/ 464 w 584"/>
                <a:gd name="T73" fmla="*/ 117 h 379"/>
                <a:gd name="T74" fmla="*/ 439 w 584"/>
                <a:gd name="T75" fmla="*/ 82 h 379"/>
                <a:gd name="T76" fmla="*/ 430 w 584"/>
                <a:gd name="T77" fmla="*/ 58 h 379"/>
                <a:gd name="T78" fmla="*/ 405 w 584"/>
                <a:gd name="T79" fmla="*/ 39 h 379"/>
                <a:gd name="T80" fmla="*/ 388 w 584"/>
                <a:gd name="T81" fmla="*/ 8 h 379"/>
                <a:gd name="T82" fmla="*/ 370 w 584"/>
                <a:gd name="T83" fmla="*/ 0 h 379"/>
                <a:gd name="T84" fmla="*/ 350 w 584"/>
                <a:gd name="T85" fmla="*/ 12 h 379"/>
                <a:gd name="T86" fmla="*/ 327 w 584"/>
                <a:gd name="T87" fmla="*/ 14 h 379"/>
                <a:gd name="T88" fmla="*/ 307 w 584"/>
                <a:gd name="T89" fmla="*/ 25 h 379"/>
                <a:gd name="T90" fmla="*/ 277 w 584"/>
                <a:gd name="T91" fmla="*/ 28 h 379"/>
                <a:gd name="T92" fmla="*/ 251 w 584"/>
                <a:gd name="T93" fmla="*/ 12 h 379"/>
                <a:gd name="T94" fmla="*/ 220 w 584"/>
                <a:gd name="T95" fmla="*/ 23 h 379"/>
                <a:gd name="T96" fmla="*/ 194 w 584"/>
                <a:gd name="T97" fmla="*/ 21 h 379"/>
                <a:gd name="T98" fmla="*/ 163 w 584"/>
                <a:gd name="T99" fmla="*/ 19 h 379"/>
                <a:gd name="T100" fmla="*/ 147 w 584"/>
                <a:gd name="T101" fmla="*/ 26 h 379"/>
                <a:gd name="T102" fmla="*/ 140 w 584"/>
                <a:gd name="T103" fmla="*/ 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4" h="379">
                  <a:moveTo>
                    <a:pt x="144" y="33"/>
                  </a:moveTo>
                  <a:lnTo>
                    <a:pt x="133" y="43"/>
                  </a:lnTo>
                  <a:lnTo>
                    <a:pt x="126" y="51"/>
                  </a:lnTo>
                  <a:lnTo>
                    <a:pt x="106" y="58"/>
                  </a:lnTo>
                  <a:lnTo>
                    <a:pt x="104" y="96"/>
                  </a:lnTo>
                  <a:lnTo>
                    <a:pt x="105" y="123"/>
                  </a:lnTo>
                  <a:lnTo>
                    <a:pt x="89" y="145"/>
                  </a:lnTo>
                  <a:lnTo>
                    <a:pt x="70" y="159"/>
                  </a:lnTo>
                  <a:lnTo>
                    <a:pt x="58" y="172"/>
                  </a:lnTo>
                  <a:lnTo>
                    <a:pt x="25" y="178"/>
                  </a:lnTo>
                  <a:lnTo>
                    <a:pt x="8" y="191"/>
                  </a:lnTo>
                  <a:lnTo>
                    <a:pt x="0" y="198"/>
                  </a:lnTo>
                  <a:lnTo>
                    <a:pt x="17" y="211"/>
                  </a:lnTo>
                  <a:lnTo>
                    <a:pt x="23" y="223"/>
                  </a:lnTo>
                  <a:lnTo>
                    <a:pt x="21" y="232"/>
                  </a:lnTo>
                  <a:lnTo>
                    <a:pt x="23" y="243"/>
                  </a:lnTo>
                  <a:lnTo>
                    <a:pt x="32" y="248"/>
                  </a:lnTo>
                  <a:lnTo>
                    <a:pt x="48" y="248"/>
                  </a:lnTo>
                  <a:lnTo>
                    <a:pt x="53" y="258"/>
                  </a:lnTo>
                  <a:lnTo>
                    <a:pt x="60" y="278"/>
                  </a:lnTo>
                  <a:lnTo>
                    <a:pt x="62" y="293"/>
                  </a:lnTo>
                  <a:lnTo>
                    <a:pt x="70" y="308"/>
                  </a:lnTo>
                  <a:lnTo>
                    <a:pt x="78" y="309"/>
                  </a:lnTo>
                  <a:lnTo>
                    <a:pt x="85" y="305"/>
                  </a:lnTo>
                  <a:lnTo>
                    <a:pt x="99" y="297"/>
                  </a:lnTo>
                  <a:lnTo>
                    <a:pt x="114" y="307"/>
                  </a:lnTo>
                  <a:lnTo>
                    <a:pt x="112" y="318"/>
                  </a:lnTo>
                  <a:lnTo>
                    <a:pt x="114" y="323"/>
                  </a:lnTo>
                  <a:lnTo>
                    <a:pt x="122" y="326"/>
                  </a:lnTo>
                  <a:lnTo>
                    <a:pt x="133" y="338"/>
                  </a:lnTo>
                  <a:lnTo>
                    <a:pt x="130" y="350"/>
                  </a:lnTo>
                  <a:lnTo>
                    <a:pt x="133" y="356"/>
                  </a:lnTo>
                  <a:lnTo>
                    <a:pt x="151" y="356"/>
                  </a:lnTo>
                  <a:lnTo>
                    <a:pt x="173" y="365"/>
                  </a:lnTo>
                  <a:lnTo>
                    <a:pt x="213" y="379"/>
                  </a:lnTo>
                  <a:lnTo>
                    <a:pt x="229" y="379"/>
                  </a:lnTo>
                  <a:lnTo>
                    <a:pt x="251" y="375"/>
                  </a:lnTo>
                  <a:lnTo>
                    <a:pt x="270" y="369"/>
                  </a:lnTo>
                  <a:lnTo>
                    <a:pt x="302" y="373"/>
                  </a:lnTo>
                  <a:lnTo>
                    <a:pt x="318" y="372"/>
                  </a:lnTo>
                  <a:lnTo>
                    <a:pt x="325" y="371"/>
                  </a:lnTo>
                  <a:lnTo>
                    <a:pt x="345" y="358"/>
                  </a:lnTo>
                  <a:lnTo>
                    <a:pt x="389" y="336"/>
                  </a:lnTo>
                  <a:lnTo>
                    <a:pt x="423" y="326"/>
                  </a:lnTo>
                  <a:lnTo>
                    <a:pt x="441" y="325"/>
                  </a:lnTo>
                  <a:lnTo>
                    <a:pt x="468" y="330"/>
                  </a:lnTo>
                  <a:lnTo>
                    <a:pt x="491" y="332"/>
                  </a:lnTo>
                  <a:lnTo>
                    <a:pt x="503" y="336"/>
                  </a:lnTo>
                  <a:lnTo>
                    <a:pt x="521" y="334"/>
                  </a:lnTo>
                  <a:lnTo>
                    <a:pt x="524" y="320"/>
                  </a:lnTo>
                  <a:lnTo>
                    <a:pt x="524" y="293"/>
                  </a:lnTo>
                  <a:lnTo>
                    <a:pt x="526" y="266"/>
                  </a:lnTo>
                  <a:lnTo>
                    <a:pt x="536" y="252"/>
                  </a:lnTo>
                  <a:lnTo>
                    <a:pt x="547" y="248"/>
                  </a:lnTo>
                  <a:lnTo>
                    <a:pt x="557" y="254"/>
                  </a:lnTo>
                  <a:lnTo>
                    <a:pt x="566" y="248"/>
                  </a:lnTo>
                  <a:lnTo>
                    <a:pt x="572" y="241"/>
                  </a:lnTo>
                  <a:lnTo>
                    <a:pt x="570" y="234"/>
                  </a:lnTo>
                  <a:lnTo>
                    <a:pt x="582" y="231"/>
                  </a:lnTo>
                  <a:lnTo>
                    <a:pt x="584" y="222"/>
                  </a:lnTo>
                  <a:lnTo>
                    <a:pt x="572" y="217"/>
                  </a:lnTo>
                  <a:lnTo>
                    <a:pt x="555" y="213"/>
                  </a:lnTo>
                  <a:lnTo>
                    <a:pt x="540" y="217"/>
                  </a:lnTo>
                  <a:lnTo>
                    <a:pt x="519" y="220"/>
                  </a:lnTo>
                  <a:lnTo>
                    <a:pt x="499" y="220"/>
                  </a:lnTo>
                  <a:lnTo>
                    <a:pt x="485" y="213"/>
                  </a:lnTo>
                  <a:lnTo>
                    <a:pt x="480" y="203"/>
                  </a:lnTo>
                  <a:lnTo>
                    <a:pt x="480" y="189"/>
                  </a:lnTo>
                  <a:lnTo>
                    <a:pt x="478" y="174"/>
                  </a:lnTo>
                  <a:lnTo>
                    <a:pt x="468" y="164"/>
                  </a:lnTo>
                  <a:lnTo>
                    <a:pt x="462" y="154"/>
                  </a:lnTo>
                  <a:lnTo>
                    <a:pt x="462" y="140"/>
                  </a:lnTo>
                  <a:lnTo>
                    <a:pt x="464" y="125"/>
                  </a:lnTo>
                  <a:lnTo>
                    <a:pt x="464" y="117"/>
                  </a:lnTo>
                  <a:lnTo>
                    <a:pt x="455" y="96"/>
                  </a:lnTo>
                  <a:lnTo>
                    <a:pt x="439" y="82"/>
                  </a:lnTo>
                  <a:lnTo>
                    <a:pt x="432" y="68"/>
                  </a:lnTo>
                  <a:lnTo>
                    <a:pt x="430" y="58"/>
                  </a:lnTo>
                  <a:lnTo>
                    <a:pt x="427" y="53"/>
                  </a:lnTo>
                  <a:lnTo>
                    <a:pt x="405" y="39"/>
                  </a:lnTo>
                  <a:lnTo>
                    <a:pt x="398" y="26"/>
                  </a:lnTo>
                  <a:lnTo>
                    <a:pt x="388" y="8"/>
                  </a:lnTo>
                  <a:lnTo>
                    <a:pt x="380" y="2"/>
                  </a:lnTo>
                  <a:lnTo>
                    <a:pt x="370" y="0"/>
                  </a:lnTo>
                  <a:lnTo>
                    <a:pt x="361" y="4"/>
                  </a:lnTo>
                  <a:lnTo>
                    <a:pt x="350" y="12"/>
                  </a:lnTo>
                  <a:lnTo>
                    <a:pt x="345" y="14"/>
                  </a:lnTo>
                  <a:lnTo>
                    <a:pt x="327" y="14"/>
                  </a:lnTo>
                  <a:lnTo>
                    <a:pt x="316" y="16"/>
                  </a:lnTo>
                  <a:lnTo>
                    <a:pt x="307" y="25"/>
                  </a:lnTo>
                  <a:lnTo>
                    <a:pt x="292" y="29"/>
                  </a:lnTo>
                  <a:lnTo>
                    <a:pt x="277" y="28"/>
                  </a:lnTo>
                  <a:lnTo>
                    <a:pt x="268" y="21"/>
                  </a:lnTo>
                  <a:lnTo>
                    <a:pt x="251" y="12"/>
                  </a:lnTo>
                  <a:lnTo>
                    <a:pt x="238" y="16"/>
                  </a:lnTo>
                  <a:lnTo>
                    <a:pt x="220" y="23"/>
                  </a:lnTo>
                  <a:lnTo>
                    <a:pt x="206" y="25"/>
                  </a:lnTo>
                  <a:lnTo>
                    <a:pt x="194" y="21"/>
                  </a:lnTo>
                  <a:lnTo>
                    <a:pt x="181" y="14"/>
                  </a:lnTo>
                  <a:lnTo>
                    <a:pt x="163" y="19"/>
                  </a:lnTo>
                  <a:lnTo>
                    <a:pt x="151" y="25"/>
                  </a:lnTo>
                  <a:lnTo>
                    <a:pt x="147" y="26"/>
                  </a:lnTo>
                  <a:lnTo>
                    <a:pt x="144" y="28"/>
                  </a:lnTo>
                  <a:lnTo>
                    <a:pt x="140" y="29"/>
                  </a:lnTo>
                  <a:lnTo>
                    <a:pt x="144" y="33"/>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6" name="Freeform 487"/>
            <p:cNvSpPr>
              <a:spLocks/>
            </p:cNvSpPr>
            <p:nvPr/>
          </p:nvSpPr>
          <p:spPr bwMode="auto">
            <a:xfrm>
              <a:off x="3391" y="2517"/>
              <a:ext cx="438" cy="241"/>
            </a:xfrm>
            <a:custGeom>
              <a:avLst/>
              <a:gdLst>
                <a:gd name="T0" fmla="*/ 2 w 421"/>
                <a:gd name="T1" fmla="*/ 161 h 254"/>
                <a:gd name="T2" fmla="*/ 15 w 421"/>
                <a:gd name="T3" fmla="*/ 172 h 254"/>
                <a:gd name="T4" fmla="*/ 13 w 421"/>
                <a:gd name="T5" fmla="*/ 178 h 254"/>
                <a:gd name="T6" fmla="*/ 17 w 421"/>
                <a:gd name="T7" fmla="*/ 189 h 254"/>
                <a:gd name="T8" fmla="*/ 28 w 421"/>
                <a:gd name="T9" fmla="*/ 189 h 254"/>
                <a:gd name="T10" fmla="*/ 70 w 421"/>
                <a:gd name="T11" fmla="*/ 230 h 254"/>
                <a:gd name="T12" fmla="*/ 83 w 421"/>
                <a:gd name="T13" fmla="*/ 232 h 254"/>
                <a:gd name="T14" fmla="*/ 117 w 421"/>
                <a:gd name="T15" fmla="*/ 254 h 254"/>
                <a:gd name="T16" fmla="*/ 133 w 421"/>
                <a:gd name="T17" fmla="*/ 241 h 254"/>
                <a:gd name="T18" fmla="*/ 157 w 421"/>
                <a:gd name="T19" fmla="*/ 243 h 254"/>
                <a:gd name="T20" fmla="*/ 165 w 421"/>
                <a:gd name="T21" fmla="*/ 248 h 254"/>
                <a:gd name="T22" fmla="*/ 183 w 421"/>
                <a:gd name="T23" fmla="*/ 241 h 254"/>
                <a:gd name="T24" fmla="*/ 220 w 421"/>
                <a:gd name="T25" fmla="*/ 226 h 254"/>
                <a:gd name="T26" fmla="*/ 264 w 421"/>
                <a:gd name="T27" fmla="*/ 219 h 254"/>
                <a:gd name="T28" fmla="*/ 282 w 421"/>
                <a:gd name="T29" fmla="*/ 222 h 254"/>
                <a:gd name="T30" fmla="*/ 288 w 421"/>
                <a:gd name="T31" fmla="*/ 232 h 254"/>
                <a:gd name="T32" fmla="*/ 303 w 421"/>
                <a:gd name="T33" fmla="*/ 215 h 254"/>
                <a:gd name="T34" fmla="*/ 323 w 421"/>
                <a:gd name="T35" fmla="*/ 208 h 254"/>
                <a:gd name="T36" fmla="*/ 342 w 421"/>
                <a:gd name="T37" fmla="*/ 205 h 254"/>
                <a:gd name="T38" fmla="*/ 375 w 421"/>
                <a:gd name="T39" fmla="*/ 172 h 254"/>
                <a:gd name="T40" fmla="*/ 384 w 421"/>
                <a:gd name="T41" fmla="*/ 152 h 254"/>
                <a:gd name="T42" fmla="*/ 388 w 421"/>
                <a:gd name="T43" fmla="*/ 113 h 254"/>
                <a:gd name="T44" fmla="*/ 392 w 421"/>
                <a:gd name="T45" fmla="*/ 81 h 254"/>
                <a:gd name="T46" fmla="*/ 405 w 421"/>
                <a:gd name="T47" fmla="*/ 80 h 254"/>
                <a:gd name="T48" fmla="*/ 415 w 421"/>
                <a:gd name="T49" fmla="*/ 68 h 254"/>
                <a:gd name="T50" fmla="*/ 421 w 421"/>
                <a:gd name="T51" fmla="*/ 59 h 254"/>
                <a:gd name="T52" fmla="*/ 408 w 421"/>
                <a:gd name="T53" fmla="*/ 50 h 254"/>
                <a:gd name="T54" fmla="*/ 401 w 421"/>
                <a:gd name="T55" fmla="*/ 54 h 254"/>
                <a:gd name="T56" fmla="*/ 382 w 421"/>
                <a:gd name="T57" fmla="*/ 50 h 254"/>
                <a:gd name="T58" fmla="*/ 371 w 421"/>
                <a:gd name="T59" fmla="*/ 35 h 254"/>
                <a:gd name="T60" fmla="*/ 360 w 421"/>
                <a:gd name="T61" fmla="*/ 15 h 254"/>
                <a:gd name="T62" fmla="*/ 347 w 421"/>
                <a:gd name="T63" fmla="*/ 15 h 254"/>
                <a:gd name="T64" fmla="*/ 327 w 421"/>
                <a:gd name="T65" fmla="*/ 0 h 254"/>
                <a:gd name="T66" fmla="*/ 316 w 421"/>
                <a:gd name="T67" fmla="*/ 2 h 254"/>
                <a:gd name="T68" fmla="*/ 275 w 421"/>
                <a:gd name="T69" fmla="*/ 7 h 254"/>
                <a:gd name="T70" fmla="*/ 267 w 421"/>
                <a:gd name="T71" fmla="*/ 19 h 254"/>
                <a:gd name="T72" fmla="*/ 256 w 421"/>
                <a:gd name="T73" fmla="*/ 33 h 254"/>
                <a:gd name="T74" fmla="*/ 241 w 421"/>
                <a:gd name="T75" fmla="*/ 41 h 254"/>
                <a:gd name="T76" fmla="*/ 227 w 421"/>
                <a:gd name="T77" fmla="*/ 44 h 254"/>
                <a:gd name="T78" fmla="*/ 216 w 421"/>
                <a:gd name="T79" fmla="*/ 41 h 254"/>
                <a:gd name="T80" fmla="*/ 207 w 421"/>
                <a:gd name="T81" fmla="*/ 35 h 254"/>
                <a:gd name="T82" fmla="*/ 200 w 421"/>
                <a:gd name="T83" fmla="*/ 33 h 254"/>
                <a:gd name="T84" fmla="*/ 187 w 421"/>
                <a:gd name="T85" fmla="*/ 39 h 254"/>
                <a:gd name="T86" fmla="*/ 170 w 421"/>
                <a:gd name="T87" fmla="*/ 48 h 254"/>
                <a:gd name="T88" fmla="*/ 135 w 421"/>
                <a:gd name="T89" fmla="*/ 63 h 254"/>
                <a:gd name="T90" fmla="*/ 120 w 421"/>
                <a:gd name="T91" fmla="*/ 65 h 254"/>
                <a:gd name="T92" fmla="*/ 83 w 421"/>
                <a:gd name="T93" fmla="*/ 63 h 254"/>
                <a:gd name="T94" fmla="*/ 78 w 421"/>
                <a:gd name="T95" fmla="*/ 61 h 254"/>
                <a:gd name="T96" fmla="*/ 68 w 421"/>
                <a:gd name="T97" fmla="*/ 46 h 254"/>
                <a:gd name="T98" fmla="*/ 56 w 421"/>
                <a:gd name="T99" fmla="*/ 39 h 254"/>
                <a:gd name="T100" fmla="*/ 52 w 421"/>
                <a:gd name="T101" fmla="*/ 44 h 254"/>
                <a:gd name="T102" fmla="*/ 50 w 421"/>
                <a:gd name="T103" fmla="*/ 59 h 254"/>
                <a:gd name="T104" fmla="*/ 43 w 421"/>
                <a:gd name="T105" fmla="*/ 74 h 254"/>
                <a:gd name="T106" fmla="*/ 30 w 421"/>
                <a:gd name="T107" fmla="*/ 74 h 254"/>
                <a:gd name="T108" fmla="*/ 26 w 421"/>
                <a:gd name="T109" fmla="*/ 78 h 254"/>
                <a:gd name="T110" fmla="*/ 33 w 421"/>
                <a:gd name="T111" fmla="*/ 93 h 254"/>
                <a:gd name="T112" fmla="*/ 31 w 421"/>
                <a:gd name="T113" fmla="*/ 108 h 254"/>
                <a:gd name="T114" fmla="*/ 22 w 421"/>
                <a:gd name="T115" fmla="*/ 122 h 254"/>
                <a:gd name="T116" fmla="*/ 15 w 421"/>
                <a:gd name="T117" fmla="*/ 128 h 254"/>
                <a:gd name="T118" fmla="*/ 4 w 421"/>
                <a:gd name="T119" fmla="*/ 133 h 254"/>
                <a:gd name="T120" fmla="*/ 0 w 421"/>
                <a:gd name="T121" fmla="*/ 145 h 254"/>
                <a:gd name="T122" fmla="*/ 2 w 421"/>
                <a:gd name="T123" fmla="*/ 16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1" h="254">
                  <a:moveTo>
                    <a:pt x="2" y="161"/>
                  </a:moveTo>
                  <a:lnTo>
                    <a:pt x="15" y="172"/>
                  </a:lnTo>
                  <a:lnTo>
                    <a:pt x="13" y="178"/>
                  </a:lnTo>
                  <a:lnTo>
                    <a:pt x="17" y="189"/>
                  </a:lnTo>
                  <a:lnTo>
                    <a:pt x="28" y="189"/>
                  </a:lnTo>
                  <a:lnTo>
                    <a:pt x="70" y="230"/>
                  </a:lnTo>
                  <a:lnTo>
                    <a:pt x="83" y="232"/>
                  </a:lnTo>
                  <a:lnTo>
                    <a:pt x="117" y="254"/>
                  </a:lnTo>
                  <a:lnTo>
                    <a:pt x="133" y="241"/>
                  </a:lnTo>
                  <a:lnTo>
                    <a:pt x="157" y="243"/>
                  </a:lnTo>
                  <a:lnTo>
                    <a:pt x="165" y="248"/>
                  </a:lnTo>
                  <a:lnTo>
                    <a:pt x="183" y="241"/>
                  </a:lnTo>
                  <a:lnTo>
                    <a:pt x="220" y="226"/>
                  </a:lnTo>
                  <a:lnTo>
                    <a:pt x="264" y="219"/>
                  </a:lnTo>
                  <a:lnTo>
                    <a:pt x="282" y="222"/>
                  </a:lnTo>
                  <a:lnTo>
                    <a:pt x="288" y="232"/>
                  </a:lnTo>
                  <a:lnTo>
                    <a:pt x="303" y="215"/>
                  </a:lnTo>
                  <a:lnTo>
                    <a:pt x="323" y="208"/>
                  </a:lnTo>
                  <a:lnTo>
                    <a:pt x="342" y="205"/>
                  </a:lnTo>
                  <a:lnTo>
                    <a:pt x="375" y="172"/>
                  </a:lnTo>
                  <a:lnTo>
                    <a:pt x="384" y="152"/>
                  </a:lnTo>
                  <a:lnTo>
                    <a:pt x="388" y="113"/>
                  </a:lnTo>
                  <a:lnTo>
                    <a:pt x="392" y="81"/>
                  </a:lnTo>
                  <a:lnTo>
                    <a:pt x="405" y="80"/>
                  </a:lnTo>
                  <a:lnTo>
                    <a:pt x="415" y="68"/>
                  </a:lnTo>
                  <a:lnTo>
                    <a:pt x="421" y="59"/>
                  </a:lnTo>
                  <a:lnTo>
                    <a:pt x="408" y="50"/>
                  </a:lnTo>
                  <a:lnTo>
                    <a:pt x="401" y="54"/>
                  </a:lnTo>
                  <a:lnTo>
                    <a:pt x="382" y="50"/>
                  </a:lnTo>
                  <a:lnTo>
                    <a:pt x="371" y="35"/>
                  </a:lnTo>
                  <a:lnTo>
                    <a:pt x="360" y="15"/>
                  </a:lnTo>
                  <a:lnTo>
                    <a:pt x="347" y="15"/>
                  </a:lnTo>
                  <a:lnTo>
                    <a:pt x="327" y="0"/>
                  </a:lnTo>
                  <a:lnTo>
                    <a:pt x="316" y="2"/>
                  </a:lnTo>
                  <a:lnTo>
                    <a:pt x="275" y="7"/>
                  </a:lnTo>
                  <a:lnTo>
                    <a:pt x="267" y="19"/>
                  </a:lnTo>
                  <a:lnTo>
                    <a:pt x="256" y="33"/>
                  </a:lnTo>
                  <a:lnTo>
                    <a:pt x="241" y="41"/>
                  </a:lnTo>
                  <a:lnTo>
                    <a:pt x="227" y="44"/>
                  </a:lnTo>
                  <a:lnTo>
                    <a:pt x="216" y="41"/>
                  </a:lnTo>
                  <a:lnTo>
                    <a:pt x="207" y="35"/>
                  </a:lnTo>
                  <a:lnTo>
                    <a:pt x="200" y="33"/>
                  </a:lnTo>
                  <a:lnTo>
                    <a:pt x="187" y="39"/>
                  </a:lnTo>
                  <a:lnTo>
                    <a:pt x="170" y="48"/>
                  </a:lnTo>
                  <a:lnTo>
                    <a:pt x="135" y="63"/>
                  </a:lnTo>
                  <a:lnTo>
                    <a:pt x="120" y="65"/>
                  </a:lnTo>
                  <a:lnTo>
                    <a:pt x="83" y="63"/>
                  </a:lnTo>
                  <a:lnTo>
                    <a:pt x="78" y="61"/>
                  </a:lnTo>
                  <a:lnTo>
                    <a:pt x="68" y="46"/>
                  </a:lnTo>
                  <a:lnTo>
                    <a:pt x="56" y="39"/>
                  </a:lnTo>
                  <a:lnTo>
                    <a:pt x="52" y="44"/>
                  </a:lnTo>
                  <a:lnTo>
                    <a:pt x="50" y="59"/>
                  </a:lnTo>
                  <a:lnTo>
                    <a:pt x="43" y="74"/>
                  </a:lnTo>
                  <a:lnTo>
                    <a:pt x="30" y="74"/>
                  </a:lnTo>
                  <a:lnTo>
                    <a:pt x="26" y="78"/>
                  </a:lnTo>
                  <a:lnTo>
                    <a:pt x="33" y="93"/>
                  </a:lnTo>
                  <a:lnTo>
                    <a:pt x="31" y="108"/>
                  </a:lnTo>
                  <a:lnTo>
                    <a:pt x="22" y="122"/>
                  </a:lnTo>
                  <a:lnTo>
                    <a:pt x="15" y="128"/>
                  </a:lnTo>
                  <a:lnTo>
                    <a:pt x="4" y="133"/>
                  </a:lnTo>
                  <a:lnTo>
                    <a:pt x="0" y="145"/>
                  </a:lnTo>
                  <a:lnTo>
                    <a:pt x="2" y="161"/>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7" name="Freeform 488"/>
            <p:cNvSpPr>
              <a:spLocks/>
            </p:cNvSpPr>
            <p:nvPr/>
          </p:nvSpPr>
          <p:spPr bwMode="auto">
            <a:xfrm>
              <a:off x="3434" y="2429"/>
              <a:ext cx="370" cy="149"/>
            </a:xfrm>
            <a:custGeom>
              <a:avLst/>
              <a:gdLst>
                <a:gd name="T0" fmla="*/ 120 w 353"/>
                <a:gd name="T1" fmla="*/ 8 h 157"/>
                <a:gd name="T2" fmla="*/ 132 w 353"/>
                <a:gd name="T3" fmla="*/ 0 h 157"/>
                <a:gd name="T4" fmla="*/ 146 w 353"/>
                <a:gd name="T5" fmla="*/ 0 h 157"/>
                <a:gd name="T6" fmla="*/ 152 w 353"/>
                <a:gd name="T7" fmla="*/ 11 h 157"/>
                <a:gd name="T8" fmla="*/ 165 w 353"/>
                <a:gd name="T9" fmla="*/ 2 h 157"/>
                <a:gd name="T10" fmla="*/ 178 w 353"/>
                <a:gd name="T11" fmla="*/ 6 h 157"/>
                <a:gd name="T12" fmla="*/ 199 w 353"/>
                <a:gd name="T13" fmla="*/ 27 h 157"/>
                <a:gd name="T14" fmla="*/ 221 w 353"/>
                <a:gd name="T15" fmla="*/ 36 h 157"/>
                <a:gd name="T16" fmla="*/ 229 w 353"/>
                <a:gd name="T17" fmla="*/ 38 h 157"/>
                <a:gd name="T18" fmla="*/ 240 w 353"/>
                <a:gd name="T19" fmla="*/ 29 h 157"/>
                <a:gd name="T20" fmla="*/ 251 w 353"/>
                <a:gd name="T21" fmla="*/ 25 h 157"/>
                <a:gd name="T22" fmla="*/ 281 w 353"/>
                <a:gd name="T23" fmla="*/ 33 h 157"/>
                <a:gd name="T24" fmla="*/ 321 w 353"/>
                <a:gd name="T25" fmla="*/ 42 h 157"/>
                <a:gd name="T26" fmla="*/ 353 w 353"/>
                <a:gd name="T27" fmla="*/ 51 h 157"/>
                <a:gd name="T28" fmla="*/ 342 w 353"/>
                <a:gd name="T29" fmla="*/ 64 h 157"/>
                <a:gd name="T30" fmla="*/ 321 w 353"/>
                <a:gd name="T31" fmla="*/ 85 h 157"/>
                <a:gd name="T32" fmla="*/ 316 w 353"/>
                <a:gd name="T33" fmla="*/ 92 h 157"/>
                <a:gd name="T34" fmla="*/ 318 w 353"/>
                <a:gd name="T35" fmla="*/ 107 h 157"/>
                <a:gd name="T36" fmla="*/ 303 w 353"/>
                <a:gd name="T37" fmla="*/ 107 h 157"/>
                <a:gd name="T38" fmla="*/ 288 w 353"/>
                <a:gd name="T39" fmla="*/ 96 h 157"/>
                <a:gd name="T40" fmla="*/ 273 w 353"/>
                <a:gd name="T41" fmla="*/ 92 h 157"/>
                <a:gd name="T42" fmla="*/ 234 w 353"/>
                <a:gd name="T43" fmla="*/ 101 h 157"/>
                <a:gd name="T44" fmla="*/ 224 w 353"/>
                <a:gd name="T45" fmla="*/ 110 h 157"/>
                <a:gd name="T46" fmla="*/ 213 w 353"/>
                <a:gd name="T47" fmla="*/ 124 h 157"/>
                <a:gd name="T48" fmla="*/ 192 w 353"/>
                <a:gd name="T49" fmla="*/ 137 h 157"/>
                <a:gd name="T50" fmla="*/ 179 w 353"/>
                <a:gd name="T51" fmla="*/ 137 h 157"/>
                <a:gd name="T52" fmla="*/ 166 w 353"/>
                <a:gd name="T53" fmla="*/ 126 h 157"/>
                <a:gd name="T54" fmla="*/ 155 w 353"/>
                <a:gd name="T55" fmla="*/ 126 h 157"/>
                <a:gd name="T56" fmla="*/ 115 w 353"/>
                <a:gd name="T57" fmla="*/ 145 h 157"/>
                <a:gd name="T58" fmla="*/ 96 w 353"/>
                <a:gd name="T59" fmla="*/ 155 h 157"/>
                <a:gd name="T60" fmla="*/ 82 w 353"/>
                <a:gd name="T61" fmla="*/ 157 h 157"/>
                <a:gd name="T62" fmla="*/ 50 w 353"/>
                <a:gd name="T63" fmla="*/ 155 h 157"/>
                <a:gd name="T64" fmla="*/ 37 w 353"/>
                <a:gd name="T65" fmla="*/ 155 h 157"/>
                <a:gd name="T66" fmla="*/ 27 w 353"/>
                <a:gd name="T67" fmla="*/ 140 h 157"/>
                <a:gd name="T68" fmla="*/ 22 w 353"/>
                <a:gd name="T69" fmla="*/ 135 h 157"/>
                <a:gd name="T70" fmla="*/ 11 w 353"/>
                <a:gd name="T71" fmla="*/ 129 h 157"/>
                <a:gd name="T72" fmla="*/ 5 w 353"/>
                <a:gd name="T73" fmla="*/ 122 h 157"/>
                <a:gd name="T74" fmla="*/ 0 w 353"/>
                <a:gd name="T75" fmla="*/ 107 h 157"/>
                <a:gd name="T76" fmla="*/ 0 w 353"/>
                <a:gd name="T77" fmla="*/ 90 h 157"/>
                <a:gd name="T78" fmla="*/ 34 w 353"/>
                <a:gd name="T79" fmla="*/ 76 h 157"/>
                <a:gd name="T80" fmla="*/ 72 w 353"/>
                <a:gd name="T81" fmla="*/ 76 h 157"/>
                <a:gd name="T82" fmla="*/ 95 w 353"/>
                <a:gd name="T83" fmla="*/ 55 h 157"/>
                <a:gd name="T84" fmla="*/ 98 w 353"/>
                <a:gd name="T85" fmla="*/ 19 h 157"/>
                <a:gd name="T86" fmla="*/ 120 w 353"/>
                <a:gd name="T87" fmla="*/ 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3" h="157">
                  <a:moveTo>
                    <a:pt x="120" y="8"/>
                  </a:moveTo>
                  <a:lnTo>
                    <a:pt x="132" y="0"/>
                  </a:lnTo>
                  <a:lnTo>
                    <a:pt x="146" y="0"/>
                  </a:lnTo>
                  <a:lnTo>
                    <a:pt x="152" y="11"/>
                  </a:lnTo>
                  <a:lnTo>
                    <a:pt x="165" y="2"/>
                  </a:lnTo>
                  <a:lnTo>
                    <a:pt x="178" y="6"/>
                  </a:lnTo>
                  <a:lnTo>
                    <a:pt x="199" y="27"/>
                  </a:lnTo>
                  <a:lnTo>
                    <a:pt x="221" y="36"/>
                  </a:lnTo>
                  <a:lnTo>
                    <a:pt x="229" y="38"/>
                  </a:lnTo>
                  <a:lnTo>
                    <a:pt x="240" y="29"/>
                  </a:lnTo>
                  <a:lnTo>
                    <a:pt x="251" y="25"/>
                  </a:lnTo>
                  <a:lnTo>
                    <a:pt x="281" y="33"/>
                  </a:lnTo>
                  <a:lnTo>
                    <a:pt x="321" y="42"/>
                  </a:lnTo>
                  <a:lnTo>
                    <a:pt x="353" y="51"/>
                  </a:lnTo>
                  <a:lnTo>
                    <a:pt x="342" y="64"/>
                  </a:lnTo>
                  <a:lnTo>
                    <a:pt x="321" y="85"/>
                  </a:lnTo>
                  <a:lnTo>
                    <a:pt x="316" y="92"/>
                  </a:lnTo>
                  <a:lnTo>
                    <a:pt x="318" y="107"/>
                  </a:lnTo>
                  <a:lnTo>
                    <a:pt x="303" y="107"/>
                  </a:lnTo>
                  <a:lnTo>
                    <a:pt x="288" y="96"/>
                  </a:lnTo>
                  <a:lnTo>
                    <a:pt x="273" y="92"/>
                  </a:lnTo>
                  <a:lnTo>
                    <a:pt x="234" y="101"/>
                  </a:lnTo>
                  <a:lnTo>
                    <a:pt x="224" y="110"/>
                  </a:lnTo>
                  <a:lnTo>
                    <a:pt x="213" y="124"/>
                  </a:lnTo>
                  <a:lnTo>
                    <a:pt x="192" y="137"/>
                  </a:lnTo>
                  <a:lnTo>
                    <a:pt x="179" y="137"/>
                  </a:lnTo>
                  <a:lnTo>
                    <a:pt x="166" y="126"/>
                  </a:lnTo>
                  <a:lnTo>
                    <a:pt x="155" y="126"/>
                  </a:lnTo>
                  <a:lnTo>
                    <a:pt x="115" y="145"/>
                  </a:lnTo>
                  <a:lnTo>
                    <a:pt x="96" y="155"/>
                  </a:lnTo>
                  <a:lnTo>
                    <a:pt x="82" y="157"/>
                  </a:lnTo>
                  <a:lnTo>
                    <a:pt x="50" y="155"/>
                  </a:lnTo>
                  <a:lnTo>
                    <a:pt x="37" y="155"/>
                  </a:lnTo>
                  <a:lnTo>
                    <a:pt x="27" y="140"/>
                  </a:lnTo>
                  <a:lnTo>
                    <a:pt x="22" y="135"/>
                  </a:lnTo>
                  <a:lnTo>
                    <a:pt x="11" y="129"/>
                  </a:lnTo>
                  <a:lnTo>
                    <a:pt x="5" y="122"/>
                  </a:lnTo>
                  <a:lnTo>
                    <a:pt x="0" y="107"/>
                  </a:lnTo>
                  <a:lnTo>
                    <a:pt x="0" y="90"/>
                  </a:lnTo>
                  <a:lnTo>
                    <a:pt x="34" y="76"/>
                  </a:lnTo>
                  <a:lnTo>
                    <a:pt x="72" y="76"/>
                  </a:lnTo>
                  <a:lnTo>
                    <a:pt x="95" y="55"/>
                  </a:lnTo>
                  <a:lnTo>
                    <a:pt x="98" y="19"/>
                  </a:lnTo>
                  <a:lnTo>
                    <a:pt x="120" y="8"/>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8" name="Freeform 489"/>
            <p:cNvSpPr>
              <a:spLocks/>
            </p:cNvSpPr>
            <p:nvPr/>
          </p:nvSpPr>
          <p:spPr bwMode="auto">
            <a:xfrm>
              <a:off x="3160" y="2304"/>
              <a:ext cx="419" cy="213"/>
            </a:xfrm>
            <a:custGeom>
              <a:avLst/>
              <a:gdLst>
                <a:gd name="T0" fmla="*/ 99 w 402"/>
                <a:gd name="T1" fmla="*/ 211 h 220"/>
                <a:gd name="T2" fmla="*/ 96 w 402"/>
                <a:gd name="T3" fmla="*/ 199 h 220"/>
                <a:gd name="T4" fmla="*/ 83 w 402"/>
                <a:gd name="T5" fmla="*/ 192 h 220"/>
                <a:gd name="T6" fmla="*/ 36 w 402"/>
                <a:gd name="T7" fmla="*/ 149 h 220"/>
                <a:gd name="T8" fmla="*/ 33 w 402"/>
                <a:gd name="T9" fmla="*/ 126 h 220"/>
                <a:gd name="T10" fmla="*/ 12 w 402"/>
                <a:gd name="T11" fmla="*/ 123 h 220"/>
                <a:gd name="T12" fmla="*/ 13 w 402"/>
                <a:gd name="T13" fmla="*/ 102 h 220"/>
                <a:gd name="T14" fmla="*/ 6 w 402"/>
                <a:gd name="T15" fmla="*/ 82 h 220"/>
                <a:gd name="T16" fmla="*/ 0 w 402"/>
                <a:gd name="T17" fmla="*/ 71 h 220"/>
                <a:gd name="T18" fmla="*/ 4 w 402"/>
                <a:gd name="T19" fmla="*/ 59 h 220"/>
                <a:gd name="T20" fmla="*/ 19 w 402"/>
                <a:gd name="T21" fmla="*/ 59 h 220"/>
                <a:gd name="T22" fmla="*/ 45 w 402"/>
                <a:gd name="T23" fmla="*/ 53 h 220"/>
                <a:gd name="T24" fmla="*/ 126 w 402"/>
                <a:gd name="T25" fmla="*/ 11 h 220"/>
                <a:gd name="T26" fmla="*/ 143 w 402"/>
                <a:gd name="T27" fmla="*/ 0 h 220"/>
                <a:gd name="T28" fmla="*/ 154 w 402"/>
                <a:gd name="T29" fmla="*/ 13 h 220"/>
                <a:gd name="T30" fmla="*/ 171 w 402"/>
                <a:gd name="T31" fmla="*/ 6 h 220"/>
                <a:gd name="T32" fmla="*/ 187 w 402"/>
                <a:gd name="T33" fmla="*/ 7 h 220"/>
                <a:gd name="T34" fmla="*/ 197 w 402"/>
                <a:gd name="T35" fmla="*/ 14 h 220"/>
                <a:gd name="T36" fmla="*/ 197 w 402"/>
                <a:gd name="T37" fmla="*/ 33 h 220"/>
                <a:gd name="T38" fmla="*/ 226 w 402"/>
                <a:gd name="T39" fmla="*/ 52 h 220"/>
                <a:gd name="T40" fmla="*/ 228 w 402"/>
                <a:gd name="T41" fmla="*/ 65 h 220"/>
                <a:gd name="T42" fmla="*/ 239 w 402"/>
                <a:gd name="T43" fmla="*/ 80 h 220"/>
                <a:gd name="T44" fmla="*/ 247 w 402"/>
                <a:gd name="T45" fmla="*/ 86 h 220"/>
                <a:gd name="T46" fmla="*/ 252 w 402"/>
                <a:gd name="T47" fmla="*/ 80 h 220"/>
                <a:gd name="T48" fmla="*/ 273 w 402"/>
                <a:gd name="T49" fmla="*/ 69 h 220"/>
                <a:gd name="T50" fmla="*/ 282 w 402"/>
                <a:gd name="T51" fmla="*/ 71 h 220"/>
                <a:gd name="T52" fmla="*/ 308 w 402"/>
                <a:gd name="T53" fmla="*/ 100 h 220"/>
                <a:gd name="T54" fmla="*/ 314 w 402"/>
                <a:gd name="T55" fmla="*/ 99 h 220"/>
                <a:gd name="T56" fmla="*/ 341 w 402"/>
                <a:gd name="T57" fmla="*/ 115 h 220"/>
                <a:gd name="T58" fmla="*/ 381 w 402"/>
                <a:gd name="T59" fmla="*/ 113 h 220"/>
                <a:gd name="T60" fmla="*/ 402 w 402"/>
                <a:gd name="T61" fmla="*/ 126 h 220"/>
                <a:gd name="T62" fmla="*/ 358 w 402"/>
                <a:gd name="T63" fmla="*/ 151 h 220"/>
                <a:gd name="T64" fmla="*/ 356 w 402"/>
                <a:gd name="T65" fmla="*/ 181 h 220"/>
                <a:gd name="T66" fmla="*/ 329 w 402"/>
                <a:gd name="T67" fmla="*/ 206 h 220"/>
                <a:gd name="T68" fmla="*/ 300 w 402"/>
                <a:gd name="T69" fmla="*/ 205 h 220"/>
                <a:gd name="T70" fmla="*/ 284 w 402"/>
                <a:gd name="T71" fmla="*/ 212 h 220"/>
                <a:gd name="T72" fmla="*/ 264 w 402"/>
                <a:gd name="T73" fmla="*/ 220 h 220"/>
                <a:gd name="T74" fmla="*/ 239 w 402"/>
                <a:gd name="T75" fmla="*/ 204 h 220"/>
                <a:gd name="T76" fmla="*/ 223 w 402"/>
                <a:gd name="T77" fmla="*/ 212 h 220"/>
                <a:gd name="T78" fmla="*/ 209 w 402"/>
                <a:gd name="T79" fmla="*/ 215 h 220"/>
                <a:gd name="T80" fmla="*/ 197 w 402"/>
                <a:gd name="T81" fmla="*/ 196 h 220"/>
                <a:gd name="T82" fmla="*/ 162 w 402"/>
                <a:gd name="T83" fmla="*/ 197 h 220"/>
                <a:gd name="T84" fmla="*/ 151 w 402"/>
                <a:gd name="T85" fmla="*/ 205 h 220"/>
                <a:gd name="T86" fmla="*/ 143 w 402"/>
                <a:gd name="T87" fmla="*/ 213 h 220"/>
                <a:gd name="T88" fmla="*/ 128 w 402"/>
                <a:gd name="T89" fmla="*/ 213 h 220"/>
                <a:gd name="T90" fmla="*/ 112 w 402"/>
                <a:gd name="T91" fmla="*/ 216 h 220"/>
                <a:gd name="T92" fmla="*/ 99 w 402"/>
                <a:gd name="T93" fmla="*/ 21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2" h="220">
                  <a:moveTo>
                    <a:pt x="99" y="211"/>
                  </a:moveTo>
                  <a:lnTo>
                    <a:pt x="96" y="199"/>
                  </a:lnTo>
                  <a:lnTo>
                    <a:pt x="83" y="192"/>
                  </a:lnTo>
                  <a:lnTo>
                    <a:pt x="36" y="149"/>
                  </a:lnTo>
                  <a:lnTo>
                    <a:pt x="33" y="126"/>
                  </a:lnTo>
                  <a:lnTo>
                    <a:pt x="12" y="123"/>
                  </a:lnTo>
                  <a:lnTo>
                    <a:pt x="13" y="102"/>
                  </a:lnTo>
                  <a:lnTo>
                    <a:pt x="6" y="82"/>
                  </a:lnTo>
                  <a:lnTo>
                    <a:pt x="0" y="71"/>
                  </a:lnTo>
                  <a:lnTo>
                    <a:pt x="4" y="59"/>
                  </a:lnTo>
                  <a:lnTo>
                    <a:pt x="19" y="59"/>
                  </a:lnTo>
                  <a:lnTo>
                    <a:pt x="45" y="53"/>
                  </a:lnTo>
                  <a:lnTo>
                    <a:pt x="126" y="11"/>
                  </a:lnTo>
                  <a:lnTo>
                    <a:pt x="143" y="0"/>
                  </a:lnTo>
                  <a:lnTo>
                    <a:pt x="154" y="13"/>
                  </a:lnTo>
                  <a:lnTo>
                    <a:pt x="171" y="6"/>
                  </a:lnTo>
                  <a:lnTo>
                    <a:pt x="187" y="7"/>
                  </a:lnTo>
                  <a:lnTo>
                    <a:pt x="197" y="14"/>
                  </a:lnTo>
                  <a:lnTo>
                    <a:pt x="197" y="33"/>
                  </a:lnTo>
                  <a:lnTo>
                    <a:pt x="226" y="52"/>
                  </a:lnTo>
                  <a:lnTo>
                    <a:pt x="228" y="65"/>
                  </a:lnTo>
                  <a:lnTo>
                    <a:pt x="239" y="80"/>
                  </a:lnTo>
                  <a:lnTo>
                    <a:pt x="247" y="86"/>
                  </a:lnTo>
                  <a:lnTo>
                    <a:pt x="252" y="80"/>
                  </a:lnTo>
                  <a:lnTo>
                    <a:pt x="273" y="69"/>
                  </a:lnTo>
                  <a:lnTo>
                    <a:pt x="282" y="71"/>
                  </a:lnTo>
                  <a:lnTo>
                    <a:pt x="308" y="100"/>
                  </a:lnTo>
                  <a:lnTo>
                    <a:pt x="314" y="99"/>
                  </a:lnTo>
                  <a:lnTo>
                    <a:pt x="341" y="115"/>
                  </a:lnTo>
                  <a:lnTo>
                    <a:pt x="381" y="113"/>
                  </a:lnTo>
                  <a:lnTo>
                    <a:pt x="402" y="126"/>
                  </a:lnTo>
                  <a:lnTo>
                    <a:pt x="358" y="151"/>
                  </a:lnTo>
                  <a:lnTo>
                    <a:pt x="356" y="181"/>
                  </a:lnTo>
                  <a:lnTo>
                    <a:pt x="329" y="206"/>
                  </a:lnTo>
                  <a:lnTo>
                    <a:pt x="300" y="205"/>
                  </a:lnTo>
                  <a:lnTo>
                    <a:pt x="284" y="212"/>
                  </a:lnTo>
                  <a:lnTo>
                    <a:pt x="264" y="220"/>
                  </a:lnTo>
                  <a:lnTo>
                    <a:pt x="239" y="204"/>
                  </a:lnTo>
                  <a:lnTo>
                    <a:pt x="223" y="212"/>
                  </a:lnTo>
                  <a:lnTo>
                    <a:pt x="209" y="215"/>
                  </a:lnTo>
                  <a:lnTo>
                    <a:pt x="197" y="196"/>
                  </a:lnTo>
                  <a:lnTo>
                    <a:pt x="162" y="197"/>
                  </a:lnTo>
                  <a:lnTo>
                    <a:pt x="151" y="205"/>
                  </a:lnTo>
                  <a:lnTo>
                    <a:pt x="143" y="213"/>
                  </a:lnTo>
                  <a:lnTo>
                    <a:pt x="128" y="213"/>
                  </a:lnTo>
                  <a:lnTo>
                    <a:pt x="112" y="216"/>
                  </a:lnTo>
                  <a:lnTo>
                    <a:pt x="99" y="211"/>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69" name="Freeform 490"/>
            <p:cNvSpPr>
              <a:spLocks/>
            </p:cNvSpPr>
            <p:nvPr/>
          </p:nvSpPr>
          <p:spPr bwMode="auto">
            <a:xfrm>
              <a:off x="3787" y="1581"/>
              <a:ext cx="226" cy="181"/>
            </a:xfrm>
            <a:custGeom>
              <a:avLst/>
              <a:gdLst>
                <a:gd name="T0" fmla="*/ 207 w 214"/>
                <a:gd name="T1" fmla="*/ 180 h 191"/>
                <a:gd name="T2" fmla="*/ 205 w 214"/>
                <a:gd name="T3" fmla="*/ 169 h 191"/>
                <a:gd name="T4" fmla="*/ 212 w 214"/>
                <a:gd name="T5" fmla="*/ 159 h 191"/>
                <a:gd name="T6" fmla="*/ 212 w 214"/>
                <a:gd name="T7" fmla="*/ 145 h 191"/>
                <a:gd name="T8" fmla="*/ 197 w 214"/>
                <a:gd name="T9" fmla="*/ 134 h 191"/>
                <a:gd name="T10" fmla="*/ 192 w 214"/>
                <a:gd name="T11" fmla="*/ 128 h 191"/>
                <a:gd name="T12" fmla="*/ 188 w 214"/>
                <a:gd name="T13" fmla="*/ 109 h 191"/>
                <a:gd name="T14" fmla="*/ 179 w 214"/>
                <a:gd name="T15" fmla="*/ 93 h 191"/>
                <a:gd name="T16" fmla="*/ 169 w 214"/>
                <a:gd name="T17" fmla="*/ 80 h 191"/>
                <a:gd name="T18" fmla="*/ 169 w 214"/>
                <a:gd name="T19" fmla="*/ 69 h 191"/>
                <a:gd name="T20" fmla="*/ 175 w 214"/>
                <a:gd name="T21" fmla="*/ 61 h 191"/>
                <a:gd name="T22" fmla="*/ 199 w 214"/>
                <a:gd name="T23" fmla="*/ 63 h 191"/>
                <a:gd name="T24" fmla="*/ 208 w 214"/>
                <a:gd name="T25" fmla="*/ 52 h 191"/>
                <a:gd name="T26" fmla="*/ 214 w 214"/>
                <a:gd name="T27" fmla="*/ 24 h 191"/>
                <a:gd name="T28" fmla="*/ 212 w 214"/>
                <a:gd name="T29" fmla="*/ 15 h 191"/>
                <a:gd name="T30" fmla="*/ 201 w 214"/>
                <a:gd name="T31" fmla="*/ 13 h 191"/>
                <a:gd name="T32" fmla="*/ 181 w 214"/>
                <a:gd name="T33" fmla="*/ 15 h 191"/>
                <a:gd name="T34" fmla="*/ 153 w 214"/>
                <a:gd name="T35" fmla="*/ 15 h 191"/>
                <a:gd name="T36" fmla="*/ 132 w 214"/>
                <a:gd name="T37" fmla="*/ 6 h 191"/>
                <a:gd name="T38" fmla="*/ 117 w 214"/>
                <a:gd name="T39" fmla="*/ 2 h 191"/>
                <a:gd name="T40" fmla="*/ 104 w 214"/>
                <a:gd name="T41" fmla="*/ 0 h 191"/>
                <a:gd name="T42" fmla="*/ 91 w 214"/>
                <a:gd name="T43" fmla="*/ 17 h 191"/>
                <a:gd name="T44" fmla="*/ 76 w 214"/>
                <a:gd name="T45" fmla="*/ 28 h 191"/>
                <a:gd name="T46" fmla="*/ 54 w 214"/>
                <a:gd name="T47" fmla="*/ 26 h 191"/>
                <a:gd name="T48" fmla="*/ 41 w 214"/>
                <a:gd name="T49" fmla="*/ 35 h 191"/>
                <a:gd name="T50" fmla="*/ 20 w 214"/>
                <a:gd name="T51" fmla="*/ 56 h 191"/>
                <a:gd name="T52" fmla="*/ 4 w 214"/>
                <a:gd name="T53" fmla="*/ 69 h 191"/>
                <a:gd name="T54" fmla="*/ 0 w 214"/>
                <a:gd name="T55" fmla="*/ 78 h 191"/>
                <a:gd name="T56" fmla="*/ 9 w 214"/>
                <a:gd name="T57" fmla="*/ 95 h 191"/>
                <a:gd name="T58" fmla="*/ 19 w 214"/>
                <a:gd name="T59" fmla="*/ 117 h 191"/>
                <a:gd name="T60" fmla="*/ 30 w 214"/>
                <a:gd name="T61" fmla="*/ 130 h 191"/>
                <a:gd name="T62" fmla="*/ 41 w 214"/>
                <a:gd name="T63" fmla="*/ 126 h 191"/>
                <a:gd name="T64" fmla="*/ 60 w 214"/>
                <a:gd name="T65" fmla="*/ 119 h 191"/>
                <a:gd name="T66" fmla="*/ 58 w 214"/>
                <a:gd name="T67" fmla="*/ 137 h 191"/>
                <a:gd name="T68" fmla="*/ 52 w 214"/>
                <a:gd name="T69" fmla="*/ 159 h 191"/>
                <a:gd name="T70" fmla="*/ 54 w 214"/>
                <a:gd name="T71" fmla="*/ 163 h 191"/>
                <a:gd name="T72" fmla="*/ 63 w 214"/>
                <a:gd name="T73" fmla="*/ 163 h 191"/>
                <a:gd name="T74" fmla="*/ 76 w 214"/>
                <a:gd name="T75" fmla="*/ 159 h 191"/>
                <a:gd name="T76" fmla="*/ 104 w 214"/>
                <a:gd name="T77" fmla="*/ 162 h 191"/>
                <a:gd name="T78" fmla="*/ 112 w 214"/>
                <a:gd name="T79" fmla="*/ 172 h 191"/>
                <a:gd name="T80" fmla="*/ 128 w 214"/>
                <a:gd name="T81" fmla="*/ 178 h 191"/>
                <a:gd name="T82" fmla="*/ 141 w 214"/>
                <a:gd name="T83" fmla="*/ 191 h 191"/>
                <a:gd name="T84" fmla="*/ 150 w 214"/>
                <a:gd name="T85" fmla="*/ 189 h 191"/>
                <a:gd name="T86" fmla="*/ 167 w 214"/>
                <a:gd name="T87" fmla="*/ 180 h 191"/>
                <a:gd name="T88" fmla="*/ 184 w 214"/>
                <a:gd name="T89" fmla="*/ 178 h 191"/>
                <a:gd name="T90" fmla="*/ 207 w 214"/>
                <a:gd name="T91" fmla="*/ 18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4" h="191">
                  <a:moveTo>
                    <a:pt x="207" y="180"/>
                  </a:moveTo>
                  <a:lnTo>
                    <a:pt x="205" y="169"/>
                  </a:lnTo>
                  <a:lnTo>
                    <a:pt x="212" y="159"/>
                  </a:lnTo>
                  <a:lnTo>
                    <a:pt x="212" y="145"/>
                  </a:lnTo>
                  <a:lnTo>
                    <a:pt x="197" y="134"/>
                  </a:lnTo>
                  <a:lnTo>
                    <a:pt x="192" y="128"/>
                  </a:lnTo>
                  <a:lnTo>
                    <a:pt x="188" y="109"/>
                  </a:lnTo>
                  <a:lnTo>
                    <a:pt x="179" y="93"/>
                  </a:lnTo>
                  <a:lnTo>
                    <a:pt x="169" y="80"/>
                  </a:lnTo>
                  <a:lnTo>
                    <a:pt x="169" y="69"/>
                  </a:lnTo>
                  <a:lnTo>
                    <a:pt x="175" y="61"/>
                  </a:lnTo>
                  <a:lnTo>
                    <a:pt x="199" y="63"/>
                  </a:lnTo>
                  <a:lnTo>
                    <a:pt x="208" y="52"/>
                  </a:lnTo>
                  <a:lnTo>
                    <a:pt x="214" y="24"/>
                  </a:lnTo>
                  <a:lnTo>
                    <a:pt x="212" y="15"/>
                  </a:lnTo>
                  <a:lnTo>
                    <a:pt x="201" y="13"/>
                  </a:lnTo>
                  <a:lnTo>
                    <a:pt x="181" y="15"/>
                  </a:lnTo>
                  <a:lnTo>
                    <a:pt x="153" y="15"/>
                  </a:lnTo>
                  <a:lnTo>
                    <a:pt x="132" y="6"/>
                  </a:lnTo>
                  <a:lnTo>
                    <a:pt x="117" y="2"/>
                  </a:lnTo>
                  <a:lnTo>
                    <a:pt x="104" y="0"/>
                  </a:lnTo>
                  <a:lnTo>
                    <a:pt x="91" y="17"/>
                  </a:lnTo>
                  <a:lnTo>
                    <a:pt x="76" y="28"/>
                  </a:lnTo>
                  <a:lnTo>
                    <a:pt x="54" y="26"/>
                  </a:lnTo>
                  <a:lnTo>
                    <a:pt x="41" y="35"/>
                  </a:lnTo>
                  <a:lnTo>
                    <a:pt x="20" y="56"/>
                  </a:lnTo>
                  <a:lnTo>
                    <a:pt x="4" y="69"/>
                  </a:lnTo>
                  <a:lnTo>
                    <a:pt x="0" y="78"/>
                  </a:lnTo>
                  <a:lnTo>
                    <a:pt x="9" y="95"/>
                  </a:lnTo>
                  <a:lnTo>
                    <a:pt x="19" y="117"/>
                  </a:lnTo>
                  <a:lnTo>
                    <a:pt x="30" y="130"/>
                  </a:lnTo>
                  <a:lnTo>
                    <a:pt x="41" y="126"/>
                  </a:lnTo>
                  <a:lnTo>
                    <a:pt x="60" y="119"/>
                  </a:lnTo>
                  <a:lnTo>
                    <a:pt x="58" y="137"/>
                  </a:lnTo>
                  <a:lnTo>
                    <a:pt x="52" y="159"/>
                  </a:lnTo>
                  <a:lnTo>
                    <a:pt x="54" y="163"/>
                  </a:lnTo>
                  <a:lnTo>
                    <a:pt x="63" y="163"/>
                  </a:lnTo>
                  <a:lnTo>
                    <a:pt x="76" y="159"/>
                  </a:lnTo>
                  <a:lnTo>
                    <a:pt x="104" y="162"/>
                  </a:lnTo>
                  <a:lnTo>
                    <a:pt x="112" y="172"/>
                  </a:lnTo>
                  <a:lnTo>
                    <a:pt x="128" y="178"/>
                  </a:lnTo>
                  <a:lnTo>
                    <a:pt x="141" y="191"/>
                  </a:lnTo>
                  <a:lnTo>
                    <a:pt x="150" y="189"/>
                  </a:lnTo>
                  <a:lnTo>
                    <a:pt x="167" y="180"/>
                  </a:lnTo>
                  <a:lnTo>
                    <a:pt x="184" y="178"/>
                  </a:lnTo>
                  <a:lnTo>
                    <a:pt x="207" y="180"/>
                  </a:lnTo>
                  <a:close/>
                </a:path>
              </a:pathLst>
            </a:custGeom>
            <a:solidFill>
              <a:schemeClr val="accent2">
                <a:lumMod val="60000"/>
                <a:lumOff val="40000"/>
              </a:schemeClr>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70" name="Freeform 491"/>
            <p:cNvSpPr>
              <a:spLocks/>
            </p:cNvSpPr>
            <p:nvPr/>
          </p:nvSpPr>
          <p:spPr bwMode="auto">
            <a:xfrm>
              <a:off x="3301" y="1988"/>
              <a:ext cx="575" cy="492"/>
            </a:xfrm>
            <a:custGeom>
              <a:avLst/>
              <a:gdLst>
                <a:gd name="T0" fmla="*/ 11 w 551"/>
                <a:gd name="T1" fmla="*/ 130 h 518"/>
                <a:gd name="T2" fmla="*/ 0 w 551"/>
                <a:gd name="T3" fmla="*/ 165 h 518"/>
                <a:gd name="T4" fmla="*/ 24 w 551"/>
                <a:gd name="T5" fmla="*/ 198 h 518"/>
                <a:gd name="T6" fmla="*/ 20 w 551"/>
                <a:gd name="T7" fmla="*/ 226 h 518"/>
                <a:gd name="T8" fmla="*/ 30 w 551"/>
                <a:gd name="T9" fmla="*/ 250 h 518"/>
                <a:gd name="T10" fmla="*/ 37 w 551"/>
                <a:gd name="T11" fmla="*/ 297 h 518"/>
                <a:gd name="T12" fmla="*/ 39 w 551"/>
                <a:gd name="T13" fmla="*/ 315 h 518"/>
                <a:gd name="T14" fmla="*/ 33 w 551"/>
                <a:gd name="T15" fmla="*/ 332 h 518"/>
                <a:gd name="T16" fmla="*/ 48 w 551"/>
                <a:gd name="T17" fmla="*/ 341 h 518"/>
                <a:gd name="T18" fmla="*/ 63 w 551"/>
                <a:gd name="T19" fmla="*/ 352 h 518"/>
                <a:gd name="T20" fmla="*/ 78 w 551"/>
                <a:gd name="T21" fmla="*/ 380 h 518"/>
                <a:gd name="T22" fmla="*/ 94 w 551"/>
                <a:gd name="T23" fmla="*/ 399 h 518"/>
                <a:gd name="T24" fmla="*/ 126 w 551"/>
                <a:gd name="T25" fmla="*/ 408 h 518"/>
                <a:gd name="T26" fmla="*/ 148 w 551"/>
                <a:gd name="T27" fmla="*/ 406 h 518"/>
                <a:gd name="T28" fmla="*/ 180 w 551"/>
                <a:gd name="T29" fmla="*/ 436 h 518"/>
                <a:gd name="T30" fmla="*/ 218 w 551"/>
                <a:gd name="T31" fmla="*/ 452 h 518"/>
                <a:gd name="T32" fmla="*/ 246 w 551"/>
                <a:gd name="T33" fmla="*/ 447 h 518"/>
                <a:gd name="T34" fmla="*/ 276 w 551"/>
                <a:gd name="T35" fmla="*/ 467 h 518"/>
                <a:gd name="T36" fmla="*/ 291 w 551"/>
                <a:gd name="T37" fmla="*/ 469 h 518"/>
                <a:gd name="T38" fmla="*/ 314 w 551"/>
                <a:gd name="T39" fmla="*/ 478 h 518"/>
                <a:gd name="T40" fmla="*/ 340 w 551"/>
                <a:gd name="T41" fmla="*/ 498 h 518"/>
                <a:gd name="T42" fmla="*/ 362 w 551"/>
                <a:gd name="T43" fmla="*/ 501 h 518"/>
                <a:gd name="T44" fmla="*/ 379 w 551"/>
                <a:gd name="T45" fmla="*/ 490 h 518"/>
                <a:gd name="T46" fmla="*/ 482 w 551"/>
                <a:gd name="T47" fmla="*/ 518 h 518"/>
                <a:gd name="T48" fmla="*/ 486 w 551"/>
                <a:gd name="T49" fmla="*/ 490 h 518"/>
                <a:gd name="T50" fmla="*/ 536 w 551"/>
                <a:gd name="T51" fmla="*/ 408 h 518"/>
                <a:gd name="T52" fmla="*/ 551 w 551"/>
                <a:gd name="T53" fmla="*/ 374 h 518"/>
                <a:gd name="T54" fmla="*/ 532 w 551"/>
                <a:gd name="T55" fmla="*/ 324 h 518"/>
                <a:gd name="T56" fmla="*/ 505 w 551"/>
                <a:gd name="T57" fmla="*/ 287 h 518"/>
                <a:gd name="T58" fmla="*/ 505 w 551"/>
                <a:gd name="T59" fmla="*/ 254 h 518"/>
                <a:gd name="T60" fmla="*/ 503 w 551"/>
                <a:gd name="T61" fmla="*/ 226 h 518"/>
                <a:gd name="T62" fmla="*/ 503 w 551"/>
                <a:gd name="T63" fmla="*/ 208 h 518"/>
                <a:gd name="T64" fmla="*/ 523 w 551"/>
                <a:gd name="T65" fmla="*/ 182 h 518"/>
                <a:gd name="T66" fmla="*/ 514 w 551"/>
                <a:gd name="T67" fmla="*/ 128 h 518"/>
                <a:gd name="T68" fmla="*/ 508 w 551"/>
                <a:gd name="T69" fmla="*/ 91 h 518"/>
                <a:gd name="T70" fmla="*/ 482 w 551"/>
                <a:gd name="T71" fmla="*/ 59 h 518"/>
                <a:gd name="T72" fmla="*/ 418 w 551"/>
                <a:gd name="T73" fmla="*/ 56 h 518"/>
                <a:gd name="T74" fmla="*/ 344 w 551"/>
                <a:gd name="T75" fmla="*/ 50 h 518"/>
                <a:gd name="T76" fmla="*/ 304 w 551"/>
                <a:gd name="T77" fmla="*/ 39 h 518"/>
                <a:gd name="T78" fmla="*/ 280 w 551"/>
                <a:gd name="T79" fmla="*/ 52 h 518"/>
                <a:gd name="T80" fmla="*/ 257 w 551"/>
                <a:gd name="T81" fmla="*/ 37 h 518"/>
                <a:gd name="T82" fmla="*/ 239 w 551"/>
                <a:gd name="T83" fmla="*/ 32 h 518"/>
                <a:gd name="T84" fmla="*/ 218 w 551"/>
                <a:gd name="T85" fmla="*/ 2 h 518"/>
                <a:gd name="T86" fmla="*/ 183 w 551"/>
                <a:gd name="T87" fmla="*/ 6 h 518"/>
                <a:gd name="T88" fmla="*/ 150 w 551"/>
                <a:gd name="T89" fmla="*/ 20 h 518"/>
                <a:gd name="T90" fmla="*/ 98 w 551"/>
                <a:gd name="T91" fmla="*/ 43 h 518"/>
                <a:gd name="T92" fmla="*/ 52 w 551"/>
                <a:gd name="T93" fmla="*/ 63 h 518"/>
                <a:gd name="T94" fmla="*/ 24 w 551"/>
                <a:gd name="T95" fmla="*/ 9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1" h="518">
                  <a:moveTo>
                    <a:pt x="13" y="98"/>
                  </a:moveTo>
                  <a:lnTo>
                    <a:pt x="11" y="130"/>
                  </a:lnTo>
                  <a:lnTo>
                    <a:pt x="11" y="150"/>
                  </a:lnTo>
                  <a:lnTo>
                    <a:pt x="0" y="165"/>
                  </a:lnTo>
                  <a:lnTo>
                    <a:pt x="22" y="191"/>
                  </a:lnTo>
                  <a:lnTo>
                    <a:pt x="24" y="198"/>
                  </a:lnTo>
                  <a:lnTo>
                    <a:pt x="19" y="215"/>
                  </a:lnTo>
                  <a:lnTo>
                    <a:pt x="20" y="226"/>
                  </a:lnTo>
                  <a:lnTo>
                    <a:pt x="31" y="241"/>
                  </a:lnTo>
                  <a:lnTo>
                    <a:pt x="30" y="250"/>
                  </a:lnTo>
                  <a:lnTo>
                    <a:pt x="28" y="278"/>
                  </a:lnTo>
                  <a:lnTo>
                    <a:pt x="37" y="297"/>
                  </a:lnTo>
                  <a:lnTo>
                    <a:pt x="44" y="308"/>
                  </a:lnTo>
                  <a:lnTo>
                    <a:pt x="39" y="315"/>
                  </a:lnTo>
                  <a:lnTo>
                    <a:pt x="39" y="326"/>
                  </a:lnTo>
                  <a:lnTo>
                    <a:pt x="33" y="332"/>
                  </a:lnTo>
                  <a:lnTo>
                    <a:pt x="33" y="339"/>
                  </a:lnTo>
                  <a:lnTo>
                    <a:pt x="48" y="341"/>
                  </a:lnTo>
                  <a:lnTo>
                    <a:pt x="59" y="345"/>
                  </a:lnTo>
                  <a:lnTo>
                    <a:pt x="63" y="352"/>
                  </a:lnTo>
                  <a:lnTo>
                    <a:pt x="63" y="365"/>
                  </a:lnTo>
                  <a:lnTo>
                    <a:pt x="78" y="380"/>
                  </a:lnTo>
                  <a:lnTo>
                    <a:pt x="91" y="386"/>
                  </a:lnTo>
                  <a:lnTo>
                    <a:pt x="94" y="399"/>
                  </a:lnTo>
                  <a:lnTo>
                    <a:pt x="111" y="421"/>
                  </a:lnTo>
                  <a:lnTo>
                    <a:pt x="126" y="408"/>
                  </a:lnTo>
                  <a:lnTo>
                    <a:pt x="139" y="404"/>
                  </a:lnTo>
                  <a:lnTo>
                    <a:pt x="148" y="406"/>
                  </a:lnTo>
                  <a:lnTo>
                    <a:pt x="174" y="434"/>
                  </a:lnTo>
                  <a:lnTo>
                    <a:pt x="180" y="436"/>
                  </a:lnTo>
                  <a:lnTo>
                    <a:pt x="211" y="450"/>
                  </a:lnTo>
                  <a:lnTo>
                    <a:pt x="218" y="452"/>
                  </a:lnTo>
                  <a:lnTo>
                    <a:pt x="231" y="449"/>
                  </a:lnTo>
                  <a:lnTo>
                    <a:pt x="246" y="447"/>
                  </a:lnTo>
                  <a:lnTo>
                    <a:pt x="259" y="452"/>
                  </a:lnTo>
                  <a:lnTo>
                    <a:pt x="276" y="467"/>
                  </a:lnTo>
                  <a:lnTo>
                    <a:pt x="283" y="475"/>
                  </a:lnTo>
                  <a:lnTo>
                    <a:pt x="291" y="469"/>
                  </a:lnTo>
                  <a:lnTo>
                    <a:pt x="300" y="467"/>
                  </a:lnTo>
                  <a:lnTo>
                    <a:pt x="314" y="478"/>
                  </a:lnTo>
                  <a:lnTo>
                    <a:pt x="329" y="490"/>
                  </a:lnTo>
                  <a:lnTo>
                    <a:pt x="340" y="498"/>
                  </a:lnTo>
                  <a:lnTo>
                    <a:pt x="355" y="503"/>
                  </a:lnTo>
                  <a:lnTo>
                    <a:pt x="362" y="501"/>
                  </a:lnTo>
                  <a:lnTo>
                    <a:pt x="369" y="494"/>
                  </a:lnTo>
                  <a:lnTo>
                    <a:pt x="379" y="490"/>
                  </a:lnTo>
                  <a:lnTo>
                    <a:pt x="397" y="496"/>
                  </a:lnTo>
                  <a:lnTo>
                    <a:pt x="482" y="518"/>
                  </a:lnTo>
                  <a:lnTo>
                    <a:pt x="495" y="507"/>
                  </a:lnTo>
                  <a:lnTo>
                    <a:pt x="486" y="490"/>
                  </a:lnTo>
                  <a:lnTo>
                    <a:pt x="477" y="462"/>
                  </a:lnTo>
                  <a:lnTo>
                    <a:pt x="536" y="408"/>
                  </a:lnTo>
                  <a:lnTo>
                    <a:pt x="547" y="395"/>
                  </a:lnTo>
                  <a:lnTo>
                    <a:pt x="551" y="374"/>
                  </a:lnTo>
                  <a:lnTo>
                    <a:pt x="542" y="347"/>
                  </a:lnTo>
                  <a:lnTo>
                    <a:pt x="532" y="324"/>
                  </a:lnTo>
                  <a:lnTo>
                    <a:pt x="516" y="298"/>
                  </a:lnTo>
                  <a:lnTo>
                    <a:pt x="505" y="287"/>
                  </a:lnTo>
                  <a:lnTo>
                    <a:pt x="503" y="271"/>
                  </a:lnTo>
                  <a:lnTo>
                    <a:pt x="505" y="254"/>
                  </a:lnTo>
                  <a:lnTo>
                    <a:pt x="510" y="237"/>
                  </a:lnTo>
                  <a:lnTo>
                    <a:pt x="503" y="226"/>
                  </a:lnTo>
                  <a:lnTo>
                    <a:pt x="494" y="219"/>
                  </a:lnTo>
                  <a:lnTo>
                    <a:pt x="503" y="208"/>
                  </a:lnTo>
                  <a:lnTo>
                    <a:pt x="518" y="187"/>
                  </a:lnTo>
                  <a:lnTo>
                    <a:pt x="523" y="182"/>
                  </a:lnTo>
                  <a:lnTo>
                    <a:pt x="520" y="146"/>
                  </a:lnTo>
                  <a:lnTo>
                    <a:pt x="514" y="128"/>
                  </a:lnTo>
                  <a:lnTo>
                    <a:pt x="508" y="109"/>
                  </a:lnTo>
                  <a:lnTo>
                    <a:pt x="508" y="91"/>
                  </a:lnTo>
                  <a:lnTo>
                    <a:pt x="497" y="74"/>
                  </a:lnTo>
                  <a:lnTo>
                    <a:pt x="482" y="59"/>
                  </a:lnTo>
                  <a:lnTo>
                    <a:pt x="466" y="57"/>
                  </a:lnTo>
                  <a:lnTo>
                    <a:pt x="418" y="56"/>
                  </a:lnTo>
                  <a:lnTo>
                    <a:pt x="392" y="54"/>
                  </a:lnTo>
                  <a:lnTo>
                    <a:pt x="344" y="50"/>
                  </a:lnTo>
                  <a:lnTo>
                    <a:pt x="325" y="41"/>
                  </a:lnTo>
                  <a:lnTo>
                    <a:pt x="304" y="39"/>
                  </a:lnTo>
                  <a:lnTo>
                    <a:pt x="293" y="43"/>
                  </a:lnTo>
                  <a:lnTo>
                    <a:pt x="280" y="52"/>
                  </a:lnTo>
                  <a:lnTo>
                    <a:pt x="268" y="48"/>
                  </a:lnTo>
                  <a:lnTo>
                    <a:pt x="257" y="37"/>
                  </a:lnTo>
                  <a:lnTo>
                    <a:pt x="244" y="37"/>
                  </a:lnTo>
                  <a:lnTo>
                    <a:pt x="239" y="32"/>
                  </a:lnTo>
                  <a:lnTo>
                    <a:pt x="235" y="15"/>
                  </a:lnTo>
                  <a:lnTo>
                    <a:pt x="218" y="2"/>
                  </a:lnTo>
                  <a:lnTo>
                    <a:pt x="206" y="0"/>
                  </a:lnTo>
                  <a:lnTo>
                    <a:pt x="183" y="6"/>
                  </a:lnTo>
                  <a:lnTo>
                    <a:pt x="165" y="11"/>
                  </a:lnTo>
                  <a:lnTo>
                    <a:pt x="150" y="20"/>
                  </a:lnTo>
                  <a:lnTo>
                    <a:pt x="124" y="35"/>
                  </a:lnTo>
                  <a:lnTo>
                    <a:pt x="98" y="43"/>
                  </a:lnTo>
                  <a:lnTo>
                    <a:pt x="76" y="52"/>
                  </a:lnTo>
                  <a:lnTo>
                    <a:pt x="52" y="63"/>
                  </a:lnTo>
                  <a:lnTo>
                    <a:pt x="39" y="78"/>
                  </a:lnTo>
                  <a:lnTo>
                    <a:pt x="24" y="91"/>
                  </a:lnTo>
                  <a:lnTo>
                    <a:pt x="13" y="98"/>
                  </a:lnTo>
                  <a:close/>
                </a:path>
              </a:pathLst>
            </a:custGeom>
            <a:grp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sp>
          <p:nvSpPr>
            <p:cNvPr id="371" name="Freeform 492"/>
            <p:cNvSpPr>
              <a:spLocks/>
            </p:cNvSpPr>
            <p:nvPr/>
          </p:nvSpPr>
          <p:spPr bwMode="auto">
            <a:xfrm>
              <a:off x="3203" y="2670"/>
              <a:ext cx="206" cy="105"/>
            </a:xfrm>
            <a:custGeom>
              <a:avLst/>
              <a:gdLst>
                <a:gd name="T0" fmla="*/ 17 w 198"/>
                <a:gd name="T1" fmla="*/ 63 h 115"/>
                <a:gd name="T2" fmla="*/ 37 w 198"/>
                <a:gd name="T3" fmla="*/ 83 h 115"/>
                <a:gd name="T4" fmla="*/ 31 w 198"/>
                <a:gd name="T5" fmla="*/ 93 h 115"/>
                <a:gd name="T6" fmla="*/ 22 w 198"/>
                <a:gd name="T7" fmla="*/ 100 h 115"/>
                <a:gd name="T8" fmla="*/ 11 w 198"/>
                <a:gd name="T9" fmla="*/ 102 h 115"/>
                <a:gd name="T10" fmla="*/ 0 w 198"/>
                <a:gd name="T11" fmla="*/ 104 h 115"/>
                <a:gd name="T12" fmla="*/ 20 w 198"/>
                <a:gd name="T13" fmla="*/ 113 h 115"/>
                <a:gd name="T14" fmla="*/ 28 w 198"/>
                <a:gd name="T15" fmla="*/ 115 h 115"/>
                <a:gd name="T16" fmla="*/ 53 w 198"/>
                <a:gd name="T17" fmla="*/ 100 h 115"/>
                <a:gd name="T18" fmla="*/ 108 w 198"/>
                <a:gd name="T19" fmla="*/ 114 h 115"/>
                <a:gd name="T20" fmla="*/ 144 w 198"/>
                <a:gd name="T21" fmla="*/ 74 h 115"/>
                <a:gd name="T22" fmla="*/ 151 w 198"/>
                <a:gd name="T23" fmla="*/ 57 h 115"/>
                <a:gd name="T24" fmla="*/ 158 w 198"/>
                <a:gd name="T25" fmla="*/ 52 h 115"/>
                <a:gd name="T26" fmla="*/ 178 w 198"/>
                <a:gd name="T27" fmla="*/ 54 h 115"/>
                <a:gd name="T28" fmla="*/ 198 w 198"/>
                <a:gd name="T29" fmla="*/ 30 h 115"/>
                <a:gd name="T30" fmla="*/ 196 w 198"/>
                <a:gd name="T31" fmla="*/ 15 h 115"/>
                <a:gd name="T32" fmla="*/ 182 w 198"/>
                <a:gd name="T33" fmla="*/ 0 h 115"/>
                <a:gd name="T34" fmla="*/ 173 w 198"/>
                <a:gd name="T35" fmla="*/ 2 h 115"/>
                <a:gd name="T36" fmla="*/ 163 w 198"/>
                <a:gd name="T37" fmla="*/ 5 h 115"/>
                <a:gd name="T38" fmla="*/ 145 w 198"/>
                <a:gd name="T39" fmla="*/ 1 h 115"/>
                <a:gd name="T40" fmla="*/ 127 w 198"/>
                <a:gd name="T41" fmla="*/ 2 h 115"/>
                <a:gd name="T42" fmla="*/ 109 w 198"/>
                <a:gd name="T43" fmla="*/ 7 h 115"/>
                <a:gd name="T44" fmla="*/ 84 w 198"/>
                <a:gd name="T45" fmla="*/ 5 h 115"/>
                <a:gd name="T46" fmla="*/ 73 w 198"/>
                <a:gd name="T47" fmla="*/ 20 h 115"/>
                <a:gd name="T48" fmla="*/ 31 w 198"/>
                <a:gd name="T49" fmla="*/ 7 h 115"/>
                <a:gd name="T50" fmla="*/ 15 w 198"/>
                <a:gd name="T51" fmla="*/ 7 h 115"/>
                <a:gd name="T52" fmla="*/ 15 w 198"/>
                <a:gd name="T53" fmla="*/ 32 h 115"/>
                <a:gd name="T54" fmla="*/ 17 w 198"/>
                <a:gd name="T55" fmla="*/ 6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8" h="115">
                  <a:moveTo>
                    <a:pt x="17" y="63"/>
                  </a:moveTo>
                  <a:lnTo>
                    <a:pt x="37" y="83"/>
                  </a:lnTo>
                  <a:lnTo>
                    <a:pt x="31" y="93"/>
                  </a:lnTo>
                  <a:lnTo>
                    <a:pt x="22" y="100"/>
                  </a:lnTo>
                  <a:lnTo>
                    <a:pt x="11" y="102"/>
                  </a:lnTo>
                  <a:lnTo>
                    <a:pt x="0" y="104"/>
                  </a:lnTo>
                  <a:lnTo>
                    <a:pt x="20" y="113"/>
                  </a:lnTo>
                  <a:lnTo>
                    <a:pt x="28" y="115"/>
                  </a:lnTo>
                  <a:lnTo>
                    <a:pt x="53" y="100"/>
                  </a:lnTo>
                  <a:lnTo>
                    <a:pt x="108" y="114"/>
                  </a:lnTo>
                  <a:lnTo>
                    <a:pt x="144" y="74"/>
                  </a:lnTo>
                  <a:lnTo>
                    <a:pt x="151" y="57"/>
                  </a:lnTo>
                  <a:lnTo>
                    <a:pt x="158" y="52"/>
                  </a:lnTo>
                  <a:lnTo>
                    <a:pt x="178" y="54"/>
                  </a:lnTo>
                  <a:lnTo>
                    <a:pt x="198" y="30"/>
                  </a:lnTo>
                  <a:lnTo>
                    <a:pt x="196" y="15"/>
                  </a:lnTo>
                  <a:lnTo>
                    <a:pt x="182" y="0"/>
                  </a:lnTo>
                  <a:lnTo>
                    <a:pt x="173" y="2"/>
                  </a:lnTo>
                  <a:lnTo>
                    <a:pt x="163" y="5"/>
                  </a:lnTo>
                  <a:lnTo>
                    <a:pt x="145" y="1"/>
                  </a:lnTo>
                  <a:lnTo>
                    <a:pt x="127" y="2"/>
                  </a:lnTo>
                  <a:lnTo>
                    <a:pt x="109" y="7"/>
                  </a:lnTo>
                  <a:lnTo>
                    <a:pt x="84" y="5"/>
                  </a:lnTo>
                  <a:lnTo>
                    <a:pt x="73" y="20"/>
                  </a:lnTo>
                  <a:lnTo>
                    <a:pt x="31" y="7"/>
                  </a:lnTo>
                  <a:lnTo>
                    <a:pt x="15" y="7"/>
                  </a:lnTo>
                  <a:lnTo>
                    <a:pt x="15" y="32"/>
                  </a:lnTo>
                  <a:lnTo>
                    <a:pt x="17" y="63"/>
                  </a:lnTo>
                  <a:close/>
                </a:path>
              </a:pathLst>
            </a:custGeom>
            <a:solidFill>
              <a:schemeClr val="tx2"/>
            </a:solidFill>
            <a:ln w="9525" cap="flat" cmpd="sng">
              <a:solidFill>
                <a:schemeClr val="tx1">
                  <a:lumMod val="50000"/>
                  <a:lumOff val="50000"/>
                </a:schemeClr>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txBody>
            <a:bodyPr/>
            <a:lstStyle/>
            <a:p>
              <a:pPr marL="0" marR="0" lvl="0" indent="0" algn="ctr" defTabSz="914400" eaLnBrk="1" fontAlgn="base" latinLnBrk="0" hangingPunct="1">
                <a:lnSpc>
                  <a:spcPct val="100000"/>
                </a:lnSpc>
                <a:spcBef>
                  <a:spcPct val="20000"/>
                </a:spcBef>
                <a:spcAft>
                  <a:spcPct val="0"/>
                </a:spcAft>
                <a:buClrTx/>
                <a:buSzTx/>
                <a:buFontTx/>
                <a:buNone/>
                <a:tabLst/>
                <a:defRPr/>
              </a:pPr>
              <a:endParaRPr kumimoji="0" lang="en-GB" sz="1800" b="0" i="0" u="none" strike="noStrike" kern="0" cap="none" spc="0" normalizeH="0" baseline="0" noProof="0" dirty="0">
                <a:ln>
                  <a:noFill/>
                </a:ln>
                <a:solidFill>
                  <a:srgbClr val="004A7A"/>
                </a:solidFill>
                <a:effectLst/>
                <a:uLnTx/>
                <a:uFillTx/>
              </a:endParaRPr>
            </a:p>
          </p:txBody>
        </p:sp>
      </p:grpSp>
      <p:sp>
        <p:nvSpPr>
          <p:cNvPr id="136" name="Rechteck 92"/>
          <p:cNvSpPr/>
          <p:nvPr/>
        </p:nvSpPr>
        <p:spPr>
          <a:xfrm>
            <a:off x="4159045" y="5875312"/>
            <a:ext cx="4524455" cy="571043"/>
          </a:xfrm>
          <a:prstGeom prst="rect">
            <a:avLst/>
          </a:prstGeom>
          <a:solidFill>
            <a:schemeClr val="accent2">
              <a:lumMod val="20000"/>
              <a:lumOff val="8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400" dirty="0">
                <a:solidFill>
                  <a:prstClr val="black"/>
                </a:solidFill>
              </a:rPr>
              <a:t>NRAs have confirmed that explicit access is only on the DE/FR border</a:t>
            </a:r>
          </a:p>
        </p:txBody>
      </p:sp>
      <p:graphicFrame>
        <p:nvGraphicFramePr>
          <p:cNvPr id="147" name="Table 146">
            <a:extLst>
              <a:ext uri="{FF2B5EF4-FFF2-40B4-BE49-F238E27FC236}">
                <a16:creationId xmlns="" xmlns:a16="http://schemas.microsoft.com/office/drawing/2014/main" id="{FF073C73-4CE2-4E9F-9BC9-B71A5D8E77F5}"/>
              </a:ext>
            </a:extLst>
          </p:cNvPr>
          <p:cNvGraphicFramePr>
            <a:graphicFrameLocks noGrp="1"/>
          </p:cNvGraphicFramePr>
          <p:nvPr>
            <p:extLst>
              <p:ext uri="{D42A27DB-BD31-4B8C-83A1-F6EECF244321}">
                <p14:modId xmlns:p14="http://schemas.microsoft.com/office/powerpoint/2010/main" val="714743220"/>
              </p:ext>
            </p:extLst>
          </p:nvPr>
        </p:nvGraphicFramePr>
        <p:xfrm>
          <a:off x="744522" y="1378178"/>
          <a:ext cx="3024384" cy="4754880"/>
        </p:xfrm>
        <a:graphic>
          <a:graphicData uri="http://schemas.openxmlformats.org/drawingml/2006/table">
            <a:tbl>
              <a:tblPr firstRow="1" firstCol="1" bandRow="1">
                <a:tableStyleId>{BDBED569-4797-4DF1-A0F4-6AAB3CD982D8}</a:tableStyleId>
              </a:tblPr>
              <a:tblGrid>
                <a:gridCol w="3024384">
                  <a:extLst>
                    <a:ext uri="{9D8B030D-6E8A-4147-A177-3AD203B41FA5}">
                      <a16:colId xmlns="" xmlns:a16="http://schemas.microsoft.com/office/drawing/2014/main" val="3569007694"/>
                    </a:ext>
                  </a:extLst>
                </a:gridCol>
              </a:tblGrid>
              <a:tr h="475552">
                <a:tc>
                  <a:txBody>
                    <a:bodyPr/>
                    <a:lstStyle/>
                    <a:p>
                      <a:pPr marL="0" marR="0">
                        <a:spcBef>
                          <a:spcPts val="0"/>
                        </a:spcBef>
                        <a:spcAft>
                          <a:spcPts val="0"/>
                        </a:spcAft>
                      </a:pPr>
                      <a:r>
                        <a:rPr lang="en-GB" sz="1600" dirty="0">
                          <a:effectLst/>
                        </a:rPr>
                        <a:t>Delivery Areas to be launched at first go-live</a:t>
                      </a:r>
                      <a:endParaRPr lang="en-GB" sz="1600" b="1" dirty="0">
                        <a:effectLst/>
                        <a:latin typeface="Calibri" panose="020F0502020204030204" pitchFamily="34" charset="0"/>
                        <a:ea typeface="Calibri" panose="020F0502020204030204" pitchFamily="34" charset="0"/>
                      </a:endParaRPr>
                    </a:p>
                  </a:txBody>
                  <a:tcPr marL="56131" marR="56131" marT="0" marB="0" anchor="ctr">
                    <a:solidFill>
                      <a:schemeClr val="accent2">
                        <a:lumMod val="60000"/>
                        <a:lumOff val="40000"/>
                      </a:schemeClr>
                    </a:solidFill>
                  </a:tcPr>
                </a:tc>
                <a:extLst>
                  <a:ext uri="{0D108BD9-81ED-4DB2-BD59-A6C34878D82A}">
                    <a16:rowId xmlns="" xmlns:a16="http://schemas.microsoft.com/office/drawing/2014/main" val="310180858"/>
                  </a:ext>
                </a:extLst>
              </a:tr>
              <a:tr h="163715">
                <a:tc>
                  <a:txBody>
                    <a:bodyPr/>
                    <a:lstStyle/>
                    <a:p>
                      <a:pPr marL="0" marR="0">
                        <a:spcBef>
                          <a:spcPts val="0"/>
                        </a:spcBef>
                        <a:spcAft>
                          <a:spcPts val="0"/>
                        </a:spcAft>
                      </a:pPr>
                      <a:r>
                        <a:rPr lang="en-GB" sz="1400" dirty="0">
                          <a:effectLst/>
                        </a:rPr>
                        <a:t>50Hertz Transmission GmbH</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635701149"/>
                  </a:ext>
                </a:extLst>
              </a:tr>
              <a:tr h="163715">
                <a:tc>
                  <a:txBody>
                    <a:bodyPr/>
                    <a:lstStyle/>
                    <a:p>
                      <a:pPr marL="0" marR="0">
                        <a:spcBef>
                          <a:spcPts val="0"/>
                        </a:spcBef>
                        <a:spcAft>
                          <a:spcPts val="0"/>
                        </a:spcAft>
                      </a:pPr>
                      <a:r>
                        <a:rPr lang="en-GB" sz="1400" dirty="0" err="1">
                          <a:effectLst/>
                        </a:rPr>
                        <a:t>Amprion</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3264516481"/>
                  </a:ext>
                </a:extLst>
              </a:tr>
              <a:tr h="163715">
                <a:tc>
                  <a:txBody>
                    <a:bodyPr/>
                    <a:lstStyle/>
                    <a:p>
                      <a:pPr marL="0" marR="0">
                        <a:spcBef>
                          <a:spcPts val="0"/>
                        </a:spcBef>
                        <a:spcAft>
                          <a:spcPts val="0"/>
                        </a:spcAft>
                      </a:pPr>
                      <a:r>
                        <a:rPr lang="en-GB" sz="1400" dirty="0">
                          <a:effectLst/>
                        </a:rPr>
                        <a:t>Austria</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4106567514"/>
                  </a:ext>
                </a:extLst>
              </a:tr>
              <a:tr h="163715">
                <a:tc>
                  <a:txBody>
                    <a:bodyPr/>
                    <a:lstStyle/>
                    <a:p>
                      <a:pPr marL="0" marR="0">
                        <a:spcBef>
                          <a:spcPts val="0"/>
                        </a:spcBef>
                        <a:spcAft>
                          <a:spcPts val="0"/>
                        </a:spcAft>
                      </a:pPr>
                      <a:r>
                        <a:rPr lang="en-GB" sz="1400" dirty="0">
                          <a:effectLst/>
                        </a:rPr>
                        <a:t>Denmark West</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529675829"/>
                  </a:ext>
                </a:extLst>
              </a:tr>
              <a:tr h="163715">
                <a:tc>
                  <a:txBody>
                    <a:bodyPr/>
                    <a:lstStyle/>
                    <a:p>
                      <a:pPr marL="0" marR="0">
                        <a:spcBef>
                          <a:spcPts val="0"/>
                        </a:spcBef>
                        <a:spcAft>
                          <a:spcPts val="0"/>
                        </a:spcAft>
                      </a:pPr>
                      <a:r>
                        <a:rPr lang="en-GB" sz="1400" dirty="0">
                          <a:effectLst/>
                        </a:rPr>
                        <a:t>Denmark East</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702472026"/>
                  </a:ext>
                </a:extLst>
              </a:tr>
              <a:tr h="163715">
                <a:tc>
                  <a:txBody>
                    <a:bodyPr/>
                    <a:lstStyle/>
                    <a:p>
                      <a:pPr marL="0" marR="0">
                        <a:spcBef>
                          <a:spcPts val="0"/>
                        </a:spcBef>
                        <a:spcAft>
                          <a:spcPts val="0"/>
                        </a:spcAft>
                      </a:pPr>
                      <a:r>
                        <a:rPr lang="en-GB" sz="1400" dirty="0">
                          <a:effectLst/>
                        </a:rPr>
                        <a:t>Estonia</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974031837"/>
                  </a:ext>
                </a:extLst>
              </a:tr>
              <a:tr h="163715">
                <a:tc>
                  <a:txBody>
                    <a:bodyPr/>
                    <a:lstStyle/>
                    <a:p>
                      <a:pPr marL="0" marR="0">
                        <a:spcBef>
                          <a:spcPts val="0"/>
                        </a:spcBef>
                        <a:spcAft>
                          <a:spcPts val="0"/>
                        </a:spcAft>
                      </a:pPr>
                      <a:r>
                        <a:rPr lang="en-GB" sz="1400" dirty="0">
                          <a:effectLst/>
                        </a:rPr>
                        <a:t>Elia System Operator</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94993255"/>
                  </a:ext>
                </a:extLst>
              </a:tr>
              <a:tr h="163715">
                <a:tc>
                  <a:txBody>
                    <a:bodyPr/>
                    <a:lstStyle/>
                    <a:p>
                      <a:pPr marL="0" marR="0">
                        <a:spcBef>
                          <a:spcPts val="0"/>
                        </a:spcBef>
                        <a:spcAft>
                          <a:spcPts val="0"/>
                        </a:spcAft>
                      </a:pPr>
                      <a:r>
                        <a:rPr lang="en-GB" sz="1400" dirty="0">
                          <a:effectLst/>
                        </a:rPr>
                        <a:t>Finland</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752946612"/>
                  </a:ext>
                </a:extLst>
              </a:tr>
              <a:tr h="163715">
                <a:tc>
                  <a:txBody>
                    <a:bodyPr/>
                    <a:lstStyle/>
                    <a:p>
                      <a:pPr marL="0" marR="0">
                        <a:spcBef>
                          <a:spcPts val="0"/>
                        </a:spcBef>
                        <a:spcAft>
                          <a:spcPts val="0"/>
                        </a:spcAft>
                      </a:pPr>
                      <a:r>
                        <a:rPr lang="en-GB" sz="1400" dirty="0">
                          <a:effectLst/>
                        </a:rPr>
                        <a:t>Finland-Russia Exchange Area</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2853090937"/>
                  </a:ext>
                </a:extLst>
              </a:tr>
              <a:tr h="163715">
                <a:tc>
                  <a:txBody>
                    <a:bodyPr/>
                    <a:lstStyle/>
                    <a:p>
                      <a:pPr marL="0" marR="0">
                        <a:spcBef>
                          <a:spcPts val="0"/>
                        </a:spcBef>
                        <a:spcAft>
                          <a:spcPts val="0"/>
                        </a:spcAft>
                      </a:pPr>
                      <a:r>
                        <a:rPr lang="en-GB" sz="1400" dirty="0">
                          <a:effectLst/>
                        </a:rPr>
                        <a:t>Lithuania</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2010020298"/>
                  </a:ext>
                </a:extLst>
              </a:tr>
              <a:tr h="163715">
                <a:tc>
                  <a:txBody>
                    <a:bodyPr/>
                    <a:lstStyle/>
                    <a:p>
                      <a:pPr marL="0" marR="0">
                        <a:spcBef>
                          <a:spcPts val="0"/>
                        </a:spcBef>
                        <a:spcAft>
                          <a:spcPts val="0"/>
                        </a:spcAft>
                      </a:pPr>
                      <a:r>
                        <a:rPr lang="en-GB" sz="1400" dirty="0">
                          <a:effectLst/>
                        </a:rPr>
                        <a:t>Latvia</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2278893931"/>
                  </a:ext>
                </a:extLst>
              </a:tr>
              <a:tr h="208107">
                <a:tc>
                  <a:txBody>
                    <a:bodyPr/>
                    <a:lstStyle/>
                    <a:p>
                      <a:pPr marL="0" marR="0">
                        <a:spcBef>
                          <a:spcPts val="0"/>
                        </a:spcBef>
                        <a:spcAft>
                          <a:spcPts val="0"/>
                        </a:spcAft>
                      </a:pPr>
                      <a:r>
                        <a:rPr lang="en-GB" sz="1400" dirty="0">
                          <a:effectLst/>
                        </a:rPr>
                        <a:t>Morocco Delivery Area</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2463876128"/>
                  </a:ext>
                </a:extLst>
              </a:tr>
              <a:tr h="163715">
                <a:tc>
                  <a:txBody>
                    <a:bodyPr/>
                    <a:lstStyle/>
                    <a:p>
                      <a:pPr marL="0" marR="0">
                        <a:spcBef>
                          <a:spcPts val="0"/>
                        </a:spcBef>
                        <a:spcAft>
                          <a:spcPts val="0"/>
                        </a:spcAft>
                      </a:pPr>
                      <a:r>
                        <a:rPr lang="en-GB" sz="1400" dirty="0">
                          <a:effectLst/>
                        </a:rPr>
                        <a:t>Netherlands</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387508165"/>
                  </a:ext>
                </a:extLst>
              </a:tr>
              <a:tr h="163715">
                <a:tc>
                  <a:txBody>
                    <a:bodyPr/>
                    <a:lstStyle/>
                    <a:p>
                      <a:pPr marL="0" marR="0">
                        <a:spcBef>
                          <a:spcPts val="0"/>
                        </a:spcBef>
                        <a:spcAft>
                          <a:spcPts val="0"/>
                        </a:spcAft>
                      </a:pPr>
                      <a:r>
                        <a:rPr lang="en-GB" sz="1400" dirty="0">
                          <a:effectLst/>
                        </a:rPr>
                        <a:t>Norway 1-5</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254528623"/>
                  </a:ext>
                </a:extLst>
              </a:tr>
              <a:tr h="163715">
                <a:tc>
                  <a:txBody>
                    <a:bodyPr/>
                    <a:lstStyle/>
                    <a:p>
                      <a:pPr marL="0" marR="0">
                        <a:spcBef>
                          <a:spcPts val="0"/>
                        </a:spcBef>
                        <a:spcAft>
                          <a:spcPts val="0"/>
                        </a:spcAft>
                      </a:pPr>
                      <a:r>
                        <a:rPr lang="en-GB" sz="1400" dirty="0">
                          <a:effectLst/>
                        </a:rPr>
                        <a:t>Portugal Delivery Area</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2580127434"/>
                  </a:ext>
                </a:extLst>
              </a:tr>
              <a:tr h="163715">
                <a:tc>
                  <a:txBody>
                    <a:bodyPr/>
                    <a:lstStyle/>
                    <a:p>
                      <a:pPr marL="0" marR="0">
                        <a:spcBef>
                          <a:spcPts val="0"/>
                        </a:spcBef>
                        <a:spcAft>
                          <a:spcPts val="0"/>
                        </a:spcAft>
                      </a:pPr>
                      <a:r>
                        <a:rPr lang="en-GB" sz="1400" dirty="0">
                          <a:effectLst/>
                        </a:rPr>
                        <a:t>France</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4039732171"/>
                  </a:ext>
                </a:extLst>
              </a:tr>
              <a:tr h="163715">
                <a:tc>
                  <a:txBody>
                    <a:bodyPr/>
                    <a:lstStyle/>
                    <a:p>
                      <a:pPr marL="0" marR="0">
                        <a:spcBef>
                          <a:spcPts val="0"/>
                        </a:spcBef>
                        <a:spcAft>
                          <a:spcPts val="0"/>
                        </a:spcAft>
                      </a:pPr>
                      <a:r>
                        <a:rPr lang="en-GB" sz="1400" dirty="0">
                          <a:effectLst/>
                        </a:rPr>
                        <a:t>Sweden 1-4</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3280362914"/>
                  </a:ext>
                </a:extLst>
              </a:tr>
              <a:tr h="163715">
                <a:tc>
                  <a:txBody>
                    <a:bodyPr/>
                    <a:lstStyle/>
                    <a:p>
                      <a:pPr marL="0" marR="0">
                        <a:spcBef>
                          <a:spcPts val="0"/>
                        </a:spcBef>
                        <a:spcAft>
                          <a:spcPts val="0"/>
                        </a:spcAft>
                      </a:pPr>
                      <a:r>
                        <a:rPr lang="en-GB" sz="1400" dirty="0">
                          <a:effectLst/>
                        </a:rPr>
                        <a:t>Spain Delivery Area</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3702662131"/>
                  </a:ext>
                </a:extLst>
              </a:tr>
              <a:tr h="163715">
                <a:tc>
                  <a:txBody>
                    <a:bodyPr/>
                    <a:lstStyle/>
                    <a:p>
                      <a:pPr marL="0" marR="0">
                        <a:spcBef>
                          <a:spcPts val="0"/>
                        </a:spcBef>
                        <a:spcAft>
                          <a:spcPts val="0"/>
                        </a:spcAft>
                      </a:pPr>
                      <a:r>
                        <a:rPr lang="en-GB" sz="1400" dirty="0" err="1">
                          <a:effectLst/>
                        </a:rPr>
                        <a:t>TransnetBW</a:t>
                      </a:r>
                      <a:r>
                        <a:rPr lang="en-GB" sz="1400" dirty="0">
                          <a:effectLst/>
                        </a:rPr>
                        <a:t> GmbH</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274010273"/>
                  </a:ext>
                </a:extLst>
              </a:tr>
              <a:tr h="163715">
                <a:tc>
                  <a:txBody>
                    <a:bodyPr/>
                    <a:lstStyle/>
                    <a:p>
                      <a:pPr marL="0" marR="0">
                        <a:spcBef>
                          <a:spcPts val="0"/>
                        </a:spcBef>
                        <a:spcAft>
                          <a:spcPts val="0"/>
                        </a:spcAft>
                      </a:pPr>
                      <a:r>
                        <a:rPr lang="en-GB" sz="1400" dirty="0" err="1">
                          <a:effectLst/>
                        </a:rPr>
                        <a:t>TenneT</a:t>
                      </a:r>
                      <a:r>
                        <a:rPr lang="en-GB" sz="1400" dirty="0">
                          <a:effectLst/>
                        </a:rPr>
                        <a:t> TSO GmbH</a:t>
                      </a:r>
                      <a:endParaRPr lang="en-GB" sz="1400" b="0" dirty="0">
                        <a:effectLst/>
                        <a:latin typeface="Calibri" panose="020F0502020204030204" pitchFamily="34" charset="0"/>
                        <a:ea typeface="Calibri" panose="020F0502020204030204" pitchFamily="34" charset="0"/>
                      </a:endParaRPr>
                    </a:p>
                  </a:txBody>
                  <a:tcPr marL="56131" marR="56131" marT="0" marB="0" anchor="ctr">
                    <a:solidFill>
                      <a:schemeClr val="bg1"/>
                    </a:solidFill>
                  </a:tcPr>
                </a:tc>
                <a:extLst>
                  <a:ext uri="{0D108BD9-81ED-4DB2-BD59-A6C34878D82A}">
                    <a16:rowId xmlns="" xmlns:a16="http://schemas.microsoft.com/office/drawing/2014/main" val="1084522289"/>
                  </a:ext>
                </a:extLst>
              </a:tr>
            </a:tbl>
          </a:graphicData>
        </a:graphic>
      </p:graphicFrame>
    </p:spTree>
    <p:extLst>
      <p:ext uri="{BB962C8B-B14F-4D97-AF65-F5344CB8AC3E}">
        <p14:creationId xmlns:p14="http://schemas.microsoft.com/office/powerpoint/2010/main" val="1218544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2. </a:t>
            </a:r>
            <a:r>
              <a:rPr lang="en-US" dirty="0"/>
              <a:t>Products offered in the XBID solution</a:t>
            </a:r>
            <a:br>
              <a:rPr lang="en-US" dirty="0"/>
            </a:br>
            <a:r>
              <a:rPr lang="en-US" dirty="0" smtClean="0"/>
              <a:t>A. Overview</a:t>
            </a:r>
            <a:endParaRPr lang="de-DE"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42</a:t>
            </a:fld>
            <a:endParaRPr lang="en-US" altLang="en-US" dirty="0"/>
          </a:p>
        </p:txBody>
      </p:sp>
      <p:sp>
        <p:nvSpPr>
          <p:cNvPr id="4" name="Textplatzhalter 3"/>
          <p:cNvSpPr>
            <a:spLocks noGrp="1"/>
          </p:cNvSpPr>
          <p:nvPr>
            <p:ph type="body" sz="quarter" idx="13"/>
          </p:nvPr>
        </p:nvSpPr>
        <p:spPr/>
        <p:txBody>
          <a:bodyPr/>
          <a:lstStyle/>
          <a:p>
            <a:endParaRPr lang="en-GB" dirty="0" smtClean="0"/>
          </a:p>
          <a:p>
            <a:r>
              <a:rPr lang="en-GB" dirty="0" smtClean="0"/>
              <a:t>XBID </a:t>
            </a:r>
            <a:r>
              <a:rPr lang="en-GB" dirty="0"/>
              <a:t>system </a:t>
            </a:r>
            <a:r>
              <a:rPr lang="en-GB" dirty="0" smtClean="0"/>
              <a:t>supports the </a:t>
            </a:r>
            <a:r>
              <a:rPr lang="en-GB" dirty="0"/>
              <a:t>following </a:t>
            </a:r>
            <a:r>
              <a:rPr lang="en-GB" dirty="0" smtClean="0"/>
              <a:t>products:</a:t>
            </a:r>
            <a:endParaRPr lang="en-GB" dirty="0"/>
          </a:p>
          <a:p>
            <a:pPr lvl="1" fontAlgn="t"/>
            <a:r>
              <a:rPr lang="en-GB" dirty="0"/>
              <a:t>15-minutes</a:t>
            </a:r>
          </a:p>
          <a:p>
            <a:pPr lvl="1" fontAlgn="t"/>
            <a:r>
              <a:rPr lang="en-GB" dirty="0"/>
              <a:t>30-minutes</a:t>
            </a:r>
          </a:p>
          <a:p>
            <a:pPr lvl="1" fontAlgn="t"/>
            <a:r>
              <a:rPr lang="en-GB" dirty="0"/>
              <a:t>60-minutes</a:t>
            </a:r>
          </a:p>
          <a:p>
            <a:pPr lvl="1" fontAlgn="t"/>
            <a:r>
              <a:rPr lang="en-GB" dirty="0" smtClean="0"/>
              <a:t>Hourly User </a:t>
            </a:r>
            <a:r>
              <a:rPr lang="en-GB" dirty="0"/>
              <a:t>Defined Blocks</a:t>
            </a:r>
          </a:p>
          <a:p>
            <a:pPr fontAlgn="t"/>
            <a:r>
              <a:rPr lang="en-GB" dirty="0"/>
              <a:t>Products are configured to the XBID solution per market area</a:t>
            </a:r>
          </a:p>
          <a:p>
            <a:pPr fontAlgn="t"/>
            <a:r>
              <a:rPr lang="en-GB" dirty="0"/>
              <a:t>For specific product availability in different market areas see next slide</a:t>
            </a:r>
          </a:p>
          <a:p>
            <a:endParaRPr lang="de-DE" dirty="0"/>
          </a:p>
        </p:txBody>
      </p:sp>
    </p:spTree>
    <p:extLst>
      <p:ext uri="{BB962C8B-B14F-4D97-AF65-F5344CB8AC3E}">
        <p14:creationId xmlns:p14="http://schemas.microsoft.com/office/powerpoint/2010/main" val="26742412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2. </a:t>
            </a:r>
            <a:r>
              <a:rPr lang="en-GB" dirty="0"/>
              <a:t>Products offered in the XBID solution</a:t>
            </a:r>
            <a:br>
              <a:rPr lang="en-GB" dirty="0"/>
            </a:br>
            <a:r>
              <a:rPr lang="en-GB" dirty="0" smtClean="0"/>
              <a:t>B. Details</a:t>
            </a:r>
            <a:endParaRPr lang="de-DE"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43</a:t>
            </a:fld>
            <a:endParaRPr lang="en-US" altLang="en-US" dirty="0"/>
          </a:p>
        </p:txBody>
      </p:sp>
      <p:graphicFrame>
        <p:nvGraphicFramePr>
          <p:cNvPr id="5" name="Table 2">
            <a:extLst>
              <a:ext uri="{FF2B5EF4-FFF2-40B4-BE49-F238E27FC236}">
                <a16:creationId xmlns="" xmlns:a16="http://schemas.microsoft.com/office/drawing/2014/main" id="{A1522915-AE82-44E2-BDC3-2F9A7F51CA6B}"/>
              </a:ext>
            </a:extLst>
          </p:cNvPr>
          <p:cNvGraphicFramePr>
            <a:graphicFrameLocks noGrp="1"/>
          </p:cNvGraphicFramePr>
          <p:nvPr>
            <p:extLst>
              <p:ext uri="{D42A27DB-BD31-4B8C-83A1-F6EECF244321}">
                <p14:modId xmlns:p14="http://schemas.microsoft.com/office/powerpoint/2010/main" val="1933475274"/>
              </p:ext>
            </p:extLst>
          </p:nvPr>
        </p:nvGraphicFramePr>
        <p:xfrm>
          <a:off x="533999" y="1619794"/>
          <a:ext cx="7861275" cy="3142717"/>
        </p:xfrm>
        <a:graphic>
          <a:graphicData uri="http://schemas.openxmlformats.org/drawingml/2006/table">
            <a:tbl>
              <a:tblPr firstRow="1" firstCol="1" bandRow="1">
                <a:tableStyleId>{5C22544A-7EE6-4342-B048-85BDC9FD1C3A}</a:tableStyleId>
              </a:tblPr>
              <a:tblGrid>
                <a:gridCol w="1346929">
                  <a:extLst>
                    <a:ext uri="{9D8B030D-6E8A-4147-A177-3AD203B41FA5}">
                      <a16:colId xmlns="" xmlns:a16="http://schemas.microsoft.com/office/drawing/2014/main" val="876385835"/>
                    </a:ext>
                  </a:extLst>
                </a:gridCol>
                <a:gridCol w="909980">
                  <a:extLst>
                    <a:ext uri="{9D8B030D-6E8A-4147-A177-3AD203B41FA5}">
                      <a16:colId xmlns="" xmlns:a16="http://schemas.microsoft.com/office/drawing/2014/main" val="3502682675"/>
                    </a:ext>
                  </a:extLst>
                </a:gridCol>
                <a:gridCol w="1033669">
                  <a:extLst>
                    <a:ext uri="{9D8B030D-6E8A-4147-A177-3AD203B41FA5}">
                      <a16:colId xmlns="" xmlns:a16="http://schemas.microsoft.com/office/drawing/2014/main" val="1792114589"/>
                    </a:ext>
                  </a:extLst>
                </a:gridCol>
                <a:gridCol w="842839"/>
                <a:gridCol w="930302"/>
                <a:gridCol w="985962"/>
                <a:gridCol w="954157"/>
                <a:gridCol w="857437"/>
              </a:tblGrid>
              <a:tr h="476833">
                <a:tc>
                  <a:txBody>
                    <a:bodyPr/>
                    <a:lstStyle/>
                    <a:p>
                      <a:pPr>
                        <a:lnSpc>
                          <a:spcPct val="115000"/>
                        </a:lnSpc>
                        <a:spcAft>
                          <a:spcPts val="0"/>
                        </a:spcAft>
                      </a:pPr>
                      <a:r>
                        <a:rPr lang="en-GB" sz="1400" kern="1800" dirty="0">
                          <a:effectLst/>
                          <a:latin typeface="+mj-lt"/>
                        </a:rPr>
                        <a:t> </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400" kern="1800" dirty="0">
                          <a:effectLst/>
                          <a:latin typeface="+mj-lt"/>
                        </a:rPr>
                        <a:t> </a:t>
                      </a:r>
                      <a:endParaRPr lang="en-GB" sz="1400" dirty="0">
                        <a:solidFill>
                          <a:srgbClr val="000000"/>
                        </a:solidFill>
                        <a:effectLst/>
                        <a:latin typeface="+mj-lt"/>
                        <a:ea typeface="+mn-ea"/>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b="1" kern="1800" dirty="0">
                          <a:solidFill>
                            <a:schemeClr val="bg1"/>
                          </a:solidFill>
                          <a:effectLst/>
                          <a:latin typeface="+mj-lt"/>
                        </a:rPr>
                        <a:t>German TSO areas</a:t>
                      </a:r>
                      <a:endParaRPr lang="en-GB" sz="1400" b="1" dirty="0">
                        <a:solidFill>
                          <a:schemeClr val="bg1"/>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r>
                        <a:rPr lang="en-GB" sz="1400" b="1" kern="1800" dirty="0">
                          <a:solidFill>
                            <a:schemeClr val="bg1"/>
                          </a:solidFill>
                          <a:effectLst/>
                          <a:latin typeface="+mj-lt"/>
                          <a:ea typeface="+mn-ea"/>
                          <a:cs typeface="+mn-cs"/>
                        </a:rPr>
                        <a:t>Austria</a:t>
                      </a:r>
                    </a:p>
                  </a:txBody>
                  <a:tcPr marL="56017" marR="56017" marT="0" marB="0"/>
                </a:tc>
                <a:tc>
                  <a:txBody>
                    <a:bodyPr/>
                    <a:lstStyle/>
                    <a:p>
                      <a:pPr algn="ctr">
                        <a:lnSpc>
                          <a:spcPct val="115000"/>
                        </a:lnSpc>
                        <a:spcAft>
                          <a:spcPts val="0"/>
                        </a:spcAft>
                      </a:pPr>
                      <a:r>
                        <a:rPr lang="en-GB" sz="1400" b="1" kern="1800" dirty="0">
                          <a:solidFill>
                            <a:schemeClr val="bg1"/>
                          </a:solidFill>
                          <a:effectLst/>
                          <a:latin typeface="+mj-lt"/>
                        </a:rPr>
                        <a:t>France</a:t>
                      </a:r>
                      <a:endParaRPr lang="en-GB" sz="1400" b="1" dirty="0">
                        <a:solidFill>
                          <a:schemeClr val="bg1"/>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b="1" kern="1800" dirty="0" smtClean="0">
                          <a:solidFill>
                            <a:schemeClr val="bg1"/>
                          </a:solidFill>
                          <a:effectLst/>
                          <a:latin typeface="+mj-lt"/>
                        </a:rPr>
                        <a:t>NL </a:t>
                      </a:r>
                      <a:r>
                        <a:rPr lang="en-GB" sz="1400" b="1" kern="1800" dirty="0">
                          <a:solidFill>
                            <a:schemeClr val="bg1"/>
                          </a:solidFill>
                          <a:effectLst/>
                          <a:latin typeface="+mj-lt"/>
                        </a:rPr>
                        <a:t>&amp; Belgium</a:t>
                      </a:r>
                      <a:endParaRPr lang="en-GB" sz="1400" b="1" dirty="0">
                        <a:solidFill>
                          <a:schemeClr val="bg1"/>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b="1" dirty="0">
                          <a:solidFill>
                            <a:schemeClr val="bg1"/>
                          </a:solidFill>
                          <a:effectLst/>
                          <a:latin typeface="+mj-lt"/>
                        </a:rPr>
                        <a:t>Nordics &amp; Baltics</a:t>
                      </a:r>
                      <a:endParaRPr lang="en-GB" sz="1400" b="1" dirty="0">
                        <a:solidFill>
                          <a:schemeClr val="bg1"/>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1400" b="1" kern="1200" dirty="0">
                          <a:solidFill>
                            <a:schemeClr val="bg1"/>
                          </a:solidFill>
                          <a:effectLst/>
                          <a:latin typeface="+mj-lt"/>
                          <a:ea typeface="+mn-ea"/>
                          <a:cs typeface="+mn-cs"/>
                        </a:rPr>
                        <a:t>Iberia</a:t>
                      </a:r>
                    </a:p>
                  </a:txBody>
                  <a:tcPr marL="56017" marR="56017" marT="0" marB="0"/>
                </a:tc>
                <a:extLst>
                  <a:ext uri="{0D108BD9-81ED-4DB2-BD59-A6C34878D82A}">
                    <a16:rowId xmlns="" xmlns:a16="http://schemas.microsoft.com/office/drawing/2014/main" val="1597882541"/>
                  </a:ext>
                </a:extLst>
              </a:tr>
              <a:tr h="229166">
                <a:tc>
                  <a:txBody>
                    <a:bodyPr/>
                    <a:lstStyle/>
                    <a:p>
                      <a:pPr>
                        <a:lnSpc>
                          <a:spcPct val="115000"/>
                        </a:lnSpc>
                        <a:spcAft>
                          <a:spcPts val="0"/>
                        </a:spcAft>
                      </a:pPr>
                      <a:r>
                        <a:rPr lang="en-GB" sz="1400" dirty="0">
                          <a:effectLst/>
                          <a:latin typeface="+mj-lt"/>
                        </a:rPr>
                        <a:t>Size</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400" dirty="0">
                          <a:effectLst/>
                          <a:latin typeface="+mj-lt"/>
                        </a:rPr>
                        <a:t> </a:t>
                      </a:r>
                      <a:endParaRPr lang="en-GB" sz="1400" dirty="0">
                        <a:solidFill>
                          <a:srgbClr val="000000"/>
                        </a:solidFill>
                        <a:effectLst/>
                        <a:latin typeface="+mj-lt"/>
                        <a:ea typeface="+mn-ea"/>
                        <a:cs typeface="Times New Roman" panose="02020603050405020304" pitchFamily="18" charset="0"/>
                      </a:endParaRPr>
                    </a:p>
                  </a:txBody>
                  <a:tcPr marL="56017" marR="56017" marT="0" marB="0"/>
                </a:tc>
                <a:tc gridSpan="6">
                  <a:txBody>
                    <a:bodyPr/>
                    <a:lstStyle/>
                    <a:p>
                      <a:pPr algn="ctr">
                        <a:lnSpc>
                          <a:spcPct val="115000"/>
                        </a:lnSpc>
                        <a:spcAft>
                          <a:spcPts val="0"/>
                        </a:spcAft>
                      </a:pPr>
                      <a:r>
                        <a:rPr lang="en-GB" sz="1400" dirty="0">
                          <a:effectLst/>
                          <a:latin typeface="+mj-lt"/>
                        </a:rPr>
                        <a:t>Min vol. Increment 0.1 MW</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 xmlns:a16="http://schemas.microsoft.com/office/drawing/2014/main" val="1153924291"/>
                  </a:ext>
                </a:extLst>
              </a:tr>
              <a:tr h="121419">
                <a:tc>
                  <a:txBody>
                    <a:bodyPr/>
                    <a:lstStyle/>
                    <a:p>
                      <a:pPr>
                        <a:lnSpc>
                          <a:spcPct val="115000"/>
                        </a:lnSpc>
                        <a:spcAft>
                          <a:spcPts val="0"/>
                        </a:spcAft>
                      </a:pPr>
                      <a:r>
                        <a:rPr lang="en-GB" sz="1400" dirty="0">
                          <a:effectLst/>
                          <a:latin typeface="+mj-lt"/>
                        </a:rPr>
                        <a:t>Price Tick</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400" dirty="0">
                          <a:effectLst/>
                          <a:latin typeface="+mj-lt"/>
                        </a:rPr>
                        <a:t> </a:t>
                      </a:r>
                      <a:endParaRPr lang="en-GB" sz="1400" dirty="0">
                        <a:solidFill>
                          <a:srgbClr val="000000"/>
                        </a:solidFill>
                        <a:effectLst/>
                        <a:latin typeface="+mj-lt"/>
                        <a:ea typeface="+mn-ea"/>
                        <a:cs typeface="Times New Roman" panose="02020603050405020304" pitchFamily="18" charset="0"/>
                      </a:endParaRPr>
                    </a:p>
                  </a:txBody>
                  <a:tcPr marL="56017" marR="56017" marT="0" marB="0"/>
                </a:tc>
                <a:tc gridSpan="6">
                  <a:txBody>
                    <a:bodyPr/>
                    <a:lstStyle/>
                    <a:p>
                      <a:pPr algn="ctr">
                        <a:lnSpc>
                          <a:spcPct val="115000"/>
                        </a:lnSpc>
                        <a:spcAft>
                          <a:spcPts val="0"/>
                        </a:spcAft>
                      </a:pPr>
                      <a:r>
                        <a:rPr lang="en-GB" sz="1400" dirty="0">
                          <a:effectLst/>
                          <a:latin typeface="+mj-lt"/>
                        </a:rPr>
                        <a:t>EUR </a:t>
                      </a:r>
                      <a:r>
                        <a:rPr lang="en-GB" sz="1400" dirty="0" smtClean="0">
                          <a:effectLst/>
                          <a:latin typeface="+mj-lt"/>
                        </a:rPr>
                        <a:t>0.1 / 0.01</a:t>
                      </a:r>
                      <a:r>
                        <a:rPr lang="en-GB" sz="1400" dirty="0">
                          <a:effectLst/>
                          <a:latin typeface="+mj-lt"/>
                        </a:rPr>
                        <a:t>** per MWh</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 xmlns:a16="http://schemas.microsoft.com/office/drawing/2014/main" val="1341363884"/>
                  </a:ext>
                </a:extLst>
              </a:tr>
              <a:tr h="254094">
                <a:tc>
                  <a:txBody>
                    <a:bodyPr/>
                    <a:lstStyle/>
                    <a:p>
                      <a:pPr>
                        <a:lnSpc>
                          <a:spcPct val="115000"/>
                        </a:lnSpc>
                        <a:spcAft>
                          <a:spcPts val="0"/>
                        </a:spcAft>
                      </a:pPr>
                      <a:r>
                        <a:rPr lang="en-GB" sz="1400" dirty="0">
                          <a:effectLst/>
                          <a:latin typeface="+mj-lt"/>
                        </a:rPr>
                        <a:t>Price Range</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400" dirty="0">
                          <a:effectLst/>
                          <a:latin typeface="+mj-lt"/>
                        </a:rPr>
                        <a:t> </a:t>
                      </a:r>
                      <a:endParaRPr lang="en-GB" sz="1400" dirty="0">
                        <a:solidFill>
                          <a:srgbClr val="000000"/>
                        </a:solidFill>
                        <a:effectLst/>
                        <a:latin typeface="+mj-lt"/>
                        <a:ea typeface="+mn-ea"/>
                        <a:cs typeface="Times New Roman" panose="02020603050405020304" pitchFamily="18" charset="0"/>
                      </a:endParaRPr>
                    </a:p>
                  </a:txBody>
                  <a:tcPr marL="56017" marR="56017" marT="0" marB="0"/>
                </a:tc>
                <a:tc gridSpan="6">
                  <a:txBody>
                    <a:bodyPr/>
                    <a:lstStyle/>
                    <a:p>
                      <a:pPr algn="ctr">
                        <a:lnSpc>
                          <a:spcPct val="115000"/>
                        </a:lnSpc>
                        <a:spcAft>
                          <a:spcPts val="0"/>
                        </a:spcAft>
                      </a:pPr>
                      <a:r>
                        <a:rPr lang="en-GB" sz="1400" dirty="0">
                          <a:effectLst/>
                          <a:latin typeface="+mj-lt"/>
                        </a:rPr>
                        <a:t>-9 999 €/MWh to 9 999 €/MWh</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 xmlns:a16="http://schemas.microsoft.com/office/drawing/2014/main" val="3237717966"/>
                  </a:ext>
                </a:extLst>
              </a:tr>
              <a:tr h="132675">
                <a:tc rowSpan="4">
                  <a:txBody>
                    <a:bodyPr/>
                    <a:lstStyle/>
                    <a:p>
                      <a:pPr>
                        <a:lnSpc>
                          <a:spcPct val="115000"/>
                        </a:lnSpc>
                        <a:spcAft>
                          <a:spcPts val="0"/>
                        </a:spcAft>
                      </a:pPr>
                      <a:r>
                        <a:rPr lang="en-GB" sz="1400" dirty="0">
                          <a:effectLst/>
                          <a:latin typeface="+mj-lt"/>
                        </a:rPr>
                        <a:t>Products</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nchor="ctr"/>
                </a:tc>
                <a:tc>
                  <a:txBody>
                    <a:bodyPr/>
                    <a:lstStyle/>
                    <a:p>
                      <a:pPr>
                        <a:lnSpc>
                          <a:spcPct val="115000"/>
                        </a:lnSpc>
                        <a:spcAft>
                          <a:spcPts val="0"/>
                        </a:spcAft>
                      </a:pPr>
                      <a:r>
                        <a:rPr lang="en-GB" sz="1400" b="1" dirty="0">
                          <a:solidFill>
                            <a:schemeClr val="bg1"/>
                          </a:solidFill>
                          <a:effectLst/>
                          <a:latin typeface="+mj-lt"/>
                        </a:rPr>
                        <a:t>15-min</a:t>
                      </a:r>
                      <a:endParaRPr lang="en-GB" sz="1400" b="1" dirty="0">
                        <a:solidFill>
                          <a:schemeClr val="bg1"/>
                        </a:solidFill>
                        <a:effectLst/>
                        <a:latin typeface="+mj-lt"/>
                        <a:ea typeface="+mn-ea"/>
                        <a:cs typeface="Times New Roman" panose="02020603050405020304" pitchFamily="18" charset="0"/>
                      </a:endParaRPr>
                    </a:p>
                  </a:txBody>
                  <a:tcPr marL="56017" marR="56017" marT="0" marB="0">
                    <a:solidFill>
                      <a:schemeClr val="accent1"/>
                    </a:solidFill>
                  </a:tcPr>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 </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 </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endParaRPr lang="de-DE"/>
                    </a:p>
                  </a:txBody>
                  <a:tcPr marL="56017" marR="56017" marT="0" marB="0"/>
                </a:tc>
                <a:tc>
                  <a:txBody>
                    <a:bodyPr/>
                    <a:lstStyle/>
                    <a:p>
                      <a:endParaRPr lang="de-DE"/>
                    </a:p>
                  </a:txBody>
                  <a:tcPr marL="56017" marR="56017" marT="0" marB="0"/>
                </a:tc>
                <a:extLst>
                  <a:ext uri="{0D108BD9-81ED-4DB2-BD59-A6C34878D82A}">
                    <a16:rowId xmlns="" xmlns:a16="http://schemas.microsoft.com/office/drawing/2014/main" val="2589480734"/>
                  </a:ext>
                </a:extLst>
              </a:tr>
              <a:tr h="132675">
                <a:tc vMerge="1">
                  <a:txBody>
                    <a:bodyPr/>
                    <a:lstStyle/>
                    <a:p>
                      <a:pPr>
                        <a:lnSpc>
                          <a:spcPct val="115000"/>
                        </a:lnSpc>
                        <a:spcAft>
                          <a:spcPts val="0"/>
                        </a:spcAft>
                      </a:pPr>
                      <a:endParaRPr lang="en-GB" sz="12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400" b="1" dirty="0">
                          <a:solidFill>
                            <a:schemeClr val="bg1"/>
                          </a:solidFill>
                          <a:effectLst/>
                          <a:latin typeface="+mj-lt"/>
                        </a:rPr>
                        <a:t>30-min</a:t>
                      </a:r>
                      <a:endParaRPr lang="en-GB" sz="1400" b="1" dirty="0">
                        <a:solidFill>
                          <a:schemeClr val="bg1"/>
                        </a:solidFill>
                        <a:effectLst/>
                        <a:latin typeface="+mj-lt"/>
                        <a:ea typeface="+mn-ea"/>
                        <a:cs typeface="Times New Roman" panose="02020603050405020304" pitchFamily="18" charset="0"/>
                      </a:endParaRPr>
                    </a:p>
                  </a:txBody>
                  <a:tcPr marL="56017" marR="56017" marT="0" marB="0">
                    <a:solidFill>
                      <a:schemeClr val="accent1"/>
                    </a:solidFill>
                  </a:tcPr>
                </a:tc>
                <a:tc>
                  <a:txBody>
                    <a:bodyPr/>
                    <a:lstStyle/>
                    <a:p>
                      <a:pPr algn="ctr">
                        <a:lnSpc>
                          <a:spcPct val="115000"/>
                        </a:lnSpc>
                        <a:spcAft>
                          <a:spcPts val="0"/>
                        </a:spcAft>
                      </a:pPr>
                      <a:r>
                        <a:rPr lang="en-GB" sz="1400" dirty="0">
                          <a:solidFill>
                            <a:srgbClr val="000000"/>
                          </a:solidFill>
                          <a:effectLst/>
                          <a:latin typeface="+mj-lt"/>
                          <a:ea typeface="Calibri" panose="020F0502020204030204" pitchFamily="34" charset="0"/>
                          <a:cs typeface="Times New Roman" panose="02020603050405020304" pitchFamily="18" charset="0"/>
                        </a:rPr>
                        <a:t>X</a:t>
                      </a:r>
                    </a:p>
                  </a:txBody>
                  <a:tcPr marL="56017" marR="56017" marT="0" marB="0"/>
                </a:tc>
                <a:tc>
                  <a:txBody>
                    <a:bodyPr/>
                    <a:lstStyle/>
                    <a:p>
                      <a:endParaRPr lang="de-DE"/>
                    </a:p>
                  </a:txBody>
                  <a:tcPr marL="56017" marR="56017" marT="0" marB="0"/>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 </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endParaRPr lang="de-DE"/>
                    </a:p>
                  </a:txBody>
                  <a:tcPr marL="56017" marR="56017" marT="0" marB="0"/>
                </a:tc>
                <a:tc>
                  <a:txBody>
                    <a:bodyPr/>
                    <a:lstStyle/>
                    <a:p>
                      <a:endParaRPr lang="de-DE"/>
                    </a:p>
                  </a:txBody>
                  <a:tcPr marL="56017" marR="56017" marT="0" marB="0"/>
                </a:tc>
                <a:extLst>
                  <a:ext uri="{0D108BD9-81ED-4DB2-BD59-A6C34878D82A}">
                    <a16:rowId xmlns="" xmlns:a16="http://schemas.microsoft.com/office/drawing/2014/main" val="2096350580"/>
                  </a:ext>
                </a:extLst>
              </a:tr>
              <a:tr h="132675">
                <a:tc vMerge="1">
                  <a:txBody>
                    <a:bodyPr/>
                    <a:lstStyle/>
                    <a:p>
                      <a:pPr>
                        <a:lnSpc>
                          <a:spcPct val="115000"/>
                        </a:lnSpc>
                        <a:spcAft>
                          <a:spcPts val="0"/>
                        </a:spcAft>
                      </a:pPr>
                      <a:endParaRPr lang="en-GB" sz="12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400" b="1" dirty="0">
                          <a:solidFill>
                            <a:schemeClr val="bg1"/>
                          </a:solidFill>
                          <a:effectLst/>
                          <a:latin typeface="+mj-lt"/>
                        </a:rPr>
                        <a:t>Hourly</a:t>
                      </a:r>
                      <a:endParaRPr lang="en-GB" sz="1400" b="1" dirty="0">
                        <a:solidFill>
                          <a:schemeClr val="bg1"/>
                        </a:solidFill>
                        <a:effectLst/>
                        <a:latin typeface="+mj-lt"/>
                        <a:ea typeface="+mn-ea"/>
                        <a:cs typeface="Times New Roman" panose="02020603050405020304" pitchFamily="18" charset="0"/>
                      </a:endParaRPr>
                    </a:p>
                  </a:txBody>
                  <a:tcPr marL="56017" marR="56017" marT="0" marB="0">
                    <a:solidFill>
                      <a:schemeClr val="accent1"/>
                    </a:solidFill>
                  </a:tcPr>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solidFill>
                            <a:srgbClr val="000000"/>
                          </a:solidFill>
                          <a:effectLst/>
                          <a:latin typeface="+mj-lt"/>
                          <a:ea typeface="Calibri" panose="020F0502020204030204" pitchFamily="34" charset="0"/>
                          <a:cs typeface="Times New Roman" panose="02020603050405020304" pitchFamily="18" charset="0"/>
                        </a:rPr>
                        <a:t>X</a:t>
                      </a:r>
                    </a:p>
                  </a:txBody>
                  <a:tcPr marL="56017" marR="56017" marT="0" marB="0"/>
                </a:tc>
                <a:tc>
                  <a:txBody>
                    <a:bodyPr/>
                    <a:lstStyle/>
                    <a:p>
                      <a:pPr algn="ctr">
                        <a:lnSpc>
                          <a:spcPct val="115000"/>
                        </a:lnSpc>
                        <a:spcAft>
                          <a:spcPts val="0"/>
                        </a:spcAft>
                      </a:pPr>
                      <a:r>
                        <a:rPr lang="en-GB" sz="1400" dirty="0">
                          <a:solidFill>
                            <a:srgbClr val="000000"/>
                          </a:solidFill>
                          <a:effectLst/>
                          <a:latin typeface="+mj-lt"/>
                          <a:ea typeface="Calibri" panose="020F0502020204030204" pitchFamily="34" charset="0"/>
                          <a:cs typeface="Times New Roman" panose="02020603050405020304" pitchFamily="18" charset="0"/>
                        </a:rPr>
                        <a:t>X</a:t>
                      </a:r>
                    </a:p>
                  </a:txBody>
                  <a:tcPr marL="56017" marR="56017" marT="0" marB="0"/>
                </a:tc>
                <a:extLst>
                  <a:ext uri="{0D108BD9-81ED-4DB2-BD59-A6C34878D82A}">
                    <a16:rowId xmlns="" xmlns:a16="http://schemas.microsoft.com/office/drawing/2014/main" val="1695662861"/>
                  </a:ext>
                </a:extLst>
              </a:tr>
              <a:tr h="652120">
                <a:tc vMerge="1">
                  <a:txBody>
                    <a:bodyPr/>
                    <a:lstStyle/>
                    <a:p>
                      <a:pPr>
                        <a:lnSpc>
                          <a:spcPct val="115000"/>
                        </a:lnSpc>
                        <a:spcAft>
                          <a:spcPts val="0"/>
                        </a:spcAft>
                      </a:pPr>
                      <a:endParaRPr lang="en-GB" sz="12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400" b="1" kern="1200" dirty="0">
                          <a:solidFill>
                            <a:schemeClr val="bg1"/>
                          </a:solidFill>
                          <a:effectLst/>
                          <a:latin typeface="+mj-lt"/>
                          <a:ea typeface="+mn-ea"/>
                          <a:cs typeface="+mn-cs"/>
                        </a:rPr>
                        <a:t>User Defined Blocks*</a:t>
                      </a:r>
                    </a:p>
                  </a:txBody>
                  <a:tcPr marL="56017" marR="56017" marT="0" marB="0">
                    <a:solidFill>
                      <a:schemeClr val="accent1"/>
                    </a:solidFill>
                  </a:tcPr>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effectLst/>
                          <a:latin typeface="+mj-lt"/>
                        </a:rPr>
                        <a:t>X</a:t>
                      </a: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tc>
                  <a:txBody>
                    <a:bodyPr/>
                    <a:lstStyle/>
                    <a:p>
                      <a:pPr algn="ctr">
                        <a:lnSpc>
                          <a:spcPct val="115000"/>
                        </a:lnSpc>
                        <a:spcAft>
                          <a:spcPts val="0"/>
                        </a:spcAft>
                      </a:pPr>
                      <a:r>
                        <a:rPr lang="en-GB" sz="1400" dirty="0">
                          <a:solidFill>
                            <a:srgbClr val="000000"/>
                          </a:solidFill>
                          <a:effectLst/>
                          <a:latin typeface="+mj-lt"/>
                          <a:ea typeface="Calibri" panose="020F0502020204030204" pitchFamily="34" charset="0"/>
                          <a:cs typeface="Times New Roman" panose="02020603050405020304" pitchFamily="18" charset="0"/>
                        </a:rPr>
                        <a:t>X</a:t>
                      </a:r>
                    </a:p>
                  </a:txBody>
                  <a:tcPr marL="56017" marR="56017" marT="0" marB="0"/>
                </a:tc>
                <a:tc>
                  <a:txBody>
                    <a:bodyPr/>
                    <a:lstStyle/>
                    <a:p>
                      <a:pPr algn="ctr">
                        <a:lnSpc>
                          <a:spcPct val="115000"/>
                        </a:lnSpc>
                        <a:spcAft>
                          <a:spcPts val="0"/>
                        </a:spcAft>
                      </a:pPr>
                      <a:endParaRPr lang="en-GB" sz="1400" dirty="0">
                        <a:solidFill>
                          <a:srgbClr val="000000"/>
                        </a:solidFill>
                        <a:effectLst/>
                        <a:latin typeface="+mj-lt"/>
                        <a:ea typeface="Calibri" panose="020F0502020204030204" pitchFamily="34" charset="0"/>
                        <a:cs typeface="Times New Roman" panose="02020603050405020304" pitchFamily="18" charset="0"/>
                      </a:endParaRPr>
                    </a:p>
                  </a:txBody>
                  <a:tcPr marL="56017" marR="56017" marT="0" marB="0"/>
                </a:tc>
                <a:extLst>
                  <a:ext uri="{0D108BD9-81ED-4DB2-BD59-A6C34878D82A}">
                    <a16:rowId xmlns="" xmlns:a16="http://schemas.microsoft.com/office/drawing/2014/main" val="1336158708"/>
                  </a:ext>
                </a:extLst>
              </a:tr>
              <a:tr h="401040">
                <a:tc>
                  <a:txBody>
                    <a:bodyPr/>
                    <a:lstStyle/>
                    <a:p>
                      <a:pPr>
                        <a:lnSpc>
                          <a:spcPct val="115000"/>
                        </a:lnSpc>
                        <a:spcAft>
                          <a:spcPts val="0"/>
                        </a:spcAft>
                      </a:pPr>
                      <a:r>
                        <a:rPr lang="en-GB" sz="1400" dirty="0">
                          <a:solidFill>
                            <a:schemeClr val="bg1"/>
                          </a:solidFill>
                          <a:effectLst/>
                          <a:latin typeface="+mj-lt"/>
                          <a:ea typeface="Calibri" panose="020F0502020204030204" pitchFamily="34" charset="0"/>
                          <a:cs typeface="Times New Roman" panose="02020603050405020304" pitchFamily="18" charset="0"/>
                        </a:rPr>
                        <a:t>Notes</a:t>
                      </a:r>
                    </a:p>
                  </a:txBody>
                  <a:tcPr marL="56017" marR="56017" marT="0" marB="0"/>
                </a:tc>
                <a:tc>
                  <a:txBody>
                    <a:bodyPr/>
                    <a:lstStyle/>
                    <a:p>
                      <a:pPr>
                        <a:lnSpc>
                          <a:spcPct val="115000"/>
                        </a:lnSpc>
                        <a:spcAft>
                          <a:spcPts val="0"/>
                        </a:spcAft>
                      </a:pPr>
                      <a:endParaRPr lang="en-GB" sz="1400" dirty="0">
                        <a:solidFill>
                          <a:srgbClr val="000000"/>
                        </a:solidFill>
                        <a:effectLst/>
                        <a:latin typeface="+mj-lt"/>
                        <a:ea typeface="+mn-ea"/>
                        <a:cs typeface="Times New Roman" panose="02020603050405020304" pitchFamily="18" charset="0"/>
                      </a:endParaRPr>
                    </a:p>
                  </a:txBody>
                  <a:tcPr marL="56017" marR="56017" marT="0" marB="0"/>
                </a:tc>
                <a:tc gridSpan="6">
                  <a:txBody>
                    <a:bodyPr/>
                    <a:lstStyle/>
                    <a:p>
                      <a:pPr algn="ctr">
                        <a:lnSpc>
                          <a:spcPct val="115000"/>
                        </a:lnSpc>
                        <a:spcAft>
                          <a:spcPts val="0"/>
                        </a:spcAft>
                      </a:pPr>
                      <a:r>
                        <a:rPr lang="en-GB" sz="1400" dirty="0">
                          <a:solidFill>
                            <a:srgbClr val="000000"/>
                          </a:solidFill>
                          <a:effectLst/>
                          <a:latin typeface="+mj-lt"/>
                          <a:ea typeface="Calibri" panose="020F0502020204030204" pitchFamily="34" charset="0"/>
                          <a:cs typeface="Times New Roman" panose="02020603050405020304" pitchFamily="18" charset="0"/>
                        </a:rPr>
                        <a:t>* Hourly blocks (not 15 or 30 min blocks)</a:t>
                      </a:r>
                    </a:p>
                    <a:p>
                      <a:pPr algn="ctr">
                        <a:lnSpc>
                          <a:spcPct val="115000"/>
                        </a:lnSpc>
                        <a:spcAft>
                          <a:spcPts val="0"/>
                        </a:spcAft>
                      </a:pPr>
                      <a:r>
                        <a:rPr lang="en-GB" sz="1400" dirty="0">
                          <a:solidFill>
                            <a:srgbClr val="000000"/>
                          </a:solidFill>
                          <a:effectLst/>
                          <a:latin typeface="+mj-lt"/>
                          <a:ea typeface="Calibri" panose="020F0502020204030204" pitchFamily="34" charset="0"/>
                          <a:cs typeface="Times New Roman" panose="02020603050405020304" pitchFamily="18" charset="0"/>
                        </a:rPr>
                        <a:t>** To be confirmed</a:t>
                      </a:r>
                    </a:p>
                  </a:txBody>
                  <a:tcPr marL="56017" marR="56017" marT="0" marB="0"/>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 xmlns:a16="http://schemas.microsoft.com/office/drawing/2014/main" val="342678886"/>
                  </a:ext>
                </a:extLst>
              </a:tr>
            </a:tbl>
          </a:graphicData>
        </a:graphic>
      </p:graphicFrame>
    </p:spTree>
    <p:extLst>
      <p:ext uri="{BB962C8B-B14F-4D97-AF65-F5344CB8AC3E}">
        <p14:creationId xmlns:p14="http://schemas.microsoft.com/office/powerpoint/2010/main" val="290426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2. Products offered in the XBID solution</a:t>
            </a:r>
            <a:br>
              <a:rPr lang="en-GB" dirty="0"/>
            </a:br>
            <a:r>
              <a:rPr lang="en-GB" dirty="0" smtClean="0"/>
              <a:t>C. Order types</a:t>
            </a:r>
            <a:endParaRPr lang="de-DE"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44</a:t>
            </a:fld>
            <a:endParaRPr lang="en-US" altLang="en-US" dirty="0"/>
          </a:p>
        </p:txBody>
      </p:sp>
      <p:graphicFrame>
        <p:nvGraphicFramePr>
          <p:cNvPr id="5" name="Inhaltsplatzhalter 3"/>
          <p:cNvGraphicFramePr>
            <a:graphicFrameLocks/>
          </p:cNvGraphicFramePr>
          <p:nvPr>
            <p:extLst>
              <p:ext uri="{D42A27DB-BD31-4B8C-83A1-F6EECF244321}">
                <p14:modId xmlns:p14="http://schemas.microsoft.com/office/powerpoint/2010/main" val="2772708060"/>
              </p:ext>
            </p:extLst>
          </p:nvPr>
        </p:nvGraphicFramePr>
        <p:xfrm>
          <a:off x="544044" y="1555798"/>
          <a:ext cx="8106969" cy="4358640"/>
        </p:xfrm>
        <a:graphic>
          <a:graphicData uri="http://schemas.openxmlformats.org/drawingml/2006/table">
            <a:tbl>
              <a:tblPr firstRow="1" bandRow="1">
                <a:tableStyleId>{5C22544A-7EE6-4342-B048-85BDC9FD1C3A}</a:tableStyleId>
              </a:tblPr>
              <a:tblGrid>
                <a:gridCol w="1344952">
                  <a:extLst>
                    <a:ext uri="{9D8B030D-6E8A-4147-A177-3AD203B41FA5}">
                      <a16:colId xmlns="" xmlns:a16="http://schemas.microsoft.com/office/drawing/2014/main" val="20000"/>
                    </a:ext>
                  </a:extLst>
                </a:gridCol>
                <a:gridCol w="2166163">
                  <a:extLst>
                    <a:ext uri="{9D8B030D-6E8A-4147-A177-3AD203B41FA5}">
                      <a16:colId xmlns="" xmlns:a16="http://schemas.microsoft.com/office/drawing/2014/main" val="20001"/>
                    </a:ext>
                  </a:extLst>
                </a:gridCol>
                <a:gridCol w="2210463">
                  <a:extLst>
                    <a:ext uri="{9D8B030D-6E8A-4147-A177-3AD203B41FA5}">
                      <a16:colId xmlns="" xmlns:a16="http://schemas.microsoft.com/office/drawing/2014/main" val="20002"/>
                    </a:ext>
                  </a:extLst>
                </a:gridCol>
                <a:gridCol w="1240403">
                  <a:extLst>
                    <a:ext uri="{9D8B030D-6E8A-4147-A177-3AD203B41FA5}">
                      <a16:colId xmlns="" xmlns:a16="http://schemas.microsoft.com/office/drawing/2014/main" val="20003"/>
                    </a:ext>
                  </a:extLst>
                </a:gridCol>
                <a:gridCol w="1144988">
                  <a:extLst>
                    <a:ext uri="{9D8B030D-6E8A-4147-A177-3AD203B41FA5}">
                      <a16:colId xmlns="" xmlns:a16="http://schemas.microsoft.com/office/drawing/2014/main" val="20004"/>
                    </a:ext>
                  </a:extLst>
                </a:gridCol>
              </a:tblGrid>
              <a:tr h="370840">
                <a:tc>
                  <a:txBody>
                    <a:bodyPr/>
                    <a:lstStyle/>
                    <a:p>
                      <a:r>
                        <a:rPr lang="en-GB" sz="1600" dirty="0">
                          <a:latin typeface="+mn-lt"/>
                        </a:rPr>
                        <a:t>Order type</a:t>
                      </a:r>
                    </a:p>
                  </a:txBody>
                  <a:tcPr/>
                </a:tc>
                <a:tc>
                  <a:txBody>
                    <a:bodyPr/>
                    <a:lstStyle/>
                    <a:p>
                      <a:r>
                        <a:rPr lang="en-GB" sz="1600" dirty="0">
                          <a:latin typeface="+mn-lt"/>
                        </a:rPr>
                        <a:t>Execution Restrictions</a:t>
                      </a:r>
                    </a:p>
                  </a:txBody>
                  <a:tcPr/>
                </a:tc>
                <a:tc>
                  <a:txBody>
                    <a:bodyPr/>
                    <a:lstStyle/>
                    <a:p>
                      <a:r>
                        <a:rPr lang="en-GB" sz="1600" dirty="0">
                          <a:latin typeface="+mn-lt"/>
                        </a:rPr>
                        <a:t>Validity</a:t>
                      </a:r>
                      <a:r>
                        <a:rPr lang="en-GB" sz="1600" baseline="0" dirty="0">
                          <a:latin typeface="+mn-lt"/>
                        </a:rPr>
                        <a:t> </a:t>
                      </a:r>
                      <a:r>
                        <a:rPr lang="en-GB" sz="1600" dirty="0">
                          <a:latin typeface="+mn-lt"/>
                        </a:rPr>
                        <a:t>Restrictions</a:t>
                      </a:r>
                    </a:p>
                  </a:txBody>
                  <a:tcPr/>
                </a:tc>
                <a:tc>
                  <a:txBody>
                    <a:bodyPr/>
                    <a:lstStyle/>
                    <a:p>
                      <a:r>
                        <a:rPr lang="en-GB" sz="1600" dirty="0">
                          <a:latin typeface="+mn-lt"/>
                        </a:rPr>
                        <a:t>Predefined</a:t>
                      </a:r>
                    </a:p>
                  </a:txBody>
                  <a:tcPr/>
                </a:tc>
                <a:tc>
                  <a:txBody>
                    <a:bodyPr/>
                    <a:lstStyle/>
                    <a:p>
                      <a:r>
                        <a:rPr lang="en-GB" sz="1600" dirty="0">
                          <a:latin typeface="+mn-lt"/>
                        </a:rPr>
                        <a:t>User-Defined</a:t>
                      </a:r>
                    </a:p>
                  </a:txBody>
                  <a:tcPr/>
                </a:tc>
                <a:extLst>
                  <a:ext uri="{0D108BD9-81ED-4DB2-BD59-A6C34878D82A}">
                    <a16:rowId xmlns="" xmlns:a16="http://schemas.microsoft.com/office/drawing/2014/main" val="10000"/>
                  </a:ext>
                </a:extLst>
              </a:tr>
              <a:tr h="370840">
                <a:tc>
                  <a:txBody>
                    <a:bodyPr/>
                    <a:lstStyle/>
                    <a:p>
                      <a:r>
                        <a:rPr lang="en-GB" sz="1600" b="1" dirty="0">
                          <a:solidFill>
                            <a:schemeClr val="tx1"/>
                          </a:solidFill>
                          <a:latin typeface="+mn-lt"/>
                          <a:cs typeface="Arial"/>
                        </a:rPr>
                        <a:t>Regular predefined</a:t>
                      </a:r>
                    </a:p>
                  </a:txBody>
                  <a:tcPr/>
                </a:tc>
                <a:tc>
                  <a:txBody>
                    <a:bodyPr/>
                    <a:lstStyle/>
                    <a:p>
                      <a:r>
                        <a:rPr lang="en-GB" sz="1600" kern="1200" dirty="0">
                          <a:solidFill>
                            <a:schemeClr val="tx1"/>
                          </a:solidFill>
                          <a:latin typeface="+mn-lt"/>
                          <a:ea typeface="+mn-ea"/>
                          <a:cs typeface="Arial"/>
                        </a:rPr>
                        <a:t>NON</a:t>
                      </a:r>
                      <a:r>
                        <a:rPr lang="en-GB" sz="1600" dirty="0">
                          <a:solidFill>
                            <a:schemeClr val="tx1"/>
                          </a:solidFill>
                          <a:latin typeface="+mn-lt"/>
                          <a:cs typeface="Arial"/>
                        </a:rPr>
                        <a:t> (None) </a:t>
                      </a:r>
                    </a:p>
                    <a:p>
                      <a:r>
                        <a:rPr lang="en-GB" sz="1600" dirty="0">
                          <a:solidFill>
                            <a:schemeClr val="tx1"/>
                          </a:solidFill>
                          <a:latin typeface="+mn-lt"/>
                          <a:cs typeface="Arial"/>
                        </a:rPr>
                        <a:t>IOC (</a:t>
                      </a:r>
                      <a:r>
                        <a:rPr lang="en-GB" sz="1600" kern="1200" dirty="0">
                          <a:solidFill>
                            <a:schemeClr val="tx1"/>
                          </a:solidFill>
                          <a:latin typeface="+mn-lt"/>
                          <a:ea typeface="+mn-ea"/>
                          <a:cs typeface="Arial"/>
                        </a:rPr>
                        <a:t>Immediate</a:t>
                      </a:r>
                      <a:r>
                        <a:rPr lang="en-GB" sz="1600" dirty="0">
                          <a:solidFill>
                            <a:schemeClr val="tx1"/>
                          </a:solidFill>
                          <a:latin typeface="+mn-lt"/>
                          <a:cs typeface="Arial"/>
                        </a:rPr>
                        <a:t>-or-Cancel)</a:t>
                      </a:r>
                    </a:p>
                    <a:p>
                      <a:r>
                        <a:rPr lang="en-GB" sz="1600" dirty="0">
                          <a:solidFill>
                            <a:schemeClr val="tx1"/>
                          </a:solidFill>
                          <a:latin typeface="+mn-lt"/>
                          <a:cs typeface="Arial"/>
                        </a:rPr>
                        <a:t>FOK (Fill-or-Kill)</a:t>
                      </a:r>
                    </a:p>
                  </a:txBody>
                  <a:tcPr/>
                </a:tc>
                <a:tc>
                  <a:txBody>
                    <a:bodyPr/>
                    <a:lstStyle/>
                    <a:p>
                      <a:r>
                        <a:rPr lang="en-GB" sz="1600" dirty="0">
                          <a:solidFill>
                            <a:schemeClr val="tx1"/>
                          </a:solidFill>
                          <a:latin typeface="+mn-lt"/>
                          <a:cs typeface="Arial"/>
                        </a:rPr>
                        <a:t>GTD (Good Till Date)</a:t>
                      </a:r>
                    </a:p>
                    <a:p>
                      <a:r>
                        <a:rPr lang="en-GB" sz="1600" dirty="0">
                          <a:solidFill>
                            <a:schemeClr val="tx1"/>
                          </a:solidFill>
                          <a:latin typeface="+mn-lt"/>
                          <a:cs typeface="Arial"/>
                        </a:rPr>
                        <a:t>GFS (Good</a:t>
                      </a:r>
                      <a:r>
                        <a:rPr lang="en-GB" sz="1600" baseline="0" dirty="0">
                          <a:solidFill>
                            <a:schemeClr val="tx1"/>
                          </a:solidFill>
                          <a:latin typeface="+mn-lt"/>
                          <a:cs typeface="Arial"/>
                        </a:rPr>
                        <a:t> For Session)</a:t>
                      </a:r>
                      <a:endParaRPr lang="en-GB" sz="1600" dirty="0">
                        <a:solidFill>
                          <a:schemeClr val="tx1"/>
                        </a:solidFill>
                        <a:latin typeface="+mn-lt"/>
                        <a:cs typeface="Arial"/>
                      </a:endParaRPr>
                    </a:p>
                    <a:p>
                      <a:endParaRPr lang="en-GB" sz="1600" dirty="0">
                        <a:solidFill>
                          <a:schemeClr val="tx1"/>
                        </a:solidFill>
                        <a:latin typeface="+mn-lt"/>
                        <a:cs typeface="Arial"/>
                      </a:endParaRPr>
                    </a:p>
                  </a:txBody>
                  <a:tcPr/>
                </a:tc>
                <a:tc>
                  <a:txBody>
                    <a:bodyPr/>
                    <a:lstStyle/>
                    <a:p>
                      <a:pPr algn="ctr"/>
                      <a:r>
                        <a:rPr lang="en-GB" sz="1600" dirty="0">
                          <a:solidFill>
                            <a:schemeClr val="tx1"/>
                          </a:solidFill>
                          <a:latin typeface="+mn-lt"/>
                          <a:cs typeface="Arial"/>
                        </a:rPr>
                        <a:t>Yes</a:t>
                      </a:r>
                    </a:p>
                  </a:txBody>
                  <a:tcPr/>
                </a:tc>
                <a:tc>
                  <a:txBody>
                    <a:bodyPr/>
                    <a:lstStyle/>
                    <a:p>
                      <a:pPr algn="ctr"/>
                      <a:r>
                        <a:rPr lang="en-GB" sz="1600" dirty="0">
                          <a:solidFill>
                            <a:schemeClr val="tx1"/>
                          </a:solidFill>
                          <a:latin typeface="+mn-lt"/>
                          <a:cs typeface="Arial"/>
                        </a:rPr>
                        <a:t>No</a:t>
                      </a:r>
                    </a:p>
                  </a:txBody>
                  <a:tcPr/>
                </a:tc>
                <a:extLst>
                  <a:ext uri="{0D108BD9-81ED-4DB2-BD59-A6C34878D82A}">
                    <a16:rowId xmlns="" xmlns:a16="http://schemas.microsoft.com/office/drawing/2014/main" val="10001"/>
                  </a:ext>
                </a:extLst>
              </a:tr>
              <a:tr h="370840">
                <a:tc>
                  <a:txBody>
                    <a:bodyPr/>
                    <a:lstStyle/>
                    <a:p>
                      <a:r>
                        <a:rPr lang="en-GB" sz="1600" b="1" dirty="0">
                          <a:solidFill>
                            <a:schemeClr val="tx1"/>
                          </a:solidFill>
                          <a:latin typeface="+mn-lt"/>
                          <a:cs typeface="Arial"/>
                        </a:rPr>
                        <a:t>Regular user-defined block</a:t>
                      </a:r>
                    </a:p>
                  </a:txBody>
                  <a:tcP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GB" sz="1600" b="0" u="none" strike="noStrike" kern="1200" dirty="0">
                          <a:solidFill>
                            <a:schemeClr val="tx1"/>
                          </a:solidFill>
                          <a:effectLst/>
                          <a:latin typeface="+mn-lt"/>
                          <a:ea typeface="+mn-ea"/>
                          <a:cs typeface="Arial"/>
                        </a:rPr>
                        <a:t>AON (All-or-Nothing)</a:t>
                      </a:r>
                    </a:p>
                  </a:txBody>
                  <a:tcPr/>
                </a:tc>
                <a:tc>
                  <a:txBody>
                    <a:bodyPr/>
                    <a:lstStyle/>
                    <a:p>
                      <a:r>
                        <a:rPr lang="en-GB" sz="1600" dirty="0">
                          <a:solidFill>
                            <a:schemeClr val="tx1"/>
                          </a:solidFill>
                          <a:latin typeface="+mn-lt"/>
                          <a:cs typeface="Arial"/>
                        </a:rPr>
                        <a:t>GTD (Good Till Date)</a:t>
                      </a:r>
                    </a:p>
                    <a:p>
                      <a:r>
                        <a:rPr lang="en-GB" sz="1600" dirty="0">
                          <a:solidFill>
                            <a:schemeClr val="tx1"/>
                          </a:solidFill>
                          <a:latin typeface="+mn-lt"/>
                          <a:cs typeface="Arial"/>
                        </a:rPr>
                        <a:t>GFS (Good</a:t>
                      </a:r>
                      <a:r>
                        <a:rPr lang="en-GB" sz="1600" baseline="0" dirty="0">
                          <a:solidFill>
                            <a:schemeClr val="tx1"/>
                          </a:solidFill>
                          <a:latin typeface="+mn-lt"/>
                          <a:cs typeface="Arial"/>
                        </a:rPr>
                        <a:t> For Session)</a:t>
                      </a:r>
                      <a:endParaRPr lang="en-GB" sz="1600" dirty="0">
                        <a:solidFill>
                          <a:schemeClr val="tx1"/>
                        </a:solidFill>
                        <a:latin typeface="+mn-lt"/>
                        <a:cs typeface="Arial"/>
                      </a:endParaRPr>
                    </a:p>
                  </a:txBody>
                  <a:tcPr/>
                </a:tc>
                <a:tc>
                  <a:txBody>
                    <a:bodyPr/>
                    <a:lstStyle/>
                    <a:p>
                      <a:pPr algn="ctr"/>
                      <a:r>
                        <a:rPr lang="en-GB" sz="1600" dirty="0">
                          <a:solidFill>
                            <a:schemeClr val="tx1"/>
                          </a:solidFill>
                          <a:latin typeface="+mn-lt"/>
                          <a:cs typeface="Arial"/>
                        </a:rPr>
                        <a:t>No</a:t>
                      </a:r>
                    </a:p>
                  </a:txBody>
                  <a:tcPr/>
                </a:tc>
                <a:tc>
                  <a:txBody>
                    <a:bodyPr/>
                    <a:lstStyle/>
                    <a:p>
                      <a:pPr algn="ctr"/>
                      <a:r>
                        <a:rPr lang="en-GB" sz="1600" dirty="0">
                          <a:solidFill>
                            <a:schemeClr val="tx1"/>
                          </a:solidFill>
                          <a:latin typeface="+mn-lt"/>
                          <a:cs typeface="Arial"/>
                        </a:rPr>
                        <a:t>Yes</a:t>
                      </a:r>
                    </a:p>
                  </a:txBody>
                  <a:tcPr/>
                </a:tc>
                <a:extLst>
                  <a:ext uri="{0D108BD9-81ED-4DB2-BD59-A6C34878D82A}">
                    <a16:rowId xmlns="" xmlns:a16="http://schemas.microsoft.com/office/drawing/2014/main" val="10002"/>
                  </a:ext>
                </a:extLst>
              </a:tr>
              <a:tr h="370840">
                <a:tc>
                  <a:txBody>
                    <a:bodyPr/>
                    <a:lstStyle/>
                    <a:p>
                      <a:r>
                        <a:rPr lang="en-GB" sz="1600" b="1" dirty="0">
                          <a:solidFill>
                            <a:schemeClr val="tx1"/>
                          </a:solidFill>
                          <a:latin typeface="+mn-lt"/>
                          <a:cs typeface="Arial"/>
                        </a:rPr>
                        <a:t>Iceberg</a:t>
                      </a:r>
                    </a:p>
                  </a:txBody>
                  <a:tcPr/>
                </a:tc>
                <a:tc>
                  <a:txBody>
                    <a:bodyPr/>
                    <a:lstStyle/>
                    <a:p>
                      <a:r>
                        <a:rPr lang="en-GB" sz="1600" dirty="0">
                          <a:solidFill>
                            <a:schemeClr val="tx1"/>
                          </a:solidFill>
                          <a:latin typeface="+mn-lt"/>
                          <a:cs typeface="Arial"/>
                        </a:rPr>
                        <a:t>NON (None)</a:t>
                      </a:r>
                    </a:p>
                  </a:txBody>
                  <a:tcPr/>
                </a:tc>
                <a:tc>
                  <a:txBody>
                    <a:bodyPr/>
                    <a:lstStyle/>
                    <a:p>
                      <a:r>
                        <a:rPr lang="en-GB" sz="1600" dirty="0">
                          <a:solidFill>
                            <a:schemeClr val="tx1"/>
                          </a:solidFill>
                          <a:latin typeface="+mn-lt"/>
                          <a:cs typeface="Arial"/>
                        </a:rPr>
                        <a:t>GTD (Good Till Date)</a:t>
                      </a:r>
                    </a:p>
                    <a:p>
                      <a:r>
                        <a:rPr lang="en-GB" sz="1600" dirty="0">
                          <a:solidFill>
                            <a:schemeClr val="tx1"/>
                          </a:solidFill>
                          <a:latin typeface="+mn-lt"/>
                          <a:cs typeface="Arial"/>
                        </a:rPr>
                        <a:t>GFS (Good</a:t>
                      </a:r>
                      <a:r>
                        <a:rPr lang="en-GB" sz="1600" baseline="0" dirty="0">
                          <a:solidFill>
                            <a:schemeClr val="tx1"/>
                          </a:solidFill>
                          <a:latin typeface="+mn-lt"/>
                          <a:cs typeface="Arial"/>
                        </a:rPr>
                        <a:t> For Session)</a:t>
                      </a:r>
                      <a:endParaRPr lang="en-GB" sz="1600" dirty="0">
                        <a:solidFill>
                          <a:schemeClr val="tx1"/>
                        </a:solidFill>
                        <a:latin typeface="+mn-lt"/>
                        <a:cs typeface="Arial"/>
                      </a:endParaRPr>
                    </a:p>
                  </a:txBody>
                  <a:tcPr/>
                </a:tc>
                <a:tc>
                  <a:txBody>
                    <a:bodyPr/>
                    <a:lstStyle/>
                    <a:p>
                      <a:pPr algn="ctr"/>
                      <a:r>
                        <a:rPr lang="en-GB" sz="1600" dirty="0">
                          <a:solidFill>
                            <a:schemeClr val="tx1"/>
                          </a:solidFill>
                          <a:latin typeface="+mn-lt"/>
                          <a:cs typeface="Arial"/>
                        </a:rPr>
                        <a:t>Yes</a:t>
                      </a:r>
                    </a:p>
                  </a:txBody>
                  <a:tcPr/>
                </a:tc>
                <a:tc>
                  <a:txBody>
                    <a:bodyPr/>
                    <a:lstStyle/>
                    <a:p>
                      <a:pPr algn="ctr"/>
                      <a:r>
                        <a:rPr lang="en-GB" sz="1600" dirty="0">
                          <a:solidFill>
                            <a:schemeClr val="tx1"/>
                          </a:solidFill>
                          <a:latin typeface="+mn-lt"/>
                          <a:cs typeface="Arial"/>
                        </a:rPr>
                        <a:t>No</a:t>
                      </a:r>
                    </a:p>
                  </a:txBody>
                  <a:tcPr/>
                </a:tc>
                <a:extLst>
                  <a:ext uri="{0D108BD9-81ED-4DB2-BD59-A6C34878D82A}">
                    <a16:rowId xmlns="" xmlns:a16="http://schemas.microsoft.com/office/drawing/2014/main" val="10003"/>
                  </a:ext>
                </a:extLst>
              </a:tr>
              <a:tr h="370840">
                <a:tc>
                  <a:txBody>
                    <a:bodyPr/>
                    <a:lstStyle/>
                    <a:p>
                      <a:r>
                        <a:rPr lang="en-GB" sz="1600" b="1" dirty="0">
                          <a:solidFill>
                            <a:schemeClr val="tx1"/>
                          </a:solidFill>
                          <a:latin typeface="+mn-lt"/>
                          <a:cs typeface="Arial"/>
                        </a:rPr>
                        <a:t>Basket</a:t>
                      </a:r>
                      <a:r>
                        <a:rPr lang="en-GB" sz="1600" b="1" baseline="0" dirty="0">
                          <a:solidFill>
                            <a:schemeClr val="tx1"/>
                          </a:solidFill>
                          <a:latin typeface="+mn-lt"/>
                          <a:cs typeface="Arial"/>
                        </a:rPr>
                        <a:t> Orders</a:t>
                      </a:r>
                      <a:endParaRPr lang="en-GB" sz="1600" b="1" dirty="0">
                        <a:solidFill>
                          <a:schemeClr val="tx1"/>
                        </a:solidFill>
                        <a:latin typeface="+mn-lt"/>
                        <a:cs typeface="Arial"/>
                      </a:endParaRPr>
                    </a:p>
                  </a:txBody>
                  <a:tcPr/>
                </a:tc>
                <a:tc>
                  <a:txBody>
                    <a:bodyPr/>
                    <a:lstStyle/>
                    <a:p>
                      <a:pPr marL="0" lvl="0" indent="0">
                        <a:buFont typeface="Arial" panose="020B0604020202020204" pitchFamily="34" charset="0"/>
                        <a:buNone/>
                      </a:pPr>
                      <a:r>
                        <a:rPr lang="en-GB" sz="1600" kern="1200" dirty="0">
                          <a:solidFill>
                            <a:schemeClr val="tx1"/>
                          </a:solidFill>
                          <a:latin typeface="+mn-lt"/>
                          <a:ea typeface="+mn-ea"/>
                          <a:cs typeface="Arial"/>
                        </a:rPr>
                        <a:t>None   (1)</a:t>
                      </a:r>
                    </a:p>
                    <a:p>
                      <a:pPr marL="0" lvl="0" indent="0">
                        <a:buFont typeface="Arial" panose="020B0604020202020204" pitchFamily="34" charset="0"/>
                        <a:buNone/>
                      </a:pPr>
                      <a:r>
                        <a:rPr lang="en-GB" sz="1600" kern="1200" dirty="0">
                          <a:solidFill>
                            <a:schemeClr val="tx1"/>
                          </a:solidFill>
                          <a:latin typeface="+mn-lt"/>
                          <a:ea typeface="+mn-ea"/>
                          <a:cs typeface="Arial"/>
                        </a:rPr>
                        <a:t>Valid    (2)</a:t>
                      </a:r>
                    </a:p>
                    <a:p>
                      <a:pPr marL="0" lvl="0" indent="0">
                        <a:buFont typeface="Arial" panose="020B0604020202020204" pitchFamily="34" charset="0"/>
                        <a:buNone/>
                      </a:pPr>
                      <a:r>
                        <a:rPr lang="en-GB" sz="1600" kern="1200" dirty="0">
                          <a:solidFill>
                            <a:schemeClr val="tx1"/>
                          </a:solidFill>
                          <a:latin typeface="+mn-lt"/>
                          <a:ea typeface="+mn-ea"/>
                          <a:cs typeface="Arial"/>
                        </a:rPr>
                        <a:t>Linked (3)</a:t>
                      </a:r>
                    </a:p>
                  </a:txBody>
                  <a:tcPr/>
                </a:tc>
                <a:tc>
                  <a:txBody>
                    <a:bodyPr/>
                    <a:lstStyle/>
                    <a:p>
                      <a:r>
                        <a:rPr lang="en-GB" sz="1600" dirty="0">
                          <a:solidFill>
                            <a:schemeClr val="tx1"/>
                          </a:solidFill>
                          <a:latin typeface="+mn-lt"/>
                          <a:cs typeface="Arial"/>
                        </a:rPr>
                        <a:t>--</a:t>
                      </a:r>
                    </a:p>
                  </a:txBody>
                  <a:tcPr/>
                </a:tc>
                <a:tc>
                  <a:txBody>
                    <a:bodyPr/>
                    <a:lstStyle/>
                    <a:p>
                      <a:pPr algn="ctr"/>
                      <a:r>
                        <a:rPr lang="en-GB" sz="1600" dirty="0">
                          <a:solidFill>
                            <a:schemeClr val="tx1"/>
                          </a:solidFill>
                          <a:latin typeface="+mn-lt"/>
                          <a:cs typeface="Arial"/>
                        </a:rPr>
                        <a:t>Yes</a:t>
                      </a:r>
                    </a:p>
                  </a:txBody>
                  <a:tcPr/>
                </a:tc>
                <a:tc>
                  <a:txBody>
                    <a:bodyPr/>
                    <a:lstStyle/>
                    <a:p>
                      <a:pPr algn="ctr"/>
                      <a:r>
                        <a:rPr lang="en-GB" sz="1600" dirty="0">
                          <a:solidFill>
                            <a:schemeClr val="tx1"/>
                          </a:solidFill>
                          <a:latin typeface="+mn-lt"/>
                          <a:cs typeface="Arial"/>
                        </a:rPr>
                        <a:t>No</a:t>
                      </a:r>
                    </a:p>
                  </a:txBody>
                  <a:tcPr/>
                </a:tc>
                <a:extLst>
                  <a:ext uri="{0D108BD9-81ED-4DB2-BD59-A6C34878D82A}">
                    <a16:rowId xmlns="" xmlns:a16="http://schemas.microsoft.com/office/drawing/2014/main" val="10004"/>
                  </a:ext>
                </a:extLst>
              </a:tr>
            </a:tbl>
          </a:graphicData>
        </a:graphic>
      </p:graphicFrame>
      <p:sp>
        <p:nvSpPr>
          <p:cNvPr id="6" name="Tekstvak 2"/>
          <p:cNvSpPr txBox="1"/>
          <p:nvPr/>
        </p:nvSpPr>
        <p:spPr>
          <a:xfrm>
            <a:off x="535017" y="5969255"/>
            <a:ext cx="8076247" cy="738664"/>
          </a:xfrm>
          <a:prstGeom prst="rect">
            <a:avLst/>
          </a:prstGeom>
          <a:noFill/>
        </p:spPr>
        <p:txBody>
          <a:bodyPr wrap="square" rtlCol="0">
            <a:spAutoFit/>
          </a:bodyPr>
          <a:lstStyle/>
          <a:p>
            <a:pPr algn="just"/>
            <a:r>
              <a:rPr lang="en-GB" sz="1050" dirty="0">
                <a:latin typeface="+mj-lt"/>
                <a:cs typeface="Arial" panose="020B0604020202020204" pitchFamily="34" charset="0"/>
              </a:rPr>
              <a:t>(1) Orders are processed as if they would have been submitted separately</a:t>
            </a:r>
          </a:p>
          <a:p>
            <a:pPr algn="just"/>
            <a:r>
              <a:rPr lang="en-GB" sz="1050" dirty="0">
                <a:latin typeface="+mj-lt"/>
                <a:cs typeface="Arial" panose="020B0604020202020204" pitchFamily="34" charset="0"/>
              </a:rPr>
              <a:t>(2) All orders in the basket are accepted or rejected</a:t>
            </a:r>
          </a:p>
          <a:p>
            <a:pPr algn="just"/>
            <a:r>
              <a:rPr lang="en-GB" sz="1050" dirty="0">
                <a:latin typeface="+mj-lt"/>
                <a:cs typeface="Arial" panose="020B0604020202020204" pitchFamily="34" charset="0"/>
              </a:rPr>
              <a:t>(3) All orders in the basket must be executed immediately with their entire quantity, all orders inside basket have the execution restriction "FOK"</a:t>
            </a:r>
            <a:endParaRPr lang="en-GB" sz="1200" dirty="0">
              <a:latin typeface="+mj-lt"/>
            </a:endParaRPr>
          </a:p>
        </p:txBody>
      </p:sp>
    </p:spTree>
    <p:extLst>
      <p:ext uri="{BB962C8B-B14F-4D97-AF65-F5344CB8AC3E}">
        <p14:creationId xmlns:p14="http://schemas.microsoft.com/office/powerpoint/2010/main" val="32964813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3. </a:t>
            </a:r>
            <a:r>
              <a:rPr lang="en-GB" dirty="0"/>
              <a:t>Contract life cycle for a Market Area (MA)</a:t>
            </a:r>
            <a:endParaRPr lang="de-DE"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45</a:t>
            </a:fld>
            <a:endParaRPr lang="en-US" altLang="en-US" dirty="0"/>
          </a:p>
        </p:txBody>
      </p:sp>
      <p:cxnSp>
        <p:nvCxnSpPr>
          <p:cNvPr id="5" name="Straight Connector 5">
            <a:extLst>
              <a:ext uri="{FF2B5EF4-FFF2-40B4-BE49-F238E27FC236}">
                <a16:creationId xmlns="" xmlns:a16="http://schemas.microsoft.com/office/drawing/2014/main" id="{B482032F-E6FE-457F-BE9F-1EEDD95B3D8A}"/>
              </a:ext>
            </a:extLst>
          </p:cNvPr>
          <p:cNvCxnSpPr>
            <a:cxnSpLocks/>
          </p:cNvCxnSpPr>
          <p:nvPr/>
        </p:nvCxnSpPr>
        <p:spPr>
          <a:xfrm>
            <a:off x="370163" y="2749987"/>
            <a:ext cx="8455785"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 name="Straight Connector 6">
            <a:extLst>
              <a:ext uri="{FF2B5EF4-FFF2-40B4-BE49-F238E27FC236}">
                <a16:creationId xmlns="" xmlns:a16="http://schemas.microsoft.com/office/drawing/2014/main" id="{99686B5A-C508-43FA-AD14-F2D7FE57D397}"/>
              </a:ext>
            </a:extLst>
          </p:cNvPr>
          <p:cNvCxnSpPr>
            <a:cxnSpLocks/>
          </p:cNvCxnSpPr>
          <p:nvPr/>
        </p:nvCxnSpPr>
        <p:spPr>
          <a:xfrm>
            <a:off x="370163" y="2610137"/>
            <a:ext cx="0" cy="29045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 name="Straight Connector 7">
            <a:extLst>
              <a:ext uri="{FF2B5EF4-FFF2-40B4-BE49-F238E27FC236}">
                <a16:creationId xmlns="" xmlns:a16="http://schemas.microsoft.com/office/drawing/2014/main" id="{79BFA340-AE6F-469D-A68A-4B090E8A3F2D}"/>
              </a:ext>
            </a:extLst>
          </p:cNvPr>
          <p:cNvCxnSpPr>
            <a:cxnSpLocks/>
          </p:cNvCxnSpPr>
          <p:nvPr/>
        </p:nvCxnSpPr>
        <p:spPr>
          <a:xfrm>
            <a:off x="2171605" y="2601170"/>
            <a:ext cx="0" cy="29045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8" name="Straight Connector 8">
            <a:extLst>
              <a:ext uri="{FF2B5EF4-FFF2-40B4-BE49-F238E27FC236}">
                <a16:creationId xmlns="" xmlns:a16="http://schemas.microsoft.com/office/drawing/2014/main" id="{528C18A8-D0DD-4F09-AEFA-F2BF15CF8825}"/>
              </a:ext>
            </a:extLst>
          </p:cNvPr>
          <p:cNvCxnSpPr>
            <a:cxnSpLocks/>
          </p:cNvCxnSpPr>
          <p:nvPr/>
        </p:nvCxnSpPr>
        <p:spPr>
          <a:xfrm>
            <a:off x="4626136" y="2610137"/>
            <a:ext cx="0" cy="29045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9" name="TextBox 9">
            <a:extLst>
              <a:ext uri="{FF2B5EF4-FFF2-40B4-BE49-F238E27FC236}">
                <a16:creationId xmlns="" xmlns:a16="http://schemas.microsoft.com/office/drawing/2014/main" id="{836C64FA-03B3-4020-8612-AB1F92BF0264}"/>
              </a:ext>
            </a:extLst>
          </p:cNvPr>
          <p:cNvSpPr txBox="1"/>
          <p:nvPr/>
        </p:nvSpPr>
        <p:spPr>
          <a:xfrm>
            <a:off x="-44142" y="1843523"/>
            <a:ext cx="1161077" cy="461665"/>
          </a:xfrm>
          <a:prstGeom prst="rect">
            <a:avLst/>
          </a:prstGeom>
          <a:noFill/>
        </p:spPr>
        <p:txBody>
          <a:bodyPr wrap="square" rtlCol="0">
            <a:spAutoFit/>
          </a:bodyPr>
          <a:lstStyle/>
          <a:p>
            <a:pPr algn="ctr"/>
            <a:r>
              <a:rPr lang="en-GB" sz="1200" dirty="0"/>
              <a:t>Intra-MA opening</a:t>
            </a:r>
          </a:p>
        </p:txBody>
      </p:sp>
      <p:sp>
        <p:nvSpPr>
          <p:cNvPr id="10" name="TextBox 10">
            <a:extLst>
              <a:ext uri="{FF2B5EF4-FFF2-40B4-BE49-F238E27FC236}">
                <a16:creationId xmlns="" xmlns:a16="http://schemas.microsoft.com/office/drawing/2014/main" id="{7A7C7A89-58FA-4191-AAD6-6D09BAA6E6EC}"/>
              </a:ext>
            </a:extLst>
          </p:cNvPr>
          <p:cNvSpPr txBox="1"/>
          <p:nvPr/>
        </p:nvSpPr>
        <p:spPr>
          <a:xfrm>
            <a:off x="1428907" y="1735801"/>
            <a:ext cx="1485395" cy="646331"/>
          </a:xfrm>
          <a:prstGeom prst="rect">
            <a:avLst/>
          </a:prstGeom>
          <a:noFill/>
        </p:spPr>
        <p:txBody>
          <a:bodyPr wrap="square" rtlCol="0">
            <a:spAutoFit/>
          </a:bodyPr>
          <a:lstStyle/>
          <a:p>
            <a:pPr algn="ctr"/>
            <a:r>
              <a:rPr lang="en-GB" sz="1200" dirty="0"/>
              <a:t>Cross-MA openings (time can differ per border)</a:t>
            </a:r>
          </a:p>
        </p:txBody>
      </p:sp>
      <p:cxnSp>
        <p:nvCxnSpPr>
          <p:cNvPr id="11" name="Straight Connector 11">
            <a:extLst>
              <a:ext uri="{FF2B5EF4-FFF2-40B4-BE49-F238E27FC236}">
                <a16:creationId xmlns="" xmlns:a16="http://schemas.microsoft.com/office/drawing/2014/main" id="{F58FA043-64A1-475F-8C0A-27F6642856EE}"/>
              </a:ext>
            </a:extLst>
          </p:cNvPr>
          <p:cNvCxnSpPr>
            <a:cxnSpLocks/>
          </p:cNvCxnSpPr>
          <p:nvPr/>
        </p:nvCxnSpPr>
        <p:spPr>
          <a:xfrm>
            <a:off x="2012035" y="2601171"/>
            <a:ext cx="0" cy="29045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 name="Straight Connector 12">
            <a:extLst>
              <a:ext uri="{FF2B5EF4-FFF2-40B4-BE49-F238E27FC236}">
                <a16:creationId xmlns="" xmlns:a16="http://schemas.microsoft.com/office/drawing/2014/main" id="{B6A4CF89-30A3-455E-87B0-E259F1FF98CB}"/>
              </a:ext>
            </a:extLst>
          </p:cNvPr>
          <p:cNvCxnSpPr>
            <a:cxnSpLocks/>
          </p:cNvCxnSpPr>
          <p:nvPr/>
        </p:nvCxnSpPr>
        <p:spPr>
          <a:xfrm>
            <a:off x="2324006" y="2601170"/>
            <a:ext cx="0" cy="29045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3" name="Straight Connector 13">
            <a:extLst>
              <a:ext uri="{FF2B5EF4-FFF2-40B4-BE49-F238E27FC236}">
                <a16:creationId xmlns="" xmlns:a16="http://schemas.microsoft.com/office/drawing/2014/main" id="{AEF8FF3A-AF85-4027-94BE-3836AFB5F7BC}"/>
              </a:ext>
            </a:extLst>
          </p:cNvPr>
          <p:cNvCxnSpPr>
            <a:cxnSpLocks/>
          </p:cNvCxnSpPr>
          <p:nvPr/>
        </p:nvCxnSpPr>
        <p:spPr>
          <a:xfrm>
            <a:off x="4455806" y="2601170"/>
            <a:ext cx="0" cy="29045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4">
            <a:extLst>
              <a:ext uri="{FF2B5EF4-FFF2-40B4-BE49-F238E27FC236}">
                <a16:creationId xmlns="" xmlns:a16="http://schemas.microsoft.com/office/drawing/2014/main" id="{76BB6735-D1B7-43C0-AB66-E50CAF23AA8D}"/>
              </a:ext>
            </a:extLst>
          </p:cNvPr>
          <p:cNvCxnSpPr>
            <a:cxnSpLocks/>
          </p:cNvCxnSpPr>
          <p:nvPr/>
        </p:nvCxnSpPr>
        <p:spPr>
          <a:xfrm>
            <a:off x="4778536" y="2610137"/>
            <a:ext cx="0" cy="29045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5" name="TextBox 15">
            <a:extLst>
              <a:ext uri="{FF2B5EF4-FFF2-40B4-BE49-F238E27FC236}">
                <a16:creationId xmlns="" xmlns:a16="http://schemas.microsoft.com/office/drawing/2014/main" id="{9534BB5E-726F-4540-805A-A3B74D0CC027}"/>
              </a:ext>
            </a:extLst>
          </p:cNvPr>
          <p:cNvSpPr txBox="1"/>
          <p:nvPr/>
        </p:nvSpPr>
        <p:spPr>
          <a:xfrm>
            <a:off x="3895727" y="1735801"/>
            <a:ext cx="1460818" cy="646331"/>
          </a:xfrm>
          <a:prstGeom prst="rect">
            <a:avLst/>
          </a:prstGeom>
          <a:noFill/>
        </p:spPr>
        <p:txBody>
          <a:bodyPr wrap="square" rtlCol="0">
            <a:spAutoFit/>
          </a:bodyPr>
          <a:lstStyle/>
          <a:p>
            <a:pPr algn="ctr"/>
            <a:r>
              <a:rPr lang="en-GB" sz="1200" dirty="0"/>
              <a:t>Cross-MA closing</a:t>
            </a:r>
          </a:p>
          <a:p>
            <a:pPr algn="ctr"/>
            <a:r>
              <a:rPr lang="en-GB" sz="1200" dirty="0"/>
              <a:t>(time can differ per border)</a:t>
            </a:r>
          </a:p>
        </p:txBody>
      </p:sp>
      <p:cxnSp>
        <p:nvCxnSpPr>
          <p:cNvPr id="16" name="Straight Connector 16">
            <a:extLst>
              <a:ext uri="{FF2B5EF4-FFF2-40B4-BE49-F238E27FC236}">
                <a16:creationId xmlns="" xmlns:a16="http://schemas.microsoft.com/office/drawing/2014/main" id="{A8FA0A1A-E1C7-4E89-8D0A-772DA60A293B}"/>
              </a:ext>
            </a:extLst>
          </p:cNvPr>
          <p:cNvCxnSpPr>
            <a:cxnSpLocks/>
          </p:cNvCxnSpPr>
          <p:nvPr/>
        </p:nvCxnSpPr>
        <p:spPr>
          <a:xfrm>
            <a:off x="6582239" y="2595797"/>
            <a:ext cx="0" cy="29045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7" name="TextBox 17">
            <a:extLst>
              <a:ext uri="{FF2B5EF4-FFF2-40B4-BE49-F238E27FC236}">
                <a16:creationId xmlns="" xmlns:a16="http://schemas.microsoft.com/office/drawing/2014/main" id="{AFE14BAF-BC05-4336-AB10-41CB1AD20607}"/>
              </a:ext>
            </a:extLst>
          </p:cNvPr>
          <p:cNvSpPr txBox="1"/>
          <p:nvPr/>
        </p:nvSpPr>
        <p:spPr>
          <a:xfrm>
            <a:off x="6156695" y="1843523"/>
            <a:ext cx="851086" cy="461665"/>
          </a:xfrm>
          <a:prstGeom prst="rect">
            <a:avLst/>
          </a:prstGeom>
          <a:noFill/>
        </p:spPr>
        <p:txBody>
          <a:bodyPr wrap="square" rtlCol="0">
            <a:spAutoFit/>
          </a:bodyPr>
          <a:lstStyle/>
          <a:p>
            <a:pPr algn="ctr"/>
            <a:r>
              <a:rPr lang="en-GB" sz="1200" dirty="0"/>
              <a:t>Intra-MA closing</a:t>
            </a:r>
          </a:p>
        </p:txBody>
      </p:sp>
      <p:cxnSp>
        <p:nvCxnSpPr>
          <p:cNvPr id="18" name="Straight Connector 18">
            <a:extLst>
              <a:ext uri="{FF2B5EF4-FFF2-40B4-BE49-F238E27FC236}">
                <a16:creationId xmlns="" xmlns:a16="http://schemas.microsoft.com/office/drawing/2014/main" id="{000D1C8E-E9C9-45BA-B7B3-2709FC4FC593}"/>
              </a:ext>
            </a:extLst>
          </p:cNvPr>
          <p:cNvCxnSpPr>
            <a:cxnSpLocks/>
          </p:cNvCxnSpPr>
          <p:nvPr/>
        </p:nvCxnSpPr>
        <p:spPr>
          <a:xfrm>
            <a:off x="8193159" y="2595797"/>
            <a:ext cx="0" cy="290457"/>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9" name="TextBox 19">
            <a:extLst>
              <a:ext uri="{FF2B5EF4-FFF2-40B4-BE49-F238E27FC236}">
                <a16:creationId xmlns="" xmlns:a16="http://schemas.microsoft.com/office/drawing/2014/main" id="{4965D111-2D05-4C9F-A6F6-F1CB88933016}"/>
              </a:ext>
            </a:extLst>
          </p:cNvPr>
          <p:cNvSpPr txBox="1"/>
          <p:nvPr/>
        </p:nvSpPr>
        <p:spPr>
          <a:xfrm>
            <a:off x="7761379" y="1843523"/>
            <a:ext cx="863559" cy="461665"/>
          </a:xfrm>
          <a:prstGeom prst="rect">
            <a:avLst/>
          </a:prstGeom>
          <a:noFill/>
        </p:spPr>
        <p:txBody>
          <a:bodyPr wrap="square" rtlCol="0">
            <a:spAutoFit/>
          </a:bodyPr>
          <a:lstStyle/>
          <a:p>
            <a:pPr algn="ctr"/>
            <a:r>
              <a:rPr lang="en-GB" sz="1200" dirty="0"/>
              <a:t>Delivery</a:t>
            </a:r>
          </a:p>
          <a:p>
            <a:pPr algn="ctr"/>
            <a:r>
              <a:rPr lang="en-GB" sz="1200" dirty="0"/>
              <a:t>start</a:t>
            </a:r>
          </a:p>
        </p:txBody>
      </p:sp>
      <p:sp>
        <p:nvSpPr>
          <p:cNvPr id="20" name="TextBox 20">
            <a:extLst>
              <a:ext uri="{FF2B5EF4-FFF2-40B4-BE49-F238E27FC236}">
                <a16:creationId xmlns="" xmlns:a16="http://schemas.microsoft.com/office/drawing/2014/main" id="{0951F6DA-3DDF-436B-A1C6-632F1F005E20}"/>
              </a:ext>
            </a:extLst>
          </p:cNvPr>
          <p:cNvSpPr txBox="1"/>
          <p:nvPr/>
        </p:nvSpPr>
        <p:spPr>
          <a:xfrm>
            <a:off x="158131" y="3154500"/>
            <a:ext cx="2013474" cy="461665"/>
          </a:xfrm>
          <a:prstGeom prst="rect">
            <a:avLst/>
          </a:prstGeom>
          <a:noFill/>
        </p:spPr>
        <p:txBody>
          <a:bodyPr wrap="square" rtlCol="0">
            <a:spAutoFit/>
          </a:bodyPr>
          <a:lstStyle/>
          <a:p>
            <a:pPr algn="ctr"/>
            <a:r>
              <a:rPr lang="en-GB" sz="1200" dirty="0"/>
              <a:t>Trading possible inside market area only</a:t>
            </a:r>
          </a:p>
        </p:txBody>
      </p:sp>
      <p:sp>
        <p:nvSpPr>
          <p:cNvPr id="21" name="TextBox 21">
            <a:extLst>
              <a:ext uri="{FF2B5EF4-FFF2-40B4-BE49-F238E27FC236}">
                <a16:creationId xmlns="" xmlns:a16="http://schemas.microsoft.com/office/drawing/2014/main" id="{40445FA1-BDF5-469E-95DF-D67DD14F66AE}"/>
              </a:ext>
            </a:extLst>
          </p:cNvPr>
          <p:cNvSpPr txBox="1"/>
          <p:nvPr/>
        </p:nvSpPr>
        <p:spPr>
          <a:xfrm>
            <a:off x="2349007" y="2994928"/>
            <a:ext cx="1853904" cy="646331"/>
          </a:xfrm>
          <a:prstGeom prst="rect">
            <a:avLst/>
          </a:prstGeom>
          <a:noFill/>
        </p:spPr>
        <p:txBody>
          <a:bodyPr wrap="square" rtlCol="0">
            <a:spAutoFit/>
          </a:bodyPr>
          <a:lstStyle/>
          <a:p>
            <a:pPr algn="ctr"/>
            <a:r>
              <a:rPr lang="en-GB" sz="1200" dirty="0"/>
              <a:t>Trading possible with all areas connected through open borders</a:t>
            </a:r>
          </a:p>
        </p:txBody>
      </p:sp>
      <p:sp>
        <p:nvSpPr>
          <p:cNvPr id="22" name="TextBox 22">
            <a:extLst>
              <a:ext uri="{FF2B5EF4-FFF2-40B4-BE49-F238E27FC236}">
                <a16:creationId xmlns="" xmlns:a16="http://schemas.microsoft.com/office/drawing/2014/main" id="{B37D3D61-E98A-4412-A057-FC35F97BD769}"/>
              </a:ext>
            </a:extLst>
          </p:cNvPr>
          <p:cNvSpPr txBox="1"/>
          <p:nvPr/>
        </p:nvSpPr>
        <p:spPr>
          <a:xfrm>
            <a:off x="4728334" y="3102650"/>
            <a:ext cx="1853904" cy="461665"/>
          </a:xfrm>
          <a:prstGeom prst="rect">
            <a:avLst/>
          </a:prstGeom>
          <a:noFill/>
        </p:spPr>
        <p:txBody>
          <a:bodyPr wrap="square" rtlCol="0">
            <a:spAutoFit/>
          </a:bodyPr>
          <a:lstStyle/>
          <a:p>
            <a:pPr algn="ctr"/>
            <a:r>
              <a:rPr lang="en-GB" sz="1200" dirty="0"/>
              <a:t>Trading possible inside market area only</a:t>
            </a:r>
          </a:p>
        </p:txBody>
      </p:sp>
      <p:sp>
        <p:nvSpPr>
          <p:cNvPr id="23" name="TextBox 23">
            <a:extLst>
              <a:ext uri="{FF2B5EF4-FFF2-40B4-BE49-F238E27FC236}">
                <a16:creationId xmlns="" xmlns:a16="http://schemas.microsoft.com/office/drawing/2014/main" id="{06679E9D-E15C-4DC8-A1DB-C0F47D5F4EF4}"/>
              </a:ext>
            </a:extLst>
          </p:cNvPr>
          <p:cNvSpPr txBox="1"/>
          <p:nvPr/>
        </p:nvSpPr>
        <p:spPr>
          <a:xfrm>
            <a:off x="6575612" y="3102650"/>
            <a:ext cx="1617547" cy="461665"/>
          </a:xfrm>
          <a:prstGeom prst="rect">
            <a:avLst/>
          </a:prstGeom>
          <a:noFill/>
        </p:spPr>
        <p:txBody>
          <a:bodyPr wrap="square" rtlCol="0">
            <a:spAutoFit/>
          </a:bodyPr>
          <a:lstStyle/>
          <a:p>
            <a:pPr algn="ctr"/>
            <a:r>
              <a:rPr lang="en-GB" sz="1200" dirty="0"/>
              <a:t>No trading possible anymore</a:t>
            </a:r>
          </a:p>
        </p:txBody>
      </p:sp>
      <p:sp>
        <p:nvSpPr>
          <p:cNvPr id="24" name="TextBox 24">
            <a:extLst>
              <a:ext uri="{FF2B5EF4-FFF2-40B4-BE49-F238E27FC236}">
                <a16:creationId xmlns="" xmlns:a16="http://schemas.microsoft.com/office/drawing/2014/main" id="{7334B9C3-3EE8-4C71-B904-4CA6336DD54B}"/>
              </a:ext>
            </a:extLst>
          </p:cNvPr>
          <p:cNvSpPr txBox="1"/>
          <p:nvPr/>
        </p:nvSpPr>
        <p:spPr>
          <a:xfrm>
            <a:off x="8142908" y="3102650"/>
            <a:ext cx="884583" cy="461665"/>
          </a:xfrm>
          <a:prstGeom prst="rect">
            <a:avLst/>
          </a:prstGeom>
          <a:noFill/>
        </p:spPr>
        <p:txBody>
          <a:bodyPr wrap="square" rtlCol="0">
            <a:spAutoFit/>
          </a:bodyPr>
          <a:lstStyle/>
          <a:p>
            <a:pPr algn="ctr"/>
            <a:r>
              <a:rPr lang="en-GB" sz="1200" dirty="0"/>
              <a:t>Physical delivery</a:t>
            </a:r>
          </a:p>
        </p:txBody>
      </p:sp>
      <p:sp>
        <p:nvSpPr>
          <p:cNvPr id="25" name="Rectangle 37">
            <a:extLst>
              <a:ext uri="{FF2B5EF4-FFF2-40B4-BE49-F238E27FC236}">
                <a16:creationId xmlns="" xmlns:a16="http://schemas.microsoft.com/office/drawing/2014/main" id="{99715202-2F26-41F8-85D7-9C2C00FBC860}"/>
              </a:ext>
            </a:extLst>
          </p:cNvPr>
          <p:cNvSpPr/>
          <p:nvPr/>
        </p:nvSpPr>
        <p:spPr>
          <a:xfrm>
            <a:off x="784467" y="4228534"/>
            <a:ext cx="898559" cy="6493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chemeClr val="tx1"/>
                </a:solidFill>
              </a:rPr>
              <a:t>MA1</a:t>
            </a:r>
          </a:p>
        </p:txBody>
      </p:sp>
      <p:sp>
        <p:nvSpPr>
          <p:cNvPr id="26" name="Rectangle 38">
            <a:extLst>
              <a:ext uri="{FF2B5EF4-FFF2-40B4-BE49-F238E27FC236}">
                <a16:creationId xmlns="" xmlns:a16="http://schemas.microsoft.com/office/drawing/2014/main" id="{F02B5B48-5D54-4197-B63C-6B64F96A134C}"/>
              </a:ext>
            </a:extLst>
          </p:cNvPr>
          <p:cNvSpPr/>
          <p:nvPr/>
        </p:nvSpPr>
        <p:spPr>
          <a:xfrm>
            <a:off x="784467" y="5460826"/>
            <a:ext cx="898559" cy="6493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chemeClr val="tx1"/>
                </a:solidFill>
              </a:rPr>
              <a:t>MA2</a:t>
            </a:r>
          </a:p>
        </p:txBody>
      </p:sp>
      <p:sp>
        <p:nvSpPr>
          <p:cNvPr id="27" name="Rectangle 46">
            <a:extLst>
              <a:ext uri="{FF2B5EF4-FFF2-40B4-BE49-F238E27FC236}">
                <a16:creationId xmlns="" xmlns:a16="http://schemas.microsoft.com/office/drawing/2014/main" id="{9DF19A72-DCD3-46E9-85E0-05A774A9B559}"/>
              </a:ext>
            </a:extLst>
          </p:cNvPr>
          <p:cNvSpPr/>
          <p:nvPr/>
        </p:nvSpPr>
        <p:spPr>
          <a:xfrm>
            <a:off x="2914302" y="4228534"/>
            <a:ext cx="898559" cy="6493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chemeClr val="tx1"/>
                </a:solidFill>
              </a:rPr>
              <a:t>MA1</a:t>
            </a:r>
          </a:p>
        </p:txBody>
      </p:sp>
      <p:sp>
        <p:nvSpPr>
          <p:cNvPr id="28" name="Rectangle 47">
            <a:extLst>
              <a:ext uri="{FF2B5EF4-FFF2-40B4-BE49-F238E27FC236}">
                <a16:creationId xmlns="" xmlns:a16="http://schemas.microsoft.com/office/drawing/2014/main" id="{B43BBC7A-318B-4DC3-9EC0-5BE272B020FE}"/>
              </a:ext>
            </a:extLst>
          </p:cNvPr>
          <p:cNvSpPr/>
          <p:nvPr/>
        </p:nvSpPr>
        <p:spPr>
          <a:xfrm>
            <a:off x="2914302" y="5460826"/>
            <a:ext cx="898559" cy="6493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chemeClr val="tx1"/>
                </a:solidFill>
              </a:rPr>
              <a:t>MA2</a:t>
            </a:r>
          </a:p>
        </p:txBody>
      </p:sp>
      <p:cxnSp>
        <p:nvCxnSpPr>
          <p:cNvPr id="29" name="Straight Arrow Connector 48">
            <a:extLst>
              <a:ext uri="{FF2B5EF4-FFF2-40B4-BE49-F238E27FC236}">
                <a16:creationId xmlns="" xmlns:a16="http://schemas.microsoft.com/office/drawing/2014/main" id="{ACBA864E-95D4-4A91-8962-0DF73C7C0FCF}"/>
              </a:ext>
            </a:extLst>
          </p:cNvPr>
          <p:cNvCxnSpPr>
            <a:stCxn id="27" idx="2"/>
            <a:endCxn id="28" idx="0"/>
          </p:cNvCxnSpPr>
          <p:nvPr/>
        </p:nvCxnSpPr>
        <p:spPr>
          <a:xfrm>
            <a:off x="3363582" y="4877891"/>
            <a:ext cx="0" cy="582935"/>
          </a:xfrm>
          <a:prstGeom prst="straightConnector1">
            <a:avLst/>
          </a:prstGeom>
          <a:ln w="28575">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ectangle 53">
            <a:extLst>
              <a:ext uri="{FF2B5EF4-FFF2-40B4-BE49-F238E27FC236}">
                <a16:creationId xmlns="" xmlns:a16="http://schemas.microsoft.com/office/drawing/2014/main" id="{F47FEF51-01F6-4F80-ACF9-88ECD19C401D}"/>
              </a:ext>
            </a:extLst>
          </p:cNvPr>
          <p:cNvSpPr/>
          <p:nvPr/>
        </p:nvSpPr>
        <p:spPr>
          <a:xfrm>
            <a:off x="5258136" y="4227503"/>
            <a:ext cx="898559" cy="6493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chemeClr val="tx1"/>
                </a:solidFill>
              </a:rPr>
              <a:t>MA1</a:t>
            </a:r>
          </a:p>
        </p:txBody>
      </p:sp>
      <p:sp>
        <p:nvSpPr>
          <p:cNvPr id="31" name="Rectangle 54">
            <a:extLst>
              <a:ext uri="{FF2B5EF4-FFF2-40B4-BE49-F238E27FC236}">
                <a16:creationId xmlns="" xmlns:a16="http://schemas.microsoft.com/office/drawing/2014/main" id="{86803004-14A6-45C6-863C-956465642DF4}"/>
              </a:ext>
            </a:extLst>
          </p:cNvPr>
          <p:cNvSpPr/>
          <p:nvPr/>
        </p:nvSpPr>
        <p:spPr>
          <a:xfrm>
            <a:off x="5258136" y="5459795"/>
            <a:ext cx="898559" cy="6493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dirty="0">
                <a:solidFill>
                  <a:schemeClr val="tx1"/>
                </a:solidFill>
              </a:rPr>
              <a:t>MA2</a:t>
            </a:r>
          </a:p>
        </p:txBody>
      </p:sp>
    </p:spTree>
    <p:extLst>
      <p:ext uri="{BB962C8B-B14F-4D97-AF65-F5344CB8AC3E}">
        <p14:creationId xmlns:p14="http://schemas.microsoft.com/office/powerpoint/2010/main" val="10753806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4. </a:t>
            </a:r>
            <a:r>
              <a:rPr lang="en-GB" dirty="0"/>
              <a:t>Opening and closing times</a:t>
            </a:r>
            <a:br>
              <a:rPr lang="en-GB" dirty="0"/>
            </a:br>
            <a:r>
              <a:rPr lang="en-GB" dirty="0" smtClean="0"/>
              <a:t>A. Intra-MA</a:t>
            </a:r>
            <a:endParaRPr lang="de-DE"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46</a:t>
            </a:fld>
            <a:endParaRPr lang="en-US" altLang="en-US" dirty="0"/>
          </a:p>
        </p:txBody>
      </p:sp>
      <p:graphicFrame>
        <p:nvGraphicFramePr>
          <p:cNvPr id="5" name="Table 2">
            <a:extLst>
              <a:ext uri="{FF2B5EF4-FFF2-40B4-BE49-F238E27FC236}">
                <a16:creationId xmlns="" xmlns:a16="http://schemas.microsoft.com/office/drawing/2014/main" id="{A1522915-AE82-44E2-BDC3-2F9A7F51CA6B}"/>
              </a:ext>
            </a:extLst>
          </p:cNvPr>
          <p:cNvGraphicFramePr>
            <a:graphicFrameLocks noGrp="1"/>
          </p:cNvGraphicFramePr>
          <p:nvPr>
            <p:extLst>
              <p:ext uri="{D42A27DB-BD31-4B8C-83A1-F6EECF244321}">
                <p14:modId xmlns:p14="http://schemas.microsoft.com/office/powerpoint/2010/main" val="2640300752"/>
              </p:ext>
            </p:extLst>
          </p:nvPr>
        </p:nvGraphicFramePr>
        <p:xfrm>
          <a:off x="478562" y="1566129"/>
          <a:ext cx="7972371" cy="4563886"/>
        </p:xfrm>
        <a:graphic>
          <a:graphicData uri="http://schemas.openxmlformats.org/drawingml/2006/table">
            <a:tbl>
              <a:tblPr firstRow="1" firstCol="1" bandRow="1">
                <a:tableStyleId>{5C22544A-7EE6-4342-B048-85BDC9FD1C3A}</a:tableStyleId>
              </a:tblPr>
              <a:tblGrid>
                <a:gridCol w="1025904">
                  <a:extLst>
                    <a:ext uri="{9D8B030D-6E8A-4147-A177-3AD203B41FA5}">
                      <a16:colId xmlns="" xmlns:a16="http://schemas.microsoft.com/office/drawing/2014/main" val="876385835"/>
                    </a:ext>
                  </a:extLst>
                </a:gridCol>
                <a:gridCol w="1013541">
                  <a:extLst>
                    <a:ext uri="{9D8B030D-6E8A-4147-A177-3AD203B41FA5}">
                      <a16:colId xmlns="" xmlns:a16="http://schemas.microsoft.com/office/drawing/2014/main" val="3502682675"/>
                    </a:ext>
                  </a:extLst>
                </a:gridCol>
                <a:gridCol w="1001181">
                  <a:extLst>
                    <a:ext uri="{9D8B030D-6E8A-4147-A177-3AD203B41FA5}">
                      <a16:colId xmlns="" xmlns:a16="http://schemas.microsoft.com/office/drawing/2014/main" val="1792114589"/>
                    </a:ext>
                  </a:extLst>
                </a:gridCol>
                <a:gridCol w="976463">
                  <a:extLst>
                    <a:ext uri="{9D8B030D-6E8A-4147-A177-3AD203B41FA5}">
                      <a16:colId xmlns="" xmlns:a16="http://schemas.microsoft.com/office/drawing/2014/main" val="3907335749"/>
                    </a:ext>
                  </a:extLst>
                </a:gridCol>
                <a:gridCol w="927018">
                  <a:extLst>
                    <a:ext uri="{9D8B030D-6E8A-4147-A177-3AD203B41FA5}">
                      <a16:colId xmlns="" xmlns:a16="http://schemas.microsoft.com/office/drawing/2014/main" val="870562713"/>
                    </a:ext>
                  </a:extLst>
                </a:gridCol>
                <a:gridCol w="1050623">
                  <a:extLst>
                    <a:ext uri="{9D8B030D-6E8A-4147-A177-3AD203B41FA5}">
                      <a16:colId xmlns="" xmlns:a16="http://schemas.microsoft.com/office/drawing/2014/main" val="2872067573"/>
                    </a:ext>
                  </a:extLst>
                </a:gridCol>
                <a:gridCol w="1038260">
                  <a:extLst>
                    <a:ext uri="{9D8B030D-6E8A-4147-A177-3AD203B41FA5}">
                      <a16:colId xmlns="" xmlns:a16="http://schemas.microsoft.com/office/drawing/2014/main" val="1759720718"/>
                    </a:ext>
                  </a:extLst>
                </a:gridCol>
                <a:gridCol w="939381">
                  <a:extLst>
                    <a:ext uri="{9D8B030D-6E8A-4147-A177-3AD203B41FA5}">
                      <a16:colId xmlns="" xmlns:a16="http://schemas.microsoft.com/office/drawing/2014/main" val="881249623"/>
                    </a:ext>
                  </a:extLst>
                </a:gridCol>
              </a:tblGrid>
              <a:tr h="606250">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500" kern="1800" dirty="0">
                          <a:effectLst/>
                          <a:latin typeface="+mn-lt"/>
                        </a:rPr>
                        <a:t> </a:t>
                      </a: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nSpc>
                          <a:spcPct val="115000"/>
                        </a:lnSpc>
                        <a:spcAft>
                          <a:spcPts val="0"/>
                        </a:spcAft>
                      </a:pPr>
                      <a:r>
                        <a:rPr lang="en-GB" sz="1500" kern="1800" dirty="0">
                          <a:solidFill>
                            <a:schemeClr val="bg1"/>
                          </a:solidFill>
                          <a:effectLst/>
                          <a:latin typeface="+mn-lt"/>
                        </a:rPr>
                        <a:t> </a:t>
                      </a:r>
                      <a:endParaRPr lang="en-GB" sz="1500"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b="1" kern="1800" dirty="0">
                          <a:solidFill>
                            <a:schemeClr val="bg1"/>
                          </a:solidFill>
                          <a:effectLst/>
                          <a:latin typeface="+mn-lt"/>
                        </a:rPr>
                        <a:t>German TSO areas</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r>
                        <a:rPr lang="en-GB" sz="1500" b="1" kern="1800" dirty="0">
                          <a:solidFill>
                            <a:schemeClr val="bg1"/>
                          </a:solidFill>
                          <a:effectLst/>
                          <a:latin typeface="+mn-lt"/>
                          <a:ea typeface="+mn-ea"/>
                          <a:cs typeface="+mn-cs"/>
                        </a:rPr>
                        <a:t>Austria</a:t>
                      </a:r>
                    </a:p>
                  </a:txBody>
                  <a:tcPr marL="56017" marR="56017" marT="0" marB="0" anchor="ctr"/>
                </a:tc>
                <a:tc>
                  <a:txBody>
                    <a:bodyPr/>
                    <a:lstStyle/>
                    <a:p>
                      <a:pPr algn="ctr">
                        <a:lnSpc>
                          <a:spcPct val="115000"/>
                        </a:lnSpc>
                        <a:spcAft>
                          <a:spcPts val="0"/>
                        </a:spcAft>
                      </a:pPr>
                      <a:r>
                        <a:rPr lang="en-GB" sz="1500" b="1" kern="1800" dirty="0">
                          <a:solidFill>
                            <a:schemeClr val="bg1"/>
                          </a:solidFill>
                          <a:effectLst/>
                          <a:latin typeface="+mn-lt"/>
                        </a:rPr>
                        <a:t>France</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b="1" kern="1800" dirty="0" smtClean="0">
                          <a:solidFill>
                            <a:schemeClr val="bg1"/>
                          </a:solidFill>
                          <a:effectLst/>
                          <a:latin typeface="+mn-lt"/>
                        </a:rPr>
                        <a:t>NL </a:t>
                      </a:r>
                      <a:r>
                        <a:rPr lang="en-GB" sz="1500" b="1" kern="1800" dirty="0">
                          <a:solidFill>
                            <a:schemeClr val="bg1"/>
                          </a:solidFill>
                          <a:effectLst/>
                          <a:latin typeface="+mn-lt"/>
                        </a:rPr>
                        <a:t>&amp; Belgium</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b="1" dirty="0">
                          <a:solidFill>
                            <a:schemeClr val="bg1"/>
                          </a:solidFill>
                          <a:effectLst/>
                          <a:latin typeface="+mn-lt"/>
                        </a:rPr>
                        <a:t>Nordics &amp;  Baltics</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1500" b="1" kern="1200" dirty="0">
                          <a:solidFill>
                            <a:schemeClr val="bg1"/>
                          </a:solidFill>
                          <a:effectLst/>
                          <a:latin typeface="+mn-lt"/>
                          <a:ea typeface="+mn-ea"/>
                          <a:cs typeface="+mn-cs"/>
                        </a:rPr>
                        <a:t>Iberia</a:t>
                      </a:r>
                    </a:p>
                  </a:txBody>
                  <a:tcPr marL="56017" marR="56017" marT="0" marB="0" anchor="ctr"/>
                </a:tc>
                <a:extLst>
                  <a:ext uri="{0D108BD9-81ED-4DB2-BD59-A6C34878D82A}">
                    <a16:rowId xmlns="" xmlns:a16="http://schemas.microsoft.com/office/drawing/2014/main" val="1597882541"/>
                  </a:ext>
                </a:extLst>
              </a:tr>
              <a:tr h="606250">
                <a:tc>
                  <a:txBody>
                    <a:bodyPr/>
                    <a:lstStyle/>
                    <a:p>
                      <a:pPr>
                        <a:lnSpc>
                          <a:spcPct val="115000"/>
                        </a:lnSpc>
                        <a:spcAft>
                          <a:spcPts val="0"/>
                        </a:spcAft>
                      </a:pPr>
                      <a:r>
                        <a:rPr lang="en-GB" sz="1500" dirty="0">
                          <a:effectLst/>
                          <a:latin typeface="+mn-lt"/>
                        </a:rPr>
                        <a:t>Opening times</a:t>
                      </a: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nSpc>
                          <a:spcPct val="115000"/>
                        </a:lnSpc>
                        <a:spcAft>
                          <a:spcPts val="0"/>
                        </a:spcAft>
                      </a:pPr>
                      <a:r>
                        <a:rPr lang="en-GB" sz="1500" b="1" dirty="0">
                          <a:solidFill>
                            <a:schemeClr val="bg1"/>
                          </a:solidFill>
                          <a:effectLst/>
                          <a:latin typeface="+mn-lt"/>
                        </a:rPr>
                        <a:t>All products</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solidFill>
                      <a:schemeClr val="accent1"/>
                    </a:solidFill>
                  </a:tcP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18:00</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15:00</a:t>
                      </a:r>
                    </a:p>
                  </a:txBody>
                  <a:tcPr marL="56017" marR="56017" marT="0" marB="0" anchor="ctr"/>
                </a:tc>
                <a:tc>
                  <a:txBody>
                    <a:bodyPr/>
                    <a:lstStyle/>
                    <a:p>
                      <a:pPr algn="ctr">
                        <a:lnSpc>
                          <a:spcPct val="115000"/>
                        </a:lnSpc>
                        <a:spcAft>
                          <a:spcPts val="0"/>
                        </a:spcAft>
                      </a:pPr>
                      <a:r>
                        <a:rPr lang="en-GB" sz="1500" dirty="0">
                          <a:effectLst/>
                          <a:latin typeface="+mn-lt"/>
                        </a:rPr>
                        <a:t>15:00</a:t>
                      </a: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dirty="0">
                          <a:effectLst/>
                          <a:latin typeface="+mn-lt"/>
                        </a:rPr>
                        <a:t>14:00</a:t>
                      </a: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14:00 </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14:00</a:t>
                      </a:r>
                    </a:p>
                  </a:txBody>
                  <a:tcPr marL="56017" marR="56017" marT="0" marB="0" anchor="ctr"/>
                </a:tc>
                <a:extLst>
                  <a:ext uri="{0D108BD9-81ED-4DB2-BD59-A6C34878D82A}">
                    <a16:rowId xmlns="" xmlns:a16="http://schemas.microsoft.com/office/drawing/2014/main" val="2589480734"/>
                  </a:ext>
                </a:extLst>
              </a:tr>
              <a:tr h="606250">
                <a:tc rowSpan="4">
                  <a:txBody>
                    <a:bodyPr/>
                    <a:lstStyle/>
                    <a:p>
                      <a:pPr>
                        <a:lnSpc>
                          <a:spcPct val="115000"/>
                        </a:lnSpc>
                        <a:spcAft>
                          <a:spcPts val="0"/>
                        </a:spcAft>
                      </a:pPr>
                      <a:r>
                        <a:rPr lang="en-GB" sz="1500" dirty="0">
                          <a:effectLst/>
                          <a:latin typeface="+mn-lt"/>
                        </a:rPr>
                        <a:t>Closing times</a:t>
                      </a: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nSpc>
                          <a:spcPct val="115000"/>
                        </a:lnSpc>
                        <a:spcAft>
                          <a:spcPts val="0"/>
                        </a:spcAft>
                      </a:pPr>
                      <a:r>
                        <a:rPr lang="en-GB" sz="1500" b="1" dirty="0">
                          <a:solidFill>
                            <a:schemeClr val="bg1"/>
                          </a:solidFill>
                          <a:effectLst/>
                          <a:latin typeface="+mn-lt"/>
                        </a:rPr>
                        <a:t>15-min</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solidFill>
                      <a:schemeClr val="accent1"/>
                    </a:solidFill>
                  </a:tcP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elivery (D)-30 min</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30 min</a:t>
                      </a:r>
                    </a:p>
                  </a:txBody>
                  <a:tcPr marL="56017" marR="56017" marT="0" marB="0" anchor="ctr"/>
                </a:tc>
                <a:tc>
                  <a:txBody>
                    <a:bodyPr/>
                    <a:lstStyle/>
                    <a:p>
                      <a:pPr algn="ct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extLst>
                  <a:ext uri="{0D108BD9-81ED-4DB2-BD59-A6C34878D82A}">
                    <a16:rowId xmlns="" xmlns:a16="http://schemas.microsoft.com/office/drawing/2014/main" val="1528220390"/>
                  </a:ext>
                </a:extLst>
              </a:tr>
              <a:tr h="606250">
                <a:tc vMerge="1">
                  <a:txBody>
                    <a:bodyPr/>
                    <a:lstStyle/>
                    <a:p>
                      <a:pPr>
                        <a:lnSpc>
                          <a:spcPct val="115000"/>
                        </a:lnSpc>
                        <a:spcAft>
                          <a:spcPts val="0"/>
                        </a:spcAft>
                      </a:pPr>
                      <a:endParaRPr lang="en-GB" sz="12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500" b="1" dirty="0">
                          <a:solidFill>
                            <a:schemeClr val="bg1"/>
                          </a:solidFill>
                          <a:effectLst/>
                          <a:latin typeface="+mn-lt"/>
                        </a:rPr>
                        <a:t>30-min</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solidFill>
                      <a:schemeClr val="accent1"/>
                    </a:solidFill>
                  </a:tcP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30 min</a:t>
                      </a:r>
                    </a:p>
                  </a:txBody>
                  <a:tcPr marL="56017" marR="56017" marT="0" marB="0" anchor="ctr"/>
                </a:tc>
                <a:tc>
                  <a:txBody>
                    <a:bodyPr/>
                    <a:lstStyle/>
                    <a:p>
                      <a:pPr algn="ct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30 min</a:t>
                      </a:r>
                    </a:p>
                  </a:txBody>
                  <a:tcPr marL="56017" marR="56017" marT="0" marB="0" anchor="ctr"/>
                </a:tc>
                <a:tc>
                  <a:txBody>
                    <a:bodyPr/>
                    <a:lstStyle/>
                    <a:p>
                      <a:pPr algn="ct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extLst>
                  <a:ext uri="{0D108BD9-81ED-4DB2-BD59-A6C34878D82A}">
                    <a16:rowId xmlns="" xmlns:a16="http://schemas.microsoft.com/office/drawing/2014/main" val="3279682351"/>
                  </a:ext>
                </a:extLst>
              </a:tr>
              <a:tr h="606250">
                <a:tc vMerge="1">
                  <a:txBody>
                    <a:bodyPr/>
                    <a:lstStyle/>
                    <a:p>
                      <a:pPr>
                        <a:lnSpc>
                          <a:spcPct val="115000"/>
                        </a:lnSpc>
                        <a:spcAft>
                          <a:spcPts val="0"/>
                        </a:spcAft>
                      </a:pPr>
                      <a:endParaRPr lang="en-GB" sz="12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500" b="1" kern="1200" dirty="0">
                          <a:solidFill>
                            <a:schemeClr val="bg1"/>
                          </a:solidFill>
                          <a:effectLst/>
                          <a:latin typeface="+mn-lt"/>
                          <a:ea typeface="+mn-ea"/>
                          <a:cs typeface="+mn-cs"/>
                        </a:rPr>
                        <a:t>Hourly</a:t>
                      </a:r>
                    </a:p>
                  </a:txBody>
                  <a:tcPr marL="56017" marR="56017" marT="0" marB="0" anchor="ctr">
                    <a:solidFill>
                      <a:schemeClr val="accent1"/>
                    </a:solidFill>
                  </a:tcP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30 min</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30 min</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30 min</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5 min</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60min*</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60 min</a:t>
                      </a:r>
                    </a:p>
                  </a:txBody>
                  <a:tcPr marL="56017" marR="56017" marT="0" marB="0" anchor="ctr"/>
                </a:tc>
                <a:extLst>
                  <a:ext uri="{0D108BD9-81ED-4DB2-BD59-A6C34878D82A}">
                    <a16:rowId xmlns="" xmlns:a16="http://schemas.microsoft.com/office/drawing/2014/main" val="1941540521"/>
                  </a:ext>
                </a:extLst>
              </a:tr>
              <a:tr h="922803">
                <a:tc vMerge="1">
                  <a:txBody>
                    <a:bodyPr/>
                    <a:lstStyle/>
                    <a:p>
                      <a:pPr>
                        <a:lnSpc>
                          <a:spcPct val="115000"/>
                        </a:lnSpc>
                        <a:spcAft>
                          <a:spcPts val="0"/>
                        </a:spcAft>
                      </a:pPr>
                      <a:endParaRPr lang="en-GB" sz="12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tc>
                <a:tc>
                  <a:txBody>
                    <a:bodyPr/>
                    <a:lstStyle/>
                    <a:p>
                      <a:pPr>
                        <a:lnSpc>
                          <a:spcPct val="115000"/>
                        </a:lnSpc>
                        <a:spcAft>
                          <a:spcPts val="0"/>
                        </a:spcAft>
                      </a:pPr>
                      <a:r>
                        <a:rPr lang="en-GB" sz="1500" b="1" kern="1200" dirty="0">
                          <a:solidFill>
                            <a:schemeClr val="bg1"/>
                          </a:solidFill>
                          <a:effectLst/>
                          <a:latin typeface="+mn-lt"/>
                          <a:ea typeface="+mn-ea"/>
                          <a:cs typeface="+mn-cs"/>
                        </a:rPr>
                        <a:t>User Defined Blocks</a:t>
                      </a:r>
                    </a:p>
                  </a:txBody>
                  <a:tcPr marL="56017" marR="56017" marT="0" marB="0" anchor="ctr">
                    <a:solidFill>
                      <a:schemeClr val="accent1"/>
                    </a:solidFill>
                  </a:tcP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30 min</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30 min</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30 min</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5 min</a:t>
                      </a:r>
                    </a:p>
                  </a:txBody>
                  <a:tcPr marL="56017" marR="56017" marT="0" marB="0" anchor="ct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1500" dirty="0">
                          <a:solidFill>
                            <a:srgbClr val="000000"/>
                          </a:solidFill>
                          <a:effectLst/>
                          <a:latin typeface="+mn-lt"/>
                          <a:ea typeface="Calibri" panose="020F0502020204030204" pitchFamily="34" charset="0"/>
                          <a:cs typeface="Times New Roman" panose="02020603050405020304" pitchFamily="18" charset="0"/>
                        </a:rPr>
                        <a:t>D-60 min*</a:t>
                      </a:r>
                    </a:p>
                  </a:txBody>
                  <a:tcPr marL="56017" marR="56017" marT="0" marB="0" anchor="ctr"/>
                </a:tc>
                <a:tc>
                  <a:txBody>
                    <a:bodyPr/>
                    <a:lstStyle/>
                    <a:p>
                      <a:pPr algn="ct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extLst>
                  <a:ext uri="{0D108BD9-81ED-4DB2-BD59-A6C34878D82A}">
                    <a16:rowId xmlns="" xmlns:a16="http://schemas.microsoft.com/office/drawing/2014/main" val="1336665337"/>
                  </a:ext>
                </a:extLst>
              </a:tr>
              <a:tr h="289697">
                <a:tc>
                  <a:txBody>
                    <a:bodyPr/>
                    <a:lstStyle/>
                    <a:p>
                      <a:pPr>
                        <a:lnSpc>
                          <a:spcPct val="115000"/>
                        </a:lnSpc>
                        <a:spcAft>
                          <a:spcPts val="0"/>
                        </a:spcAft>
                      </a:pPr>
                      <a:r>
                        <a:rPr lang="en-GB" sz="1500" dirty="0">
                          <a:solidFill>
                            <a:schemeClr val="bg1"/>
                          </a:solidFill>
                          <a:effectLst/>
                          <a:latin typeface="+mn-lt"/>
                          <a:ea typeface="Calibri" panose="020F0502020204030204" pitchFamily="34" charset="0"/>
                          <a:cs typeface="Times New Roman" panose="02020603050405020304" pitchFamily="18" charset="0"/>
                        </a:rPr>
                        <a:t>Notes</a:t>
                      </a:r>
                    </a:p>
                  </a:txBody>
                  <a:tcPr marL="56017" marR="56017" marT="0" marB="0" anchor="ctr"/>
                </a:tc>
                <a:tc>
                  <a:txBody>
                    <a:bodyPr/>
                    <a:lstStyle/>
                    <a:p>
                      <a:pPr>
                        <a:lnSpc>
                          <a:spcPct val="115000"/>
                        </a:lnSpc>
                        <a:spcAft>
                          <a:spcPts val="0"/>
                        </a:spcAft>
                      </a:pPr>
                      <a:endParaRPr lang="en-GB" sz="1500" kern="1200" dirty="0">
                        <a:solidFill>
                          <a:schemeClr val="dk1"/>
                        </a:solidFill>
                        <a:effectLst/>
                        <a:latin typeface="+mn-lt"/>
                        <a:ea typeface="+mn-ea"/>
                        <a:cs typeface="+mn-cs"/>
                      </a:endParaRPr>
                    </a:p>
                  </a:txBody>
                  <a:tcPr marL="56017" marR="56017" marT="0" marB="0" anchor="ctr"/>
                </a:tc>
                <a:tc gridSpan="6">
                  <a:txBody>
                    <a:bodyPr/>
                    <a:lstStyle/>
                    <a:p>
                      <a:pPr>
                        <a:lnSpc>
                          <a:spcPct val="115000"/>
                        </a:lnSpc>
                        <a:spcAft>
                          <a:spcPts val="0"/>
                        </a:spcAft>
                      </a:pPr>
                      <a:r>
                        <a:rPr lang="en-GB" sz="1500" kern="1200" dirty="0">
                          <a:solidFill>
                            <a:schemeClr val="dk1"/>
                          </a:solidFill>
                          <a:effectLst/>
                          <a:latin typeface="+mn-lt"/>
                          <a:ea typeface="+mn-ea"/>
                          <a:cs typeface="+mn-cs"/>
                        </a:rPr>
                        <a:t>* Finland and Estonia at D-30 min</a:t>
                      </a:r>
                      <a:endParaRPr lang="en-GB" sz="15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nchor="ctr"/>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extLst>
                  <a:ext uri="{0D108BD9-81ED-4DB2-BD59-A6C34878D82A}">
                    <a16:rowId xmlns="" xmlns:a16="http://schemas.microsoft.com/office/drawing/2014/main" val="820587126"/>
                  </a:ext>
                </a:extLst>
              </a:tr>
            </a:tbl>
          </a:graphicData>
        </a:graphic>
      </p:graphicFrame>
    </p:spTree>
    <p:extLst>
      <p:ext uri="{BB962C8B-B14F-4D97-AF65-F5344CB8AC3E}">
        <p14:creationId xmlns:p14="http://schemas.microsoft.com/office/powerpoint/2010/main" val="2834258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4</a:t>
            </a:r>
            <a:r>
              <a:rPr lang="en-GB" dirty="0" smtClean="0"/>
              <a:t>. </a:t>
            </a:r>
            <a:r>
              <a:rPr lang="en-GB" dirty="0"/>
              <a:t>Opening and closing times</a:t>
            </a:r>
            <a:br>
              <a:rPr lang="en-GB" dirty="0"/>
            </a:br>
            <a:r>
              <a:rPr lang="en-GB" dirty="0" smtClean="0"/>
              <a:t>B. Cross-MA</a:t>
            </a:r>
            <a:endParaRPr lang="de-DE"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47</a:t>
            </a:fld>
            <a:endParaRPr lang="en-US" altLang="en-US" dirty="0"/>
          </a:p>
        </p:txBody>
      </p:sp>
      <p:graphicFrame>
        <p:nvGraphicFramePr>
          <p:cNvPr id="6" name="Table 2">
            <a:extLst>
              <a:ext uri="{FF2B5EF4-FFF2-40B4-BE49-F238E27FC236}">
                <a16:creationId xmlns:a16="http://schemas.microsoft.com/office/drawing/2014/main" xmlns="" id="{A1522915-AE82-44E2-BDC3-2F9A7F51CA6B}"/>
              </a:ext>
            </a:extLst>
          </p:cNvPr>
          <p:cNvGraphicFramePr>
            <a:graphicFrameLocks noGrp="1"/>
          </p:cNvGraphicFramePr>
          <p:nvPr>
            <p:extLst>
              <p:ext uri="{D42A27DB-BD31-4B8C-83A1-F6EECF244321}">
                <p14:modId xmlns:p14="http://schemas.microsoft.com/office/powerpoint/2010/main" val="3485517724"/>
              </p:ext>
            </p:extLst>
          </p:nvPr>
        </p:nvGraphicFramePr>
        <p:xfrm>
          <a:off x="478562" y="1629735"/>
          <a:ext cx="7972370" cy="4771060"/>
        </p:xfrm>
        <a:graphic>
          <a:graphicData uri="http://schemas.openxmlformats.org/drawingml/2006/table">
            <a:tbl>
              <a:tblPr firstRow="1" firstCol="1" bandRow="1">
                <a:tableStyleId>{5C22544A-7EE6-4342-B048-85BDC9FD1C3A}</a:tableStyleId>
              </a:tblPr>
              <a:tblGrid>
                <a:gridCol w="1030698">
                  <a:extLst>
                    <a:ext uri="{9D8B030D-6E8A-4147-A177-3AD203B41FA5}">
                      <a16:colId xmlns:a16="http://schemas.microsoft.com/office/drawing/2014/main" xmlns="" val="876385835"/>
                    </a:ext>
                  </a:extLst>
                </a:gridCol>
                <a:gridCol w="1178281">
                  <a:extLst>
                    <a:ext uri="{9D8B030D-6E8A-4147-A177-3AD203B41FA5}">
                      <a16:colId xmlns:a16="http://schemas.microsoft.com/office/drawing/2014/main" xmlns="" val="1792114589"/>
                    </a:ext>
                  </a:extLst>
                </a:gridCol>
                <a:gridCol w="1017767">
                  <a:extLst>
                    <a:ext uri="{9D8B030D-6E8A-4147-A177-3AD203B41FA5}">
                      <a16:colId xmlns:a16="http://schemas.microsoft.com/office/drawing/2014/main" xmlns="" val="3907335749"/>
                    </a:ext>
                  </a:extLst>
                </a:gridCol>
                <a:gridCol w="1017767">
                  <a:extLst>
                    <a:ext uri="{9D8B030D-6E8A-4147-A177-3AD203B41FA5}">
                      <a16:colId xmlns:a16="http://schemas.microsoft.com/office/drawing/2014/main" xmlns="" val="870562713"/>
                    </a:ext>
                  </a:extLst>
                </a:gridCol>
                <a:gridCol w="1001864">
                  <a:extLst>
                    <a:ext uri="{9D8B030D-6E8A-4147-A177-3AD203B41FA5}">
                      <a16:colId xmlns:a16="http://schemas.microsoft.com/office/drawing/2014/main" xmlns="" val="2872067573"/>
                    </a:ext>
                  </a:extLst>
                </a:gridCol>
                <a:gridCol w="906449">
                  <a:extLst>
                    <a:ext uri="{9D8B030D-6E8A-4147-A177-3AD203B41FA5}">
                      <a16:colId xmlns:a16="http://schemas.microsoft.com/office/drawing/2014/main" xmlns="" val="1759720718"/>
                    </a:ext>
                  </a:extLst>
                </a:gridCol>
                <a:gridCol w="882595">
                  <a:extLst>
                    <a:ext uri="{9D8B030D-6E8A-4147-A177-3AD203B41FA5}">
                      <a16:colId xmlns:a16="http://schemas.microsoft.com/office/drawing/2014/main" xmlns="" val="881249623"/>
                    </a:ext>
                  </a:extLst>
                </a:gridCol>
                <a:gridCol w="936949">
                  <a:extLst>
                    <a:ext uri="{9D8B030D-6E8A-4147-A177-3AD203B41FA5}">
                      <a16:colId xmlns:a16="http://schemas.microsoft.com/office/drawing/2014/main" xmlns="" val="1722590130"/>
                    </a:ext>
                  </a:extLst>
                </a:gridCol>
              </a:tblGrid>
              <a:tr h="54172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500" kern="1800" dirty="0">
                          <a:effectLst/>
                          <a:latin typeface="+mn-lt"/>
                        </a:rPr>
                        <a:t> </a:t>
                      </a: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b="1" kern="1800" dirty="0">
                          <a:solidFill>
                            <a:schemeClr val="bg1"/>
                          </a:solidFill>
                          <a:effectLst/>
                          <a:latin typeface="+mn-lt"/>
                        </a:rPr>
                        <a:t>German TSO areas</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r>
                        <a:rPr lang="en-GB" sz="1500" b="1" kern="1800" dirty="0">
                          <a:solidFill>
                            <a:schemeClr val="bg1"/>
                          </a:solidFill>
                          <a:effectLst/>
                          <a:latin typeface="+mn-lt"/>
                          <a:ea typeface="+mn-ea"/>
                          <a:cs typeface="+mn-cs"/>
                        </a:rPr>
                        <a:t>Austria</a:t>
                      </a:r>
                    </a:p>
                  </a:txBody>
                  <a:tcPr marL="56017" marR="56017" marT="0" marB="0" anchor="ctr"/>
                </a:tc>
                <a:tc>
                  <a:txBody>
                    <a:bodyPr/>
                    <a:lstStyle/>
                    <a:p>
                      <a:pPr algn="ctr">
                        <a:lnSpc>
                          <a:spcPct val="115000"/>
                        </a:lnSpc>
                        <a:spcAft>
                          <a:spcPts val="0"/>
                        </a:spcAft>
                      </a:pPr>
                      <a:r>
                        <a:rPr lang="en-GB" sz="1500" b="1" kern="1800" dirty="0">
                          <a:solidFill>
                            <a:schemeClr val="bg1"/>
                          </a:solidFill>
                          <a:effectLst/>
                          <a:latin typeface="+mn-lt"/>
                        </a:rPr>
                        <a:t>France</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b="1" kern="1800" dirty="0" smtClean="0">
                          <a:solidFill>
                            <a:schemeClr val="bg1"/>
                          </a:solidFill>
                          <a:effectLst/>
                          <a:latin typeface="+mn-lt"/>
                        </a:rPr>
                        <a:t>NL </a:t>
                      </a:r>
                      <a:r>
                        <a:rPr lang="en-GB" sz="1500" b="1" kern="1800" dirty="0">
                          <a:solidFill>
                            <a:schemeClr val="bg1"/>
                          </a:solidFill>
                          <a:effectLst/>
                          <a:latin typeface="+mn-lt"/>
                        </a:rPr>
                        <a:t>&amp; Belgium</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b="1" dirty="0">
                          <a:solidFill>
                            <a:schemeClr val="bg1"/>
                          </a:solidFill>
                          <a:effectLst/>
                          <a:latin typeface="+mn-lt"/>
                        </a:rPr>
                        <a:t>Nordics</a:t>
                      </a:r>
                      <a:endParaRPr lang="en-GB" sz="1500" b="1" dirty="0">
                        <a:solidFill>
                          <a:schemeClr val="bg1"/>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GB" sz="1500" b="1" kern="1200" dirty="0">
                          <a:solidFill>
                            <a:schemeClr val="bg1"/>
                          </a:solidFill>
                          <a:effectLst/>
                          <a:latin typeface="+mn-lt"/>
                          <a:ea typeface="+mn-ea"/>
                          <a:cs typeface="+mn-cs"/>
                        </a:rPr>
                        <a:t>Baltics</a:t>
                      </a:r>
                    </a:p>
                  </a:txBody>
                  <a:tcPr marL="56017" marR="56017"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kern="1800" dirty="0">
                          <a:solidFill>
                            <a:schemeClr val="bg1"/>
                          </a:solidFill>
                          <a:effectLst/>
                          <a:latin typeface="+mn-lt"/>
                          <a:ea typeface="+mn-ea"/>
                          <a:cs typeface="+mn-cs"/>
                        </a:rPr>
                        <a:t>Iberia^^</a:t>
                      </a:r>
                    </a:p>
                  </a:txBody>
                  <a:tcPr marL="56017" marR="56017" marT="0" marB="0" anchor="ctr"/>
                </a:tc>
                <a:extLst>
                  <a:ext uri="{0D108BD9-81ED-4DB2-BD59-A6C34878D82A}">
                    <a16:rowId xmlns:a16="http://schemas.microsoft.com/office/drawing/2014/main" xmlns="" val="1597882541"/>
                  </a:ext>
                </a:extLst>
              </a:tr>
              <a:tr h="545913">
                <a:tc>
                  <a:txBody>
                    <a:bodyPr/>
                    <a:lstStyle/>
                    <a:p>
                      <a:pPr>
                        <a:lnSpc>
                          <a:spcPct val="115000"/>
                        </a:lnSpc>
                        <a:spcAft>
                          <a:spcPts val="0"/>
                        </a:spcAft>
                      </a:pPr>
                      <a:r>
                        <a:rPr lang="en-GB" sz="1500" dirty="0">
                          <a:effectLst/>
                          <a:latin typeface="+mn-lt"/>
                        </a:rPr>
                        <a:t>Opening times^</a:t>
                      </a: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22:00**</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18:00</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22:00</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22:00</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14:00**</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18:00***</a:t>
                      </a:r>
                    </a:p>
                  </a:txBody>
                  <a:tcPr marL="56017" marR="56017" marT="0" marB="0" anchor="ctr"/>
                </a:tc>
                <a:tc>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22:00</a:t>
                      </a:r>
                    </a:p>
                  </a:txBody>
                  <a:tcPr marL="56017" marR="56017" marT="0" marB="0" anchor="ctr"/>
                </a:tc>
                <a:extLst>
                  <a:ext uri="{0D108BD9-81ED-4DB2-BD59-A6C34878D82A}">
                    <a16:rowId xmlns:a16="http://schemas.microsoft.com/office/drawing/2014/main" xmlns="" val="2589480734"/>
                  </a:ext>
                </a:extLst>
              </a:tr>
              <a:tr h="540689">
                <a:tc>
                  <a:txBody>
                    <a:bodyPr/>
                    <a:lstStyle/>
                    <a:p>
                      <a:pPr>
                        <a:lnSpc>
                          <a:spcPct val="115000"/>
                        </a:lnSpc>
                        <a:spcAft>
                          <a:spcPts val="0"/>
                        </a:spcAft>
                      </a:pPr>
                      <a:r>
                        <a:rPr lang="en-GB" sz="1500" dirty="0">
                          <a:effectLst/>
                          <a:latin typeface="+mn-lt"/>
                        </a:rPr>
                        <a:t>Closing times</a:t>
                      </a: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gridSpan="7">
                  <a:txBody>
                    <a:bodyPr/>
                    <a:lstStyle/>
                    <a:p>
                      <a:pPr algn="ctr">
                        <a:lnSpc>
                          <a:spcPct val="115000"/>
                        </a:lnSpc>
                        <a:spcAft>
                          <a:spcPts val="0"/>
                        </a:spcAft>
                      </a:pPr>
                      <a:r>
                        <a:rPr lang="en-GB" sz="1500" dirty="0">
                          <a:solidFill>
                            <a:srgbClr val="000000"/>
                          </a:solidFill>
                          <a:effectLst/>
                          <a:latin typeface="+mn-lt"/>
                          <a:ea typeface="Calibri" panose="020F0502020204030204" pitchFamily="34" charset="0"/>
                          <a:cs typeface="Times New Roman" panose="02020603050405020304" pitchFamily="18" charset="0"/>
                        </a:rPr>
                        <a:t>D-60 min*</a:t>
                      </a:r>
                    </a:p>
                  </a:txBody>
                  <a:tcPr marL="56017" marR="56017" marT="0" marB="0" anchor="ctr"/>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extLst>
                  <a:ext uri="{0D108BD9-81ED-4DB2-BD59-A6C34878D82A}">
                    <a16:rowId xmlns:a16="http://schemas.microsoft.com/office/drawing/2014/main" xmlns="" val="1528220390"/>
                  </a:ext>
                </a:extLst>
              </a:tr>
              <a:tr h="3142734">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500" b="1" kern="1200" dirty="0">
                          <a:solidFill>
                            <a:schemeClr val="lt1"/>
                          </a:solidFill>
                          <a:effectLst/>
                          <a:latin typeface="+mn-lt"/>
                          <a:ea typeface="+mn-ea"/>
                          <a:cs typeface="+mn-cs"/>
                        </a:rPr>
                        <a:t>Notes</a:t>
                      </a:r>
                    </a:p>
                    <a:p>
                      <a:pPr>
                        <a:lnSpc>
                          <a:spcPct val="115000"/>
                        </a:lnSpc>
                        <a:spcAft>
                          <a:spcPts val="0"/>
                        </a:spcAft>
                      </a:pPr>
                      <a:endParaRPr lang="en-GB" sz="1500" dirty="0">
                        <a:solidFill>
                          <a:srgbClr val="000000"/>
                        </a:solidFill>
                        <a:effectLst/>
                        <a:latin typeface="+mn-lt"/>
                        <a:ea typeface="Calibri" panose="020F0502020204030204" pitchFamily="34" charset="0"/>
                        <a:cs typeface="Times New Roman" panose="02020603050405020304" pitchFamily="18" charset="0"/>
                      </a:endParaRPr>
                    </a:p>
                  </a:txBody>
                  <a:tcPr marL="56017" marR="56017" marT="0" marB="0" anchor="ctr"/>
                </a:tc>
                <a:tc gridSpan="7">
                  <a:txBody>
                    <a:bodyPr/>
                    <a:lstStyle/>
                    <a:p>
                      <a:pPr>
                        <a:lnSpc>
                          <a:spcPct val="115000"/>
                        </a:lnSpc>
                        <a:spcAft>
                          <a:spcPts val="0"/>
                        </a:spcAft>
                      </a:pPr>
                      <a:r>
                        <a:rPr lang="en-GB" sz="1500" kern="1200" dirty="0">
                          <a:solidFill>
                            <a:schemeClr val="dk1"/>
                          </a:solidFill>
                          <a:effectLst/>
                          <a:latin typeface="+mn-lt"/>
                          <a:ea typeface="+mn-ea"/>
                          <a:cs typeface="+mn-cs"/>
                        </a:rPr>
                        <a:t>*</a:t>
                      </a:r>
                      <a:r>
                        <a:rPr lang="en-GB" sz="1500" kern="1200" dirty="0" err="1">
                          <a:solidFill>
                            <a:schemeClr val="dk1"/>
                          </a:solidFill>
                          <a:effectLst/>
                          <a:latin typeface="+mn-lt"/>
                          <a:ea typeface="+mn-ea"/>
                          <a:cs typeface="+mn-cs"/>
                        </a:rPr>
                        <a:t>Estlink</a:t>
                      </a:r>
                      <a:r>
                        <a:rPr lang="en-GB" sz="1500" kern="1200" dirty="0">
                          <a:solidFill>
                            <a:schemeClr val="dk1"/>
                          </a:solidFill>
                          <a:effectLst/>
                          <a:latin typeface="+mn-lt"/>
                          <a:ea typeface="+mn-ea"/>
                          <a:cs typeface="+mn-cs"/>
                        </a:rPr>
                        <a:t> Closing time D-30 min; for FR-DE, same GCT applies to both half hours of a given hour</a:t>
                      </a:r>
                    </a:p>
                    <a:p>
                      <a:pPr>
                        <a:lnSpc>
                          <a:spcPct val="115000"/>
                        </a:lnSpc>
                        <a:spcAft>
                          <a:spcPts val="0"/>
                        </a:spcAft>
                      </a:pPr>
                      <a:r>
                        <a:rPr lang="en-GB" sz="1500" kern="1200" dirty="0">
                          <a:solidFill>
                            <a:schemeClr val="dk1"/>
                          </a:solidFill>
                          <a:effectLst/>
                          <a:latin typeface="+mn-lt"/>
                          <a:ea typeface="+mn-ea"/>
                          <a:cs typeface="+mn-cs"/>
                        </a:rPr>
                        <a:t>**DE-AT, DE-DK2 (</a:t>
                      </a:r>
                      <a:r>
                        <a:rPr lang="en-GB" sz="1500" kern="1200" dirty="0" err="1">
                          <a:solidFill>
                            <a:schemeClr val="dk1"/>
                          </a:solidFill>
                          <a:effectLst/>
                          <a:latin typeface="+mn-lt"/>
                          <a:ea typeface="+mn-ea"/>
                          <a:cs typeface="+mn-cs"/>
                        </a:rPr>
                        <a:t>Kontek</a:t>
                      </a:r>
                      <a:r>
                        <a:rPr lang="en-GB" sz="1500" kern="1200" dirty="0">
                          <a:solidFill>
                            <a:schemeClr val="dk1"/>
                          </a:solidFill>
                          <a:effectLst/>
                          <a:latin typeface="+mn-lt"/>
                          <a:ea typeface="+mn-ea"/>
                          <a:cs typeface="+mn-cs"/>
                        </a:rPr>
                        <a:t>) and DE-DK1 opening at 18:00</a:t>
                      </a:r>
                    </a:p>
                    <a:p>
                      <a:pPr>
                        <a:lnSpc>
                          <a:spcPct val="115000"/>
                        </a:lnSpc>
                        <a:spcAft>
                          <a:spcPts val="0"/>
                        </a:spcAft>
                      </a:pPr>
                      <a:r>
                        <a:rPr lang="en-GB" sz="1500" kern="1200" dirty="0">
                          <a:solidFill>
                            <a:schemeClr val="dk1"/>
                          </a:solidFill>
                          <a:effectLst/>
                          <a:latin typeface="+mn-lt"/>
                          <a:ea typeface="+mn-ea"/>
                          <a:cs typeface="+mn-cs"/>
                        </a:rPr>
                        <a:t>***Pending decision by ACER to move it to 14:00 as is today</a:t>
                      </a:r>
                    </a:p>
                    <a:p>
                      <a:pPr>
                        <a:lnSpc>
                          <a:spcPct val="115000"/>
                        </a:lnSpc>
                        <a:spcAft>
                          <a:spcPts val="0"/>
                        </a:spcAft>
                      </a:pPr>
                      <a:r>
                        <a:rPr lang="en-GB" sz="1500" kern="1200" dirty="0">
                          <a:solidFill>
                            <a:schemeClr val="dk1"/>
                          </a:solidFill>
                          <a:effectLst/>
                          <a:latin typeface="+mn-lt"/>
                          <a:ea typeface="+mn-ea"/>
                          <a:cs typeface="+mn-cs"/>
                        </a:rPr>
                        <a:t>^Pending regulatory approval at ENTSO-E / NRA level</a:t>
                      </a:r>
                    </a:p>
                    <a:p>
                      <a:pPr>
                        <a:lnSpc>
                          <a:spcPct val="115000"/>
                        </a:lnSpc>
                        <a:spcAft>
                          <a:spcPts val="0"/>
                        </a:spcAft>
                      </a:pPr>
                      <a:r>
                        <a:rPr lang="en-GB" sz="1500" kern="1200" dirty="0">
                          <a:solidFill>
                            <a:schemeClr val="dk1"/>
                          </a:solidFill>
                          <a:effectLst/>
                          <a:latin typeface="+mn-lt"/>
                          <a:ea typeface="+mn-ea"/>
                          <a:cs typeface="+mn-cs"/>
                        </a:rPr>
                        <a:t>^^The capacity will be released in several batches during the day</a:t>
                      </a:r>
                    </a:p>
                    <a:p>
                      <a:pPr>
                        <a:lnSpc>
                          <a:spcPct val="115000"/>
                        </a:lnSpc>
                        <a:spcBef>
                          <a:spcPts val="900"/>
                        </a:spcBef>
                        <a:spcAft>
                          <a:spcPts val="900"/>
                        </a:spcAft>
                      </a:pPr>
                      <a:r>
                        <a:rPr lang="en-GB" sz="1500" kern="1200" dirty="0" smtClean="0">
                          <a:solidFill>
                            <a:schemeClr val="dk1"/>
                          </a:solidFill>
                          <a:effectLst/>
                          <a:latin typeface="+mn-lt"/>
                          <a:ea typeface="+mn-ea"/>
                          <a:cs typeface="+mn-cs"/>
                        </a:rPr>
                        <a:t>Ramping </a:t>
                      </a:r>
                      <a:r>
                        <a:rPr lang="en-GB" sz="1500" kern="1200" dirty="0">
                          <a:solidFill>
                            <a:schemeClr val="dk1"/>
                          </a:solidFill>
                          <a:effectLst/>
                          <a:latin typeface="+mn-lt"/>
                          <a:ea typeface="+mn-ea"/>
                          <a:cs typeface="+mn-cs"/>
                        </a:rPr>
                        <a:t>constraint on (DK1-NO2, DK1-SE3, DK1-DK2)</a:t>
                      </a:r>
                    </a:p>
                    <a:p>
                      <a:pPr>
                        <a:lnSpc>
                          <a:spcPct val="115000"/>
                        </a:lnSpc>
                        <a:spcAft>
                          <a:spcPts val="0"/>
                        </a:spcAft>
                      </a:pPr>
                      <a:r>
                        <a:rPr lang="en-GB" sz="1500" kern="1200" dirty="0" smtClean="0">
                          <a:solidFill>
                            <a:schemeClr val="dk1"/>
                          </a:solidFill>
                          <a:effectLst/>
                          <a:latin typeface="+mn-lt"/>
                          <a:ea typeface="+mn-ea"/>
                          <a:cs typeface="+mn-cs"/>
                        </a:rPr>
                        <a:t>Cross-border </a:t>
                      </a:r>
                      <a:r>
                        <a:rPr lang="en-GB" sz="1500" kern="1200" dirty="0">
                          <a:solidFill>
                            <a:schemeClr val="dk1"/>
                          </a:solidFill>
                          <a:effectLst/>
                          <a:latin typeface="+mn-lt"/>
                          <a:ea typeface="+mn-ea"/>
                          <a:cs typeface="+mn-cs"/>
                        </a:rPr>
                        <a:t>contract resolutions:</a:t>
                      </a:r>
                    </a:p>
                    <a:p>
                      <a:pPr>
                        <a:lnSpc>
                          <a:spcPct val="115000"/>
                        </a:lnSpc>
                        <a:spcAft>
                          <a:spcPts val="0"/>
                        </a:spcAft>
                      </a:pPr>
                      <a:r>
                        <a:rPr lang="en-GB" sz="1500" kern="1200" dirty="0">
                          <a:solidFill>
                            <a:schemeClr val="dk1"/>
                          </a:solidFill>
                          <a:effectLst/>
                          <a:latin typeface="+mn-lt"/>
                          <a:ea typeface="+mn-ea"/>
                          <a:cs typeface="+mn-cs"/>
                        </a:rPr>
                        <a:t>- DE-AT border: 15 min</a:t>
                      </a:r>
                    </a:p>
                    <a:p>
                      <a:pPr>
                        <a:lnSpc>
                          <a:spcPct val="115000"/>
                        </a:lnSpc>
                        <a:spcAft>
                          <a:spcPts val="0"/>
                        </a:spcAft>
                      </a:pPr>
                      <a:r>
                        <a:rPr lang="en-GB" sz="1500" kern="1200" dirty="0">
                          <a:solidFill>
                            <a:schemeClr val="dk1"/>
                          </a:solidFill>
                          <a:effectLst/>
                          <a:latin typeface="+mn-lt"/>
                          <a:ea typeface="+mn-ea"/>
                          <a:cs typeface="+mn-cs"/>
                        </a:rPr>
                        <a:t>- FR-DE border: 30 min</a:t>
                      </a:r>
                    </a:p>
                    <a:p>
                      <a:pPr>
                        <a:lnSpc>
                          <a:spcPct val="115000"/>
                        </a:lnSpc>
                        <a:spcAft>
                          <a:spcPts val="0"/>
                        </a:spcAft>
                      </a:pPr>
                      <a:r>
                        <a:rPr lang="en-GB" sz="1500" kern="1200" dirty="0">
                          <a:solidFill>
                            <a:schemeClr val="dk1"/>
                          </a:solidFill>
                          <a:effectLst/>
                          <a:latin typeface="+mn-lt"/>
                          <a:ea typeface="+mn-ea"/>
                          <a:cs typeface="+mn-cs"/>
                        </a:rPr>
                        <a:t>- All other borders: 60 min</a:t>
                      </a:r>
                    </a:p>
                  </a:txBody>
                  <a:tcPr marL="56017" marR="56017" marT="0" marB="0" anchor="ctr"/>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tc hMerge="1">
                  <a:txBody>
                    <a:bodyPr/>
                    <a:lstStyle/>
                    <a:p>
                      <a:pPr>
                        <a:lnSpc>
                          <a:spcPct val="115000"/>
                        </a:lnSpc>
                        <a:spcAft>
                          <a:spcPts val="0"/>
                        </a:spcAft>
                      </a:pPr>
                      <a:endPar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17" marR="56017" marT="0" marB="0"/>
                </a:tc>
                <a:extLst>
                  <a:ext uri="{0D108BD9-81ED-4DB2-BD59-A6C34878D82A}">
                    <a16:rowId xmlns:a16="http://schemas.microsoft.com/office/drawing/2014/main" xmlns="" val="1336665337"/>
                  </a:ext>
                </a:extLst>
              </a:tr>
            </a:tbl>
          </a:graphicData>
        </a:graphic>
      </p:graphicFrame>
    </p:spTree>
    <p:extLst>
      <p:ext uri="{BB962C8B-B14F-4D97-AF65-F5344CB8AC3E}">
        <p14:creationId xmlns:p14="http://schemas.microsoft.com/office/powerpoint/2010/main" val="16604533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2:15-12:40</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ea typeface="Times New Roman"/>
                <a:cs typeface="Arial"/>
              </a:rPr>
              <a:t>Key note speech </a:t>
            </a:r>
            <a:endParaRPr lang="en-GB" sz="2000" kern="0" dirty="0" smtClean="0">
              <a:ea typeface="Times New Roman"/>
              <a:cs typeface="Times New Roman"/>
            </a:endParaRPr>
          </a:p>
          <a:p>
            <a:r>
              <a:rPr lang="en-GB" sz="2000" dirty="0" smtClean="0">
                <a:solidFill>
                  <a:srgbClr val="000000"/>
                </a:solidFill>
                <a:ea typeface="Times New Roman"/>
              </a:rPr>
              <a:t>Overview of XBID Project</a:t>
            </a:r>
          </a:p>
          <a:p>
            <a:r>
              <a:rPr lang="en-GB" sz="2000" dirty="0" smtClean="0">
                <a:solidFill>
                  <a:srgbClr val="000000"/>
                </a:solidFill>
                <a:ea typeface="Times New Roman"/>
              </a:rPr>
              <a:t>The XBID matching solution</a:t>
            </a:r>
          </a:p>
          <a:p>
            <a:r>
              <a:rPr lang="en-GB" sz="2000" dirty="0" smtClean="0">
                <a:solidFill>
                  <a:srgbClr val="000000"/>
                </a:solidFill>
                <a:ea typeface="Times New Roman"/>
              </a:rPr>
              <a:t>Overview of borders, market areas &amp; products</a:t>
            </a:r>
          </a:p>
          <a:p>
            <a:r>
              <a:rPr lang="en-GB" sz="2000" kern="0" dirty="0" smtClean="0">
                <a:solidFill>
                  <a:schemeClr val="accent2"/>
                </a:solidFill>
                <a:ea typeface="Times New Roman"/>
                <a:cs typeface="Times New Roman"/>
              </a:rPr>
              <a:t>Relevant information for market parties from LIPs</a:t>
            </a:r>
            <a:r>
              <a:rPr lang="en-GB" sz="2000" kern="0" dirty="0" smtClean="0">
                <a:solidFill>
                  <a:schemeClr val="accent2"/>
                </a:solidFill>
                <a:ea typeface="Times New Roman"/>
                <a:cs typeface="Arial"/>
              </a:rPr>
              <a:t> </a:t>
            </a:r>
            <a:r>
              <a:rPr lang="en-GB" sz="2000" dirty="0" smtClean="0">
                <a:solidFill>
                  <a:schemeClr val="accent2"/>
                </a:solidFill>
                <a:ea typeface="Times New Roman"/>
              </a:rPr>
              <a:t> </a:t>
            </a:r>
          </a:p>
          <a:p>
            <a:r>
              <a:rPr lang="en-US" sz="2000" kern="0" dirty="0">
                <a:solidFill>
                  <a:srgbClr val="000000"/>
                </a:solidFill>
                <a:ea typeface="Times New Roman"/>
                <a:cs typeface="Times New Roman"/>
              </a:rPr>
              <a:t>Explicit access on French-German border </a:t>
            </a:r>
            <a:endParaRPr lang="en-US" sz="2000" kern="0" dirty="0" smtClean="0">
              <a:solidFill>
                <a:srgbClr val="000000"/>
              </a:solidFill>
              <a:ea typeface="Times New Roman"/>
              <a:cs typeface="Times New Roman"/>
            </a:endParaRPr>
          </a:p>
          <a:p>
            <a:r>
              <a:rPr lang="en-GB" sz="2000" kern="0" dirty="0" smtClean="0">
                <a:solidFill>
                  <a:srgbClr val="000000"/>
                </a:solidFill>
                <a:ea typeface="Times New Roman"/>
                <a:cs typeface="Times New Roman"/>
              </a:rPr>
              <a:t>NRA overview</a:t>
            </a:r>
          </a:p>
          <a:p>
            <a:r>
              <a:rPr lang="en-GB" sz="2000" kern="0" dirty="0" smtClean="0">
                <a:solidFill>
                  <a:srgbClr val="000000"/>
                </a:solidFill>
                <a:ea typeface="Times New Roman"/>
                <a:cs typeface="Times New Roman"/>
              </a:rPr>
              <a:t>Deutsche </a:t>
            </a:r>
            <a:r>
              <a:rPr lang="en-GB" sz="2000" kern="0" dirty="0" err="1" smtClean="0">
                <a:solidFill>
                  <a:srgbClr val="000000"/>
                </a:solidFill>
                <a:ea typeface="Times New Roman"/>
                <a:cs typeface="Times New Roman"/>
              </a:rPr>
              <a:t>Börse</a:t>
            </a:r>
            <a:r>
              <a:rPr lang="en-GB" sz="2000" kern="0" dirty="0" smtClean="0">
                <a:solidFill>
                  <a:srgbClr val="000000"/>
                </a:solidFill>
                <a:ea typeface="Times New Roman"/>
                <a:cs typeface="Times New Roman"/>
              </a:rPr>
              <a:t>’ trading solution provider </a:t>
            </a:r>
            <a:r>
              <a:rPr lang="en-GB" sz="2000" kern="0" dirty="0" smtClean="0">
                <a:solidFill>
                  <a:srgbClr val="000000"/>
                </a:solidFill>
                <a:ea typeface="Times New Roman"/>
                <a:cs typeface="Arial"/>
              </a:rPr>
              <a:t> </a:t>
            </a:r>
            <a:endParaRPr lang="en-GB" sz="2000" kern="0" dirty="0" smtClean="0">
              <a:solidFill>
                <a:srgbClr val="000000"/>
              </a:solidFill>
              <a:ea typeface="Times New Roman"/>
              <a:cs typeface="Times New Roman"/>
            </a:endParaRPr>
          </a:p>
          <a:p>
            <a:r>
              <a:rPr lang="en-GB" sz="2000" dirty="0" smtClean="0">
                <a:solidFill>
                  <a:srgbClr val="000000"/>
                </a:solidFill>
                <a:ea typeface="Times New Roman"/>
              </a:rPr>
              <a:t>Members trial period, </a:t>
            </a:r>
            <a:r>
              <a:rPr lang="en-GB" sz="2000" dirty="0" err="1" smtClean="0">
                <a:solidFill>
                  <a:srgbClr val="000000"/>
                </a:solidFill>
                <a:ea typeface="Times New Roman"/>
              </a:rPr>
              <a:t>go-live</a:t>
            </a:r>
            <a:r>
              <a:rPr lang="en-GB" sz="2000" dirty="0" smtClean="0">
                <a:solidFill>
                  <a:srgbClr val="000000"/>
                </a:solidFill>
                <a:ea typeface="Times New Roman"/>
              </a:rPr>
              <a:t> plan and next steps for readiness</a:t>
            </a:r>
          </a:p>
          <a:p>
            <a:r>
              <a:rPr lang="en-GB" sz="2000" kern="0" dirty="0" smtClean="0">
                <a:solidFill>
                  <a:srgbClr val="000000"/>
                </a:solidFill>
                <a:ea typeface="Times New Roman"/>
                <a:cs typeface="Arial"/>
              </a:rPr>
              <a:t>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48</a:t>
            </a:fld>
            <a:endParaRPr lang="en-US" altLang="en-US" dirty="0"/>
          </a:p>
        </p:txBody>
      </p:sp>
    </p:spTree>
    <p:extLst>
      <p:ext uri="{BB962C8B-B14F-4D97-AF65-F5344CB8AC3E}">
        <p14:creationId xmlns:p14="http://schemas.microsoft.com/office/powerpoint/2010/main" val="6369562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solidFill>
                  <a:schemeClr val="accent1"/>
                </a:solidFill>
              </a:rPr>
              <a:t>Relevant </a:t>
            </a:r>
            <a:r>
              <a:rPr lang="en-GB" dirty="0">
                <a:solidFill>
                  <a:schemeClr val="accent1"/>
                </a:solidFill>
              </a:rPr>
              <a:t>information for market parties from Local Implementation Projects (LIPs)</a:t>
            </a:r>
          </a:p>
        </p:txBody>
      </p:sp>
      <p:sp>
        <p:nvSpPr>
          <p:cNvPr id="5" name="Textplatzhalter 4"/>
          <p:cNvSpPr>
            <a:spLocks noGrp="1"/>
          </p:cNvSpPr>
          <p:nvPr>
            <p:ph type="body" sz="quarter" idx="15"/>
          </p:nvPr>
        </p:nvSpPr>
        <p:spPr>
          <a:xfrm>
            <a:off x="2255839" y="3024147"/>
            <a:ext cx="6329361" cy="315570"/>
          </a:xfrm>
        </p:spPr>
        <p:txBody>
          <a:bodyPr/>
          <a:lstStyle/>
          <a:p>
            <a:r>
              <a:rPr lang="en-GB" dirty="0" err="1" smtClean="0"/>
              <a:t>Katja</a:t>
            </a:r>
            <a:r>
              <a:rPr lang="en-GB" dirty="0" smtClean="0"/>
              <a:t> Birr-Pedersen		</a:t>
            </a:r>
          </a:p>
          <a:p>
            <a:endParaRPr lang="en-GB" dirty="0"/>
          </a:p>
        </p:txBody>
      </p:sp>
      <p:sp>
        <p:nvSpPr>
          <p:cNvPr id="6" name="Textplatzhalter 5"/>
          <p:cNvSpPr>
            <a:spLocks noGrp="1"/>
          </p:cNvSpPr>
          <p:nvPr>
            <p:ph type="body" sz="quarter" idx="16"/>
          </p:nvPr>
        </p:nvSpPr>
        <p:spPr>
          <a:xfrm>
            <a:off x="2255839" y="3410983"/>
            <a:ext cx="6329361" cy="315570"/>
          </a:xfrm>
        </p:spPr>
        <p:txBody>
          <a:bodyPr/>
          <a:lstStyle/>
          <a:p>
            <a:r>
              <a:rPr lang="en-GB" dirty="0" err="1" smtClean="0"/>
              <a:t>Energinet</a:t>
            </a:r>
            <a:r>
              <a:rPr lang="en-GB" dirty="0" smtClean="0"/>
              <a:t>			</a:t>
            </a:r>
            <a:endParaRPr lang="en-GB" dirty="0"/>
          </a:p>
        </p:txBody>
      </p:sp>
    </p:spTree>
    <p:extLst>
      <p:ext uri="{BB962C8B-B14F-4D97-AF65-F5344CB8AC3E}">
        <p14:creationId xmlns:p14="http://schemas.microsoft.com/office/powerpoint/2010/main" val="3642820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solidFill>
                  <a:schemeClr val="accent1"/>
                </a:solidFill>
              </a:rPr>
              <a:t>Key note speech </a:t>
            </a:r>
            <a:endParaRPr lang="en-GB" dirty="0">
              <a:solidFill>
                <a:schemeClr val="accent1"/>
              </a:solidFill>
            </a:endParaRPr>
          </a:p>
        </p:txBody>
      </p:sp>
      <p:sp>
        <p:nvSpPr>
          <p:cNvPr id="5" name="Textplatzhalter 4"/>
          <p:cNvSpPr>
            <a:spLocks noGrp="1"/>
          </p:cNvSpPr>
          <p:nvPr>
            <p:ph type="body" sz="quarter" idx="15"/>
          </p:nvPr>
        </p:nvSpPr>
        <p:spPr>
          <a:xfrm>
            <a:off x="2255839" y="2983203"/>
            <a:ext cx="6329361" cy="315570"/>
          </a:xfrm>
        </p:spPr>
        <p:txBody>
          <a:bodyPr/>
          <a:lstStyle/>
          <a:p>
            <a:r>
              <a:rPr lang="en-GB" dirty="0" err="1"/>
              <a:t>Dr.</a:t>
            </a:r>
            <a:r>
              <a:rPr lang="en-GB" dirty="0"/>
              <a:t> Klaus-Dieter </a:t>
            </a:r>
            <a:r>
              <a:rPr lang="en-GB" dirty="0" err="1"/>
              <a:t>Borchardt</a:t>
            </a:r>
            <a:r>
              <a:rPr lang="en-GB" dirty="0"/>
              <a:t> </a:t>
            </a:r>
          </a:p>
          <a:p>
            <a:endParaRPr lang="en-GB" dirty="0"/>
          </a:p>
        </p:txBody>
      </p:sp>
      <p:sp>
        <p:nvSpPr>
          <p:cNvPr id="6" name="Textplatzhalter 5"/>
          <p:cNvSpPr>
            <a:spLocks noGrp="1"/>
          </p:cNvSpPr>
          <p:nvPr>
            <p:ph type="body" sz="quarter" idx="16"/>
          </p:nvPr>
        </p:nvSpPr>
        <p:spPr>
          <a:xfrm>
            <a:off x="2255839" y="3342743"/>
            <a:ext cx="6329361" cy="315570"/>
          </a:xfrm>
        </p:spPr>
        <p:txBody>
          <a:bodyPr/>
          <a:lstStyle/>
          <a:p>
            <a:r>
              <a:rPr lang="en-GB" dirty="0" smtClean="0"/>
              <a:t>European Commission, </a:t>
            </a:r>
            <a:r>
              <a:rPr lang="en-GB" dirty="0"/>
              <a:t>Director Internal Energy Market</a:t>
            </a:r>
          </a:p>
        </p:txBody>
      </p:sp>
    </p:spTree>
    <p:extLst>
      <p:ext uri="{BB962C8B-B14F-4D97-AF65-F5344CB8AC3E}">
        <p14:creationId xmlns:p14="http://schemas.microsoft.com/office/powerpoint/2010/main" val="13814016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Overview TSOs, NEMOs and LIPs part of initial </a:t>
            </a:r>
            <a:r>
              <a:rPr lang="en-GB" dirty="0" err="1"/>
              <a:t>go-live</a:t>
            </a:r>
            <a:endParaRPr lang="en-GB"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0</a:t>
            </a:fld>
            <a:endParaRPr lang="en-US" altLang="en-US" dirty="0"/>
          </a:p>
        </p:txBody>
      </p:sp>
      <p:grpSp>
        <p:nvGrpSpPr>
          <p:cNvPr id="5" name="Group 14"/>
          <p:cNvGrpSpPr/>
          <p:nvPr/>
        </p:nvGrpSpPr>
        <p:grpSpPr>
          <a:xfrm>
            <a:off x="4148587" y="1009291"/>
            <a:ext cx="6072941" cy="5624422"/>
            <a:chOff x="1934262" y="1341438"/>
            <a:chExt cx="5346913" cy="4927121"/>
          </a:xfrm>
        </p:grpSpPr>
        <p:sp>
          <p:nvSpPr>
            <p:cNvPr id="6" name="ee4p_10_1_43215"/>
            <p:cNvSpPr>
              <a:spLocks noChangeAspect="1"/>
            </p:cNvSpPr>
            <p:nvPr>
              <p:custDataLst>
                <p:tags r:id="rId22"/>
              </p:custDataLst>
            </p:nvPr>
          </p:nvSpPr>
          <p:spPr bwMode="gray">
            <a:xfrm>
              <a:off x="4126433" y="4343991"/>
              <a:ext cx="643619" cy="309503"/>
            </a:xfrm>
            <a:custGeom>
              <a:avLst/>
              <a:gdLst/>
              <a:ahLst/>
              <a:cxnLst/>
              <a:rect l="0" t="0" r="0" b="0"/>
              <a:pathLst>
                <a:path w="643619" h="309503">
                  <a:moveTo>
                    <a:pt x="253847" y="17929"/>
                  </a:moveTo>
                  <a:lnTo>
                    <a:pt x="271136" y="18124"/>
                  </a:lnTo>
                  <a:lnTo>
                    <a:pt x="269488" y="0"/>
                  </a:lnTo>
                  <a:lnTo>
                    <a:pt x="293970" y="1574"/>
                  </a:lnTo>
                  <a:lnTo>
                    <a:pt x="300917" y="19092"/>
                  </a:lnTo>
                  <a:lnTo>
                    <a:pt x="354476" y="42048"/>
                  </a:lnTo>
                  <a:lnTo>
                    <a:pt x="400900" y="44573"/>
                  </a:lnTo>
                  <a:lnTo>
                    <a:pt x="410751" y="55000"/>
                  </a:lnTo>
                  <a:lnTo>
                    <a:pt x="386638" y="73734"/>
                  </a:lnTo>
                  <a:lnTo>
                    <a:pt x="402629" y="80448"/>
                  </a:lnTo>
                  <a:lnTo>
                    <a:pt x="435967" y="116260"/>
                  </a:lnTo>
                  <a:lnTo>
                    <a:pt x="466390" y="93213"/>
                  </a:lnTo>
                  <a:lnTo>
                    <a:pt x="475179" y="77185"/>
                  </a:lnTo>
                  <a:lnTo>
                    <a:pt x="497725" y="93105"/>
                  </a:lnTo>
                  <a:lnTo>
                    <a:pt x="524192" y="94685"/>
                  </a:lnTo>
                  <a:lnTo>
                    <a:pt x="522948" y="106844"/>
                  </a:lnTo>
                  <a:lnTo>
                    <a:pt x="547794" y="130889"/>
                  </a:lnTo>
                  <a:lnTo>
                    <a:pt x="572541" y="129195"/>
                  </a:lnTo>
                  <a:lnTo>
                    <a:pt x="602901" y="136265"/>
                  </a:lnTo>
                  <a:lnTo>
                    <a:pt x="621911" y="163474"/>
                  </a:lnTo>
                  <a:lnTo>
                    <a:pt x="639073" y="168941"/>
                  </a:lnTo>
                  <a:lnTo>
                    <a:pt x="643618" y="189271"/>
                  </a:lnTo>
                  <a:lnTo>
                    <a:pt x="614022" y="191397"/>
                  </a:lnTo>
                  <a:lnTo>
                    <a:pt x="597882" y="212694"/>
                  </a:lnTo>
                  <a:lnTo>
                    <a:pt x="579043" y="218180"/>
                  </a:lnTo>
                  <a:lnTo>
                    <a:pt x="563561" y="251392"/>
                  </a:lnTo>
                  <a:lnTo>
                    <a:pt x="550085" y="263056"/>
                  </a:lnTo>
                  <a:lnTo>
                    <a:pt x="515594" y="277449"/>
                  </a:lnTo>
                  <a:lnTo>
                    <a:pt x="483974" y="269258"/>
                  </a:lnTo>
                  <a:lnTo>
                    <a:pt x="458682" y="301727"/>
                  </a:lnTo>
                  <a:lnTo>
                    <a:pt x="420023" y="277203"/>
                  </a:lnTo>
                  <a:lnTo>
                    <a:pt x="404275" y="287891"/>
                  </a:lnTo>
                  <a:lnTo>
                    <a:pt x="377655" y="285784"/>
                  </a:lnTo>
                  <a:lnTo>
                    <a:pt x="351016" y="270129"/>
                  </a:lnTo>
                  <a:lnTo>
                    <a:pt x="337360" y="271876"/>
                  </a:lnTo>
                  <a:lnTo>
                    <a:pt x="316356" y="260199"/>
                  </a:lnTo>
                  <a:lnTo>
                    <a:pt x="272936" y="251476"/>
                  </a:lnTo>
                  <a:lnTo>
                    <a:pt x="266662" y="284204"/>
                  </a:lnTo>
                  <a:lnTo>
                    <a:pt x="253982" y="281002"/>
                  </a:lnTo>
                  <a:lnTo>
                    <a:pt x="232125" y="300773"/>
                  </a:lnTo>
                  <a:lnTo>
                    <a:pt x="207214" y="309502"/>
                  </a:lnTo>
                  <a:lnTo>
                    <a:pt x="178261" y="302273"/>
                  </a:lnTo>
                  <a:lnTo>
                    <a:pt x="174609" y="290468"/>
                  </a:lnTo>
                  <a:lnTo>
                    <a:pt x="158649" y="282520"/>
                  </a:lnTo>
                  <a:lnTo>
                    <a:pt x="133594" y="257672"/>
                  </a:lnTo>
                  <a:lnTo>
                    <a:pt x="100248" y="239830"/>
                  </a:lnTo>
                  <a:lnTo>
                    <a:pt x="80234" y="215972"/>
                  </a:lnTo>
                  <a:lnTo>
                    <a:pt x="56738" y="210827"/>
                  </a:lnTo>
                  <a:lnTo>
                    <a:pt x="44121" y="199646"/>
                  </a:lnTo>
                  <a:lnTo>
                    <a:pt x="31131" y="167951"/>
                  </a:lnTo>
                  <a:lnTo>
                    <a:pt x="33971" y="140439"/>
                  </a:lnTo>
                  <a:lnTo>
                    <a:pt x="28059" y="130761"/>
                  </a:lnTo>
                  <a:lnTo>
                    <a:pt x="0" y="114478"/>
                  </a:lnTo>
                  <a:lnTo>
                    <a:pt x="30414" y="78151"/>
                  </a:lnTo>
                  <a:lnTo>
                    <a:pt x="80448" y="63932"/>
                  </a:lnTo>
                  <a:lnTo>
                    <a:pt x="96127" y="64712"/>
                  </a:lnTo>
                  <a:lnTo>
                    <a:pt x="115358" y="46507"/>
                  </a:lnTo>
                  <a:lnTo>
                    <a:pt x="141916" y="35607"/>
                  </a:lnTo>
                  <a:lnTo>
                    <a:pt x="160228" y="36192"/>
                  </a:lnTo>
                  <a:lnTo>
                    <a:pt x="182583" y="23758"/>
                  </a:lnTo>
                  <a:lnTo>
                    <a:pt x="232155" y="3042"/>
                  </a:lnTo>
                  <a:lnTo>
                    <a:pt x="234054" y="19555"/>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7" name="ee4p_24_1_43215"/>
            <p:cNvSpPr>
              <a:spLocks noChangeAspect="1"/>
            </p:cNvSpPr>
            <p:nvPr>
              <p:custDataLst>
                <p:tags r:id="rId23"/>
              </p:custDataLst>
            </p:nvPr>
          </p:nvSpPr>
          <p:spPr bwMode="gray">
            <a:xfrm>
              <a:off x="4021691" y="1708122"/>
              <a:ext cx="1261538" cy="2067542"/>
            </a:xfrm>
            <a:custGeom>
              <a:avLst/>
              <a:gdLst/>
              <a:ahLst/>
              <a:cxnLst/>
              <a:rect l="l" t="t" r="r" b="b"/>
              <a:pathLst>
                <a:path w="1261538" h="2067542">
                  <a:moveTo>
                    <a:pt x="578702" y="1793781"/>
                  </a:moveTo>
                  <a:lnTo>
                    <a:pt x="576336" y="1815411"/>
                  </a:lnTo>
                  <a:lnTo>
                    <a:pt x="557324" y="1843957"/>
                  </a:lnTo>
                  <a:lnTo>
                    <a:pt x="554274" y="1865163"/>
                  </a:lnTo>
                  <a:lnTo>
                    <a:pt x="535319" y="1900509"/>
                  </a:lnTo>
                  <a:lnTo>
                    <a:pt x="527408" y="1927223"/>
                  </a:lnTo>
                  <a:lnTo>
                    <a:pt x="510500" y="1938366"/>
                  </a:lnTo>
                  <a:lnTo>
                    <a:pt x="509143" y="1906432"/>
                  </a:lnTo>
                  <a:lnTo>
                    <a:pt x="533555" y="1857467"/>
                  </a:lnTo>
                  <a:lnTo>
                    <a:pt x="558110" y="1826711"/>
                  </a:lnTo>
                  <a:lnTo>
                    <a:pt x="565237" y="1799822"/>
                  </a:lnTo>
                  <a:close/>
                  <a:moveTo>
                    <a:pt x="764959" y="1713679"/>
                  </a:moveTo>
                  <a:lnTo>
                    <a:pt x="757872" y="1737121"/>
                  </a:lnTo>
                  <a:lnTo>
                    <a:pt x="744424" y="1742071"/>
                  </a:lnTo>
                  <a:lnTo>
                    <a:pt x="742877" y="1777640"/>
                  </a:lnTo>
                  <a:lnTo>
                    <a:pt x="731359" y="1808223"/>
                  </a:lnTo>
                  <a:lnTo>
                    <a:pt x="685905" y="1829194"/>
                  </a:lnTo>
                  <a:lnTo>
                    <a:pt x="683916" y="1786015"/>
                  </a:lnTo>
                  <a:lnTo>
                    <a:pt x="676239" y="1765978"/>
                  </a:lnTo>
                  <a:lnTo>
                    <a:pt x="691030" y="1754386"/>
                  </a:lnTo>
                  <a:lnTo>
                    <a:pt x="710527" y="1726247"/>
                  </a:lnTo>
                  <a:lnTo>
                    <a:pt x="741165" y="1719489"/>
                  </a:lnTo>
                  <a:close/>
                  <a:moveTo>
                    <a:pt x="56635" y="1658033"/>
                  </a:moveTo>
                  <a:lnTo>
                    <a:pt x="70872" y="1677228"/>
                  </a:lnTo>
                  <a:lnTo>
                    <a:pt x="42681" y="1688607"/>
                  </a:lnTo>
                  <a:lnTo>
                    <a:pt x="28015" y="1680696"/>
                  </a:lnTo>
                  <a:close/>
                  <a:moveTo>
                    <a:pt x="912571" y="0"/>
                  </a:moveTo>
                  <a:lnTo>
                    <a:pt x="993644" y="49935"/>
                  </a:lnTo>
                  <a:lnTo>
                    <a:pt x="996742" y="61354"/>
                  </a:lnTo>
                  <a:lnTo>
                    <a:pt x="1042260" y="80346"/>
                  </a:lnTo>
                  <a:lnTo>
                    <a:pt x="1057283" y="97978"/>
                  </a:lnTo>
                  <a:lnTo>
                    <a:pt x="1086691" y="97529"/>
                  </a:lnTo>
                  <a:lnTo>
                    <a:pt x="1156550" y="127981"/>
                  </a:lnTo>
                  <a:lnTo>
                    <a:pt x="1187372" y="170109"/>
                  </a:lnTo>
                  <a:lnTo>
                    <a:pt x="1212463" y="184279"/>
                  </a:lnTo>
                  <a:lnTo>
                    <a:pt x="1197599" y="200612"/>
                  </a:lnTo>
                  <a:lnTo>
                    <a:pt x="1202493" y="246836"/>
                  </a:lnTo>
                  <a:lnTo>
                    <a:pt x="1188988" y="260577"/>
                  </a:lnTo>
                  <a:lnTo>
                    <a:pt x="1223749" y="272559"/>
                  </a:lnTo>
                  <a:lnTo>
                    <a:pt x="1219673" y="296475"/>
                  </a:lnTo>
                  <a:lnTo>
                    <a:pt x="1203419" y="315317"/>
                  </a:lnTo>
                  <a:lnTo>
                    <a:pt x="1246060" y="372014"/>
                  </a:lnTo>
                  <a:lnTo>
                    <a:pt x="1234586" y="382768"/>
                  </a:lnTo>
                  <a:lnTo>
                    <a:pt x="1232657" y="414615"/>
                  </a:lnTo>
                  <a:lnTo>
                    <a:pt x="1212683" y="431080"/>
                  </a:lnTo>
                  <a:lnTo>
                    <a:pt x="1212236" y="455832"/>
                  </a:lnTo>
                  <a:lnTo>
                    <a:pt x="1238614" y="478333"/>
                  </a:lnTo>
                  <a:lnTo>
                    <a:pt x="1261538" y="533598"/>
                  </a:lnTo>
                  <a:lnTo>
                    <a:pt x="1230759" y="541657"/>
                  </a:lnTo>
                  <a:lnTo>
                    <a:pt x="1145487" y="541876"/>
                  </a:lnTo>
                  <a:lnTo>
                    <a:pt x="1122499" y="533420"/>
                  </a:lnTo>
                  <a:lnTo>
                    <a:pt x="1083034" y="538932"/>
                  </a:lnTo>
                  <a:lnTo>
                    <a:pt x="1089368" y="571419"/>
                  </a:lnTo>
                  <a:lnTo>
                    <a:pt x="1052774" y="581852"/>
                  </a:lnTo>
                  <a:lnTo>
                    <a:pt x="1052469" y="598028"/>
                  </a:lnTo>
                  <a:lnTo>
                    <a:pt x="1004068" y="605799"/>
                  </a:lnTo>
                  <a:lnTo>
                    <a:pt x="1013331" y="639144"/>
                  </a:lnTo>
                  <a:lnTo>
                    <a:pt x="967252" y="697703"/>
                  </a:lnTo>
                  <a:lnTo>
                    <a:pt x="1003213" y="730043"/>
                  </a:lnTo>
                  <a:lnTo>
                    <a:pt x="1005894" y="754546"/>
                  </a:lnTo>
                  <a:lnTo>
                    <a:pt x="952101" y="798472"/>
                  </a:lnTo>
                  <a:lnTo>
                    <a:pt x="933529" y="839152"/>
                  </a:lnTo>
                  <a:lnTo>
                    <a:pt x="859474" y="870533"/>
                  </a:lnTo>
                  <a:lnTo>
                    <a:pt x="832982" y="894359"/>
                  </a:lnTo>
                  <a:lnTo>
                    <a:pt x="787793" y="902419"/>
                  </a:lnTo>
                  <a:lnTo>
                    <a:pt x="786569" y="921791"/>
                  </a:lnTo>
                  <a:lnTo>
                    <a:pt x="758719" y="939462"/>
                  </a:lnTo>
                  <a:lnTo>
                    <a:pt x="748126" y="927546"/>
                  </a:lnTo>
                  <a:lnTo>
                    <a:pt x="709352" y="965581"/>
                  </a:lnTo>
                  <a:lnTo>
                    <a:pt x="709244" y="991339"/>
                  </a:lnTo>
                  <a:lnTo>
                    <a:pt x="676602" y="1006899"/>
                  </a:lnTo>
                  <a:lnTo>
                    <a:pt x="672127" y="1030677"/>
                  </a:lnTo>
                  <a:lnTo>
                    <a:pt x="638993" y="1045794"/>
                  </a:lnTo>
                  <a:lnTo>
                    <a:pt x="604660" y="1070971"/>
                  </a:lnTo>
                  <a:lnTo>
                    <a:pt x="619922" y="1085543"/>
                  </a:lnTo>
                  <a:lnTo>
                    <a:pt x="614355" y="1115639"/>
                  </a:lnTo>
                  <a:lnTo>
                    <a:pt x="601727" y="1135266"/>
                  </a:lnTo>
                  <a:lnTo>
                    <a:pt x="580063" y="1187796"/>
                  </a:lnTo>
                  <a:lnTo>
                    <a:pt x="577778" y="1211543"/>
                  </a:lnTo>
                  <a:lnTo>
                    <a:pt x="591074" y="1227845"/>
                  </a:lnTo>
                  <a:lnTo>
                    <a:pt x="584950" y="1278312"/>
                  </a:lnTo>
                  <a:lnTo>
                    <a:pt x="594999" y="1287845"/>
                  </a:lnTo>
                  <a:lnTo>
                    <a:pt x="598301" y="1320395"/>
                  </a:lnTo>
                  <a:lnTo>
                    <a:pt x="626725" y="1321679"/>
                  </a:lnTo>
                  <a:lnTo>
                    <a:pt x="644838" y="1333082"/>
                  </a:lnTo>
                  <a:lnTo>
                    <a:pt x="664914" y="1329409"/>
                  </a:lnTo>
                  <a:lnTo>
                    <a:pt x="680501" y="1356325"/>
                  </a:lnTo>
                  <a:lnTo>
                    <a:pt x="710388" y="1367025"/>
                  </a:lnTo>
                  <a:lnTo>
                    <a:pt x="744184" y="1398485"/>
                  </a:lnTo>
                  <a:lnTo>
                    <a:pt x="757712" y="1435760"/>
                  </a:lnTo>
                  <a:lnTo>
                    <a:pt x="726875" y="1479117"/>
                  </a:lnTo>
                  <a:lnTo>
                    <a:pt x="695881" y="1495667"/>
                  </a:lnTo>
                  <a:lnTo>
                    <a:pt x="680783" y="1512486"/>
                  </a:lnTo>
                  <a:lnTo>
                    <a:pt x="705496" y="1530501"/>
                  </a:lnTo>
                  <a:lnTo>
                    <a:pt x="701936" y="1541356"/>
                  </a:lnTo>
                  <a:lnTo>
                    <a:pt x="671843" y="1552155"/>
                  </a:lnTo>
                  <a:lnTo>
                    <a:pt x="644322" y="1577405"/>
                  </a:lnTo>
                  <a:lnTo>
                    <a:pt x="616248" y="1588131"/>
                  </a:lnTo>
                  <a:lnTo>
                    <a:pt x="571484" y="1612644"/>
                  </a:lnTo>
                  <a:lnTo>
                    <a:pt x="549990" y="1616835"/>
                  </a:lnTo>
                  <a:lnTo>
                    <a:pt x="543909" y="1641763"/>
                  </a:lnTo>
                  <a:lnTo>
                    <a:pt x="555140" y="1676662"/>
                  </a:lnTo>
                  <a:lnTo>
                    <a:pt x="544978" y="1704849"/>
                  </a:lnTo>
                  <a:lnTo>
                    <a:pt x="520480" y="1714665"/>
                  </a:lnTo>
                  <a:lnTo>
                    <a:pt x="539366" y="1744489"/>
                  </a:lnTo>
                  <a:lnTo>
                    <a:pt x="530827" y="1760036"/>
                  </a:lnTo>
                  <a:lnTo>
                    <a:pt x="533357" y="1787712"/>
                  </a:lnTo>
                  <a:lnTo>
                    <a:pt x="517561" y="1818918"/>
                  </a:lnTo>
                  <a:lnTo>
                    <a:pt x="509060" y="1887281"/>
                  </a:lnTo>
                  <a:lnTo>
                    <a:pt x="493863" y="1895378"/>
                  </a:lnTo>
                  <a:lnTo>
                    <a:pt x="472074" y="1950287"/>
                  </a:lnTo>
                  <a:lnTo>
                    <a:pt x="448216" y="1958283"/>
                  </a:lnTo>
                  <a:lnTo>
                    <a:pt x="379512" y="1953023"/>
                  </a:lnTo>
                  <a:lnTo>
                    <a:pt x="344599" y="1960848"/>
                  </a:lnTo>
                  <a:lnTo>
                    <a:pt x="312000" y="1983045"/>
                  </a:lnTo>
                  <a:lnTo>
                    <a:pt x="298720" y="2018219"/>
                  </a:lnTo>
                  <a:lnTo>
                    <a:pt x="313836" y="2038121"/>
                  </a:lnTo>
                  <a:lnTo>
                    <a:pt x="297780" y="2061165"/>
                  </a:lnTo>
                  <a:lnTo>
                    <a:pt x="251564" y="2055332"/>
                  </a:lnTo>
                  <a:lnTo>
                    <a:pt x="216901" y="2067542"/>
                  </a:lnTo>
                  <a:lnTo>
                    <a:pt x="178841" y="2058710"/>
                  </a:lnTo>
                  <a:lnTo>
                    <a:pt x="171486" y="2036719"/>
                  </a:lnTo>
                  <a:lnTo>
                    <a:pt x="187379" y="2019217"/>
                  </a:lnTo>
                  <a:lnTo>
                    <a:pt x="165715" y="1997344"/>
                  </a:lnTo>
                  <a:lnTo>
                    <a:pt x="140333" y="1956807"/>
                  </a:lnTo>
                  <a:lnTo>
                    <a:pt x="135237" y="1937245"/>
                  </a:lnTo>
                  <a:lnTo>
                    <a:pt x="156020" y="1912983"/>
                  </a:lnTo>
                  <a:lnTo>
                    <a:pt x="175962" y="1909750"/>
                  </a:lnTo>
                  <a:lnTo>
                    <a:pt x="170448" y="1888424"/>
                  </a:lnTo>
                  <a:lnTo>
                    <a:pt x="156126" y="1887620"/>
                  </a:lnTo>
                  <a:lnTo>
                    <a:pt x="144228" y="1864956"/>
                  </a:lnTo>
                  <a:lnTo>
                    <a:pt x="120254" y="1850313"/>
                  </a:lnTo>
                  <a:lnTo>
                    <a:pt x="101177" y="1800798"/>
                  </a:lnTo>
                  <a:lnTo>
                    <a:pt x="77022" y="1778668"/>
                  </a:lnTo>
                  <a:lnTo>
                    <a:pt x="79434" y="1760310"/>
                  </a:lnTo>
                  <a:lnTo>
                    <a:pt x="53828" y="1722102"/>
                  </a:lnTo>
                  <a:lnTo>
                    <a:pt x="61764" y="1713039"/>
                  </a:lnTo>
                  <a:lnTo>
                    <a:pt x="73069" y="1669696"/>
                  </a:lnTo>
                  <a:lnTo>
                    <a:pt x="59741" y="1654682"/>
                  </a:lnTo>
                  <a:lnTo>
                    <a:pt x="42659" y="1667877"/>
                  </a:lnTo>
                  <a:lnTo>
                    <a:pt x="17443" y="1649233"/>
                  </a:lnTo>
                  <a:lnTo>
                    <a:pt x="12722" y="1586499"/>
                  </a:lnTo>
                  <a:lnTo>
                    <a:pt x="0" y="1564043"/>
                  </a:lnTo>
                  <a:lnTo>
                    <a:pt x="21503" y="1543520"/>
                  </a:lnTo>
                  <a:lnTo>
                    <a:pt x="33228" y="1561165"/>
                  </a:lnTo>
                  <a:lnTo>
                    <a:pt x="55314" y="1565694"/>
                  </a:lnTo>
                  <a:lnTo>
                    <a:pt x="63698" y="1547160"/>
                  </a:lnTo>
                  <a:lnTo>
                    <a:pt x="67618" y="1510327"/>
                  </a:lnTo>
                  <a:lnTo>
                    <a:pt x="55512" y="1475215"/>
                  </a:lnTo>
                  <a:lnTo>
                    <a:pt x="79581" y="1460111"/>
                  </a:lnTo>
                  <a:lnTo>
                    <a:pt x="69891" y="1439047"/>
                  </a:lnTo>
                  <a:lnTo>
                    <a:pt x="102263" y="1431970"/>
                  </a:lnTo>
                  <a:lnTo>
                    <a:pt x="128904" y="1410219"/>
                  </a:lnTo>
                  <a:lnTo>
                    <a:pt x="137834" y="1388043"/>
                  </a:lnTo>
                  <a:lnTo>
                    <a:pt x="133663" y="1369129"/>
                  </a:lnTo>
                  <a:lnTo>
                    <a:pt x="144121" y="1341606"/>
                  </a:lnTo>
                  <a:lnTo>
                    <a:pt x="123655" y="1309314"/>
                  </a:lnTo>
                  <a:lnTo>
                    <a:pt x="107072" y="1268383"/>
                  </a:lnTo>
                  <a:lnTo>
                    <a:pt x="151446" y="1261307"/>
                  </a:lnTo>
                  <a:lnTo>
                    <a:pt x="169662" y="1217786"/>
                  </a:lnTo>
                  <a:lnTo>
                    <a:pt x="140486" y="1186374"/>
                  </a:lnTo>
                  <a:lnTo>
                    <a:pt x="126000" y="1187229"/>
                  </a:lnTo>
                  <a:lnTo>
                    <a:pt x="98719" y="1163356"/>
                  </a:lnTo>
                  <a:lnTo>
                    <a:pt x="114366" y="1082193"/>
                  </a:lnTo>
                  <a:lnTo>
                    <a:pt x="90831" y="1030398"/>
                  </a:lnTo>
                  <a:lnTo>
                    <a:pt x="98595" y="1009864"/>
                  </a:lnTo>
                  <a:lnTo>
                    <a:pt x="92626" y="986460"/>
                  </a:lnTo>
                  <a:lnTo>
                    <a:pt x="106515" y="971628"/>
                  </a:lnTo>
                  <a:lnTo>
                    <a:pt x="82939" y="930716"/>
                  </a:lnTo>
                  <a:lnTo>
                    <a:pt x="105997" y="898733"/>
                  </a:lnTo>
                  <a:lnTo>
                    <a:pt x="99890" y="881061"/>
                  </a:lnTo>
                  <a:lnTo>
                    <a:pt x="151541" y="822558"/>
                  </a:lnTo>
                  <a:lnTo>
                    <a:pt x="202586" y="803840"/>
                  </a:lnTo>
                  <a:lnTo>
                    <a:pt x="275778" y="817347"/>
                  </a:lnTo>
                  <a:lnTo>
                    <a:pt x="294122" y="788407"/>
                  </a:lnTo>
                  <a:lnTo>
                    <a:pt x="289938" y="746872"/>
                  </a:lnTo>
                  <a:lnTo>
                    <a:pt x="245466" y="728506"/>
                  </a:lnTo>
                  <a:lnTo>
                    <a:pt x="310463" y="644086"/>
                  </a:lnTo>
                  <a:lnTo>
                    <a:pt x="327962" y="613981"/>
                  </a:lnTo>
                  <a:lnTo>
                    <a:pt x="327182" y="580481"/>
                  </a:lnTo>
                  <a:lnTo>
                    <a:pt x="339442" y="534270"/>
                  </a:lnTo>
                  <a:lnTo>
                    <a:pt x="328877" y="482960"/>
                  </a:lnTo>
                  <a:lnTo>
                    <a:pt x="379134" y="479594"/>
                  </a:lnTo>
                  <a:lnTo>
                    <a:pt x="422584" y="458881"/>
                  </a:lnTo>
                  <a:lnTo>
                    <a:pt x="412182" y="426347"/>
                  </a:lnTo>
                  <a:lnTo>
                    <a:pt x="435805" y="408560"/>
                  </a:lnTo>
                  <a:lnTo>
                    <a:pt x="476193" y="356931"/>
                  </a:lnTo>
                  <a:lnTo>
                    <a:pt x="509961" y="335251"/>
                  </a:lnTo>
                  <a:lnTo>
                    <a:pt x="511543" y="309180"/>
                  </a:lnTo>
                  <a:lnTo>
                    <a:pt x="481134" y="271397"/>
                  </a:lnTo>
                  <a:lnTo>
                    <a:pt x="511888" y="255134"/>
                  </a:lnTo>
                  <a:lnTo>
                    <a:pt x="526268" y="236484"/>
                  </a:lnTo>
                  <a:lnTo>
                    <a:pt x="543863" y="192290"/>
                  </a:lnTo>
                  <a:lnTo>
                    <a:pt x="596443" y="158269"/>
                  </a:lnTo>
                  <a:lnTo>
                    <a:pt x="656264" y="183130"/>
                  </a:lnTo>
                  <a:lnTo>
                    <a:pt x="680608" y="144934"/>
                  </a:lnTo>
                  <a:lnTo>
                    <a:pt x="678148" y="88391"/>
                  </a:lnTo>
                  <a:lnTo>
                    <a:pt x="705218" y="80767"/>
                  </a:lnTo>
                  <a:lnTo>
                    <a:pt x="726073" y="93355"/>
                  </a:lnTo>
                  <a:lnTo>
                    <a:pt x="761157" y="91675"/>
                  </a:lnTo>
                  <a:lnTo>
                    <a:pt x="851879" y="118658"/>
                  </a:lnTo>
                  <a:lnTo>
                    <a:pt x="881405" y="96064"/>
                  </a:lnTo>
                  <a:lnTo>
                    <a:pt x="853437" y="84791"/>
                  </a:lnTo>
                  <a:lnTo>
                    <a:pt x="879111" y="66624"/>
                  </a:lnTo>
                  <a:lnTo>
                    <a:pt x="889151" y="22679"/>
                  </a:lnTo>
                  <a:lnTo>
                    <a:pt x="865295" y="2411"/>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8" name="ee4p_15_1_43215"/>
            <p:cNvSpPr>
              <a:spLocks noChangeAspect="1"/>
            </p:cNvSpPr>
            <p:nvPr>
              <p:custDataLst>
                <p:tags r:id="rId24"/>
              </p:custDataLst>
            </p:nvPr>
          </p:nvSpPr>
          <p:spPr bwMode="gray">
            <a:xfrm>
              <a:off x="3727462" y="3460545"/>
              <a:ext cx="684979" cy="412971"/>
            </a:xfrm>
            <a:custGeom>
              <a:avLst/>
              <a:gdLst/>
              <a:ahLst/>
              <a:cxnLst/>
              <a:rect l="l" t="t" r="r" b="b"/>
              <a:pathLst>
                <a:path w="684979" h="412971">
                  <a:moveTo>
                    <a:pt x="367704" y="368910"/>
                  </a:moveTo>
                  <a:lnTo>
                    <a:pt x="395774" y="382749"/>
                  </a:lnTo>
                  <a:lnTo>
                    <a:pt x="377775" y="400596"/>
                  </a:lnTo>
                  <a:lnTo>
                    <a:pt x="356111" y="379966"/>
                  </a:lnTo>
                  <a:close/>
                  <a:moveTo>
                    <a:pt x="308772" y="366420"/>
                  </a:moveTo>
                  <a:lnTo>
                    <a:pt x="330407" y="382571"/>
                  </a:lnTo>
                  <a:lnTo>
                    <a:pt x="346623" y="373773"/>
                  </a:lnTo>
                  <a:lnTo>
                    <a:pt x="365303" y="390948"/>
                  </a:lnTo>
                  <a:lnTo>
                    <a:pt x="361110" y="408555"/>
                  </a:lnTo>
                  <a:lnTo>
                    <a:pt x="339937" y="405523"/>
                  </a:lnTo>
                  <a:lnTo>
                    <a:pt x="327365" y="412971"/>
                  </a:lnTo>
                  <a:lnTo>
                    <a:pt x="283060" y="392376"/>
                  </a:lnTo>
                  <a:lnTo>
                    <a:pt x="289434" y="368812"/>
                  </a:lnTo>
                  <a:close/>
                  <a:moveTo>
                    <a:pt x="642134" y="330337"/>
                  </a:moveTo>
                  <a:lnTo>
                    <a:pt x="662627" y="330962"/>
                  </a:lnTo>
                  <a:lnTo>
                    <a:pt x="684979" y="343375"/>
                  </a:lnTo>
                  <a:lnTo>
                    <a:pt x="677871" y="362175"/>
                  </a:lnTo>
                  <a:lnTo>
                    <a:pt x="645243" y="351940"/>
                  </a:lnTo>
                  <a:close/>
                  <a:moveTo>
                    <a:pt x="216379" y="276418"/>
                  </a:moveTo>
                  <a:lnTo>
                    <a:pt x="236871" y="297631"/>
                  </a:lnTo>
                  <a:lnTo>
                    <a:pt x="250660" y="299846"/>
                  </a:lnTo>
                  <a:lnTo>
                    <a:pt x="265215" y="318456"/>
                  </a:lnTo>
                  <a:lnTo>
                    <a:pt x="261172" y="346875"/>
                  </a:lnTo>
                  <a:lnTo>
                    <a:pt x="236117" y="356960"/>
                  </a:lnTo>
                  <a:lnTo>
                    <a:pt x="217086" y="353236"/>
                  </a:lnTo>
                  <a:lnTo>
                    <a:pt x="175467" y="327623"/>
                  </a:lnTo>
                  <a:lnTo>
                    <a:pt x="160834" y="292240"/>
                  </a:lnTo>
                  <a:lnTo>
                    <a:pt x="180434" y="291390"/>
                  </a:lnTo>
                  <a:close/>
                  <a:moveTo>
                    <a:pt x="411899" y="208490"/>
                  </a:moveTo>
                  <a:lnTo>
                    <a:pt x="440175" y="219844"/>
                  </a:lnTo>
                  <a:lnTo>
                    <a:pt x="429783" y="235736"/>
                  </a:lnTo>
                  <a:lnTo>
                    <a:pt x="437669" y="267514"/>
                  </a:lnTo>
                  <a:lnTo>
                    <a:pt x="427063" y="279553"/>
                  </a:lnTo>
                  <a:lnTo>
                    <a:pt x="404329" y="285796"/>
                  </a:lnTo>
                  <a:lnTo>
                    <a:pt x="401200" y="303050"/>
                  </a:lnTo>
                  <a:lnTo>
                    <a:pt x="422858" y="323298"/>
                  </a:lnTo>
                  <a:lnTo>
                    <a:pt x="390220" y="336544"/>
                  </a:lnTo>
                  <a:lnTo>
                    <a:pt x="396216" y="360033"/>
                  </a:lnTo>
                  <a:lnTo>
                    <a:pt x="384671" y="365570"/>
                  </a:lnTo>
                  <a:lnTo>
                    <a:pt x="361174" y="355489"/>
                  </a:lnTo>
                  <a:lnTo>
                    <a:pt x="345006" y="336865"/>
                  </a:lnTo>
                  <a:lnTo>
                    <a:pt x="306399" y="332523"/>
                  </a:lnTo>
                  <a:lnTo>
                    <a:pt x="303674" y="307591"/>
                  </a:lnTo>
                  <a:lnTo>
                    <a:pt x="291773" y="270487"/>
                  </a:lnTo>
                  <a:lnTo>
                    <a:pt x="347690" y="236858"/>
                  </a:lnTo>
                  <a:lnTo>
                    <a:pt x="355309" y="260614"/>
                  </a:lnTo>
                  <a:lnTo>
                    <a:pt x="382082" y="238733"/>
                  </a:lnTo>
                  <a:lnTo>
                    <a:pt x="398535" y="209639"/>
                  </a:lnTo>
                  <a:close/>
                  <a:moveTo>
                    <a:pt x="80325" y="102088"/>
                  </a:moveTo>
                  <a:lnTo>
                    <a:pt x="63249" y="131805"/>
                  </a:lnTo>
                  <a:lnTo>
                    <a:pt x="47168" y="124932"/>
                  </a:lnTo>
                  <a:lnTo>
                    <a:pt x="53301" y="105753"/>
                  </a:lnTo>
                  <a:lnTo>
                    <a:pt x="56166" y="103437"/>
                  </a:lnTo>
                  <a:close/>
                  <a:moveTo>
                    <a:pt x="189971" y="79558"/>
                  </a:moveTo>
                  <a:lnTo>
                    <a:pt x="204652" y="89551"/>
                  </a:lnTo>
                  <a:lnTo>
                    <a:pt x="221262" y="134481"/>
                  </a:lnTo>
                  <a:lnTo>
                    <a:pt x="234939" y="154847"/>
                  </a:lnTo>
                  <a:lnTo>
                    <a:pt x="262200" y="151433"/>
                  </a:lnTo>
                  <a:lnTo>
                    <a:pt x="275878" y="160829"/>
                  </a:lnTo>
                  <a:lnTo>
                    <a:pt x="274597" y="178243"/>
                  </a:lnTo>
                  <a:lnTo>
                    <a:pt x="251570" y="197502"/>
                  </a:lnTo>
                  <a:lnTo>
                    <a:pt x="207792" y="201981"/>
                  </a:lnTo>
                  <a:lnTo>
                    <a:pt x="210978" y="236420"/>
                  </a:lnTo>
                  <a:lnTo>
                    <a:pt x="197593" y="243182"/>
                  </a:lnTo>
                  <a:lnTo>
                    <a:pt x="187027" y="265807"/>
                  </a:lnTo>
                  <a:lnTo>
                    <a:pt x="160737" y="271533"/>
                  </a:lnTo>
                  <a:lnTo>
                    <a:pt x="163922" y="283708"/>
                  </a:lnTo>
                  <a:lnTo>
                    <a:pt x="147052" y="303261"/>
                  </a:lnTo>
                  <a:lnTo>
                    <a:pt x="158848" y="326542"/>
                  </a:lnTo>
                  <a:lnTo>
                    <a:pt x="137613" y="339411"/>
                  </a:lnTo>
                  <a:lnTo>
                    <a:pt x="150354" y="359161"/>
                  </a:lnTo>
                  <a:lnTo>
                    <a:pt x="148024" y="372531"/>
                  </a:lnTo>
                  <a:lnTo>
                    <a:pt x="122760" y="387122"/>
                  </a:lnTo>
                  <a:lnTo>
                    <a:pt x="84343" y="373646"/>
                  </a:lnTo>
                  <a:lnTo>
                    <a:pt x="62106" y="374572"/>
                  </a:lnTo>
                  <a:lnTo>
                    <a:pt x="53751" y="355179"/>
                  </a:lnTo>
                  <a:lnTo>
                    <a:pt x="58910" y="341093"/>
                  </a:lnTo>
                  <a:lnTo>
                    <a:pt x="52609" y="302704"/>
                  </a:lnTo>
                  <a:lnTo>
                    <a:pt x="36104" y="298797"/>
                  </a:lnTo>
                  <a:lnTo>
                    <a:pt x="18766" y="280126"/>
                  </a:lnTo>
                  <a:lnTo>
                    <a:pt x="0" y="285332"/>
                  </a:lnTo>
                  <a:lnTo>
                    <a:pt x="17835" y="243270"/>
                  </a:lnTo>
                  <a:lnTo>
                    <a:pt x="29980" y="237737"/>
                  </a:lnTo>
                  <a:lnTo>
                    <a:pt x="22120" y="217292"/>
                  </a:lnTo>
                  <a:lnTo>
                    <a:pt x="6063" y="210043"/>
                  </a:lnTo>
                  <a:lnTo>
                    <a:pt x="7914" y="137284"/>
                  </a:lnTo>
                  <a:lnTo>
                    <a:pt x="24781" y="146095"/>
                  </a:lnTo>
                  <a:lnTo>
                    <a:pt x="60470" y="144932"/>
                  </a:lnTo>
                  <a:lnTo>
                    <a:pt x="86194" y="115317"/>
                  </a:lnTo>
                  <a:lnTo>
                    <a:pt x="105612" y="114585"/>
                  </a:lnTo>
                  <a:lnTo>
                    <a:pt x="117846" y="88013"/>
                  </a:lnTo>
                  <a:close/>
                  <a:moveTo>
                    <a:pt x="216406" y="0"/>
                  </a:moveTo>
                  <a:lnTo>
                    <a:pt x="227348" y="5948"/>
                  </a:lnTo>
                  <a:lnTo>
                    <a:pt x="238260" y="23157"/>
                  </a:lnTo>
                  <a:lnTo>
                    <a:pt x="238913" y="56849"/>
                  </a:lnTo>
                  <a:lnTo>
                    <a:pt x="218187" y="89301"/>
                  </a:lnTo>
                  <a:lnTo>
                    <a:pt x="186492" y="75402"/>
                  </a:lnTo>
                  <a:lnTo>
                    <a:pt x="170368" y="75147"/>
                  </a:lnTo>
                  <a:lnTo>
                    <a:pt x="112549" y="89097"/>
                  </a:lnTo>
                  <a:lnTo>
                    <a:pt x="102436" y="82284"/>
                  </a:lnTo>
                  <a:lnTo>
                    <a:pt x="66304" y="95241"/>
                  </a:lnTo>
                  <a:lnTo>
                    <a:pt x="56166" y="103437"/>
                  </a:lnTo>
                  <a:lnTo>
                    <a:pt x="54003" y="103558"/>
                  </a:lnTo>
                  <a:lnTo>
                    <a:pt x="53301" y="105753"/>
                  </a:lnTo>
                  <a:lnTo>
                    <a:pt x="38090" y="118051"/>
                  </a:lnTo>
                  <a:lnTo>
                    <a:pt x="15120" y="115651"/>
                  </a:lnTo>
                  <a:lnTo>
                    <a:pt x="27870" y="93288"/>
                  </a:lnTo>
                  <a:lnTo>
                    <a:pt x="52740" y="70323"/>
                  </a:lnTo>
                  <a:lnTo>
                    <a:pt x="127973" y="65057"/>
                  </a:lnTo>
                  <a:lnTo>
                    <a:pt x="142215" y="55719"/>
                  </a:lnTo>
                  <a:lnTo>
                    <a:pt x="182071" y="5097"/>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9" name="ee4p_20_1_43215"/>
            <p:cNvSpPr>
              <a:spLocks noChangeAspect="1"/>
            </p:cNvSpPr>
            <p:nvPr>
              <p:custDataLst>
                <p:tags r:id="rId25"/>
              </p:custDataLst>
            </p:nvPr>
          </p:nvSpPr>
          <p:spPr bwMode="gray">
            <a:xfrm>
              <a:off x="3500957" y="4456021"/>
              <a:ext cx="75609" cy="84903"/>
            </a:xfrm>
            <a:custGeom>
              <a:avLst/>
              <a:gdLst/>
              <a:ahLst/>
              <a:cxnLst/>
              <a:rect l="0" t="0" r="0" b="0"/>
              <a:pathLst>
                <a:path w="75609" h="84903">
                  <a:moveTo>
                    <a:pt x="38889" y="0"/>
                  </a:moveTo>
                  <a:lnTo>
                    <a:pt x="48356" y="29153"/>
                  </a:lnTo>
                  <a:lnTo>
                    <a:pt x="75608" y="51207"/>
                  </a:lnTo>
                  <a:lnTo>
                    <a:pt x="60161" y="70322"/>
                  </a:lnTo>
                  <a:lnTo>
                    <a:pt x="61090" y="83229"/>
                  </a:lnTo>
                  <a:lnTo>
                    <a:pt x="42949" y="78508"/>
                  </a:lnTo>
                  <a:lnTo>
                    <a:pt x="24196" y="84902"/>
                  </a:lnTo>
                  <a:lnTo>
                    <a:pt x="7969" y="73582"/>
                  </a:lnTo>
                  <a:lnTo>
                    <a:pt x="14568" y="53074"/>
                  </a:lnTo>
                  <a:lnTo>
                    <a:pt x="0" y="29432"/>
                  </a:lnTo>
                  <a:lnTo>
                    <a:pt x="15434" y="2244"/>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0" name="ee4p_21_1_43215"/>
            <p:cNvSpPr>
              <a:spLocks noChangeAspect="1"/>
            </p:cNvSpPr>
            <p:nvPr>
              <p:custDataLst>
                <p:tags r:id="rId26"/>
              </p:custDataLst>
            </p:nvPr>
          </p:nvSpPr>
          <p:spPr bwMode="gray">
            <a:xfrm>
              <a:off x="3271774" y="4025635"/>
              <a:ext cx="372102" cy="351110"/>
            </a:xfrm>
            <a:custGeom>
              <a:avLst/>
              <a:gdLst/>
              <a:ahLst/>
              <a:cxnLst/>
              <a:rect l="l" t="t" r="r" b="b"/>
              <a:pathLst>
                <a:path w="372102" h="351110">
                  <a:moveTo>
                    <a:pt x="14560" y="267495"/>
                  </a:moveTo>
                  <a:lnTo>
                    <a:pt x="48350" y="276651"/>
                  </a:lnTo>
                  <a:lnTo>
                    <a:pt x="83950" y="275142"/>
                  </a:lnTo>
                  <a:lnTo>
                    <a:pt x="57245" y="292109"/>
                  </a:lnTo>
                  <a:lnTo>
                    <a:pt x="21748" y="280638"/>
                  </a:lnTo>
                  <a:lnTo>
                    <a:pt x="5820" y="288437"/>
                  </a:lnTo>
                  <a:lnTo>
                    <a:pt x="0" y="272590"/>
                  </a:lnTo>
                  <a:close/>
                  <a:moveTo>
                    <a:pt x="333594" y="0"/>
                  </a:moveTo>
                  <a:lnTo>
                    <a:pt x="344552" y="17889"/>
                  </a:lnTo>
                  <a:lnTo>
                    <a:pt x="370965" y="29842"/>
                  </a:lnTo>
                  <a:lnTo>
                    <a:pt x="372102" y="59504"/>
                  </a:lnTo>
                  <a:lnTo>
                    <a:pt x="359960" y="80585"/>
                  </a:lnTo>
                  <a:lnTo>
                    <a:pt x="356888" y="107564"/>
                  </a:lnTo>
                  <a:lnTo>
                    <a:pt x="326660" y="107249"/>
                  </a:lnTo>
                  <a:lnTo>
                    <a:pt x="322276" y="128034"/>
                  </a:lnTo>
                  <a:lnTo>
                    <a:pt x="346398" y="134498"/>
                  </a:lnTo>
                  <a:lnTo>
                    <a:pt x="358494" y="145466"/>
                  </a:lnTo>
                  <a:lnTo>
                    <a:pt x="350540" y="161743"/>
                  </a:lnTo>
                  <a:lnTo>
                    <a:pt x="323901" y="185984"/>
                  </a:lnTo>
                  <a:lnTo>
                    <a:pt x="331067" y="200266"/>
                  </a:lnTo>
                  <a:lnTo>
                    <a:pt x="292443" y="212699"/>
                  </a:lnTo>
                  <a:lnTo>
                    <a:pt x="260098" y="210241"/>
                  </a:lnTo>
                  <a:lnTo>
                    <a:pt x="257844" y="232964"/>
                  </a:lnTo>
                  <a:lnTo>
                    <a:pt x="276366" y="258867"/>
                  </a:lnTo>
                  <a:lnTo>
                    <a:pt x="261781" y="288697"/>
                  </a:lnTo>
                  <a:lnTo>
                    <a:pt x="263640" y="302482"/>
                  </a:lnTo>
                  <a:lnTo>
                    <a:pt x="246349" y="311217"/>
                  </a:lnTo>
                  <a:lnTo>
                    <a:pt x="263284" y="336044"/>
                  </a:lnTo>
                  <a:lnTo>
                    <a:pt x="256782" y="351110"/>
                  </a:lnTo>
                  <a:lnTo>
                    <a:pt x="225836" y="347539"/>
                  </a:lnTo>
                  <a:lnTo>
                    <a:pt x="240783" y="301251"/>
                  </a:lnTo>
                  <a:lnTo>
                    <a:pt x="181318" y="280607"/>
                  </a:lnTo>
                  <a:lnTo>
                    <a:pt x="164864" y="269343"/>
                  </a:lnTo>
                  <a:lnTo>
                    <a:pt x="123307" y="265679"/>
                  </a:lnTo>
                  <a:lnTo>
                    <a:pt x="113305" y="257910"/>
                  </a:lnTo>
                  <a:lnTo>
                    <a:pt x="84806" y="271743"/>
                  </a:lnTo>
                  <a:lnTo>
                    <a:pt x="58848" y="260576"/>
                  </a:lnTo>
                  <a:lnTo>
                    <a:pt x="43398" y="270475"/>
                  </a:lnTo>
                  <a:lnTo>
                    <a:pt x="20079" y="263528"/>
                  </a:lnTo>
                  <a:lnTo>
                    <a:pt x="17968" y="244232"/>
                  </a:lnTo>
                  <a:lnTo>
                    <a:pt x="42284" y="242126"/>
                  </a:lnTo>
                  <a:lnTo>
                    <a:pt x="48314" y="214628"/>
                  </a:lnTo>
                  <a:lnTo>
                    <a:pt x="62018" y="210474"/>
                  </a:lnTo>
                  <a:lnTo>
                    <a:pt x="73594" y="191077"/>
                  </a:lnTo>
                  <a:lnTo>
                    <a:pt x="97440" y="166911"/>
                  </a:lnTo>
                  <a:lnTo>
                    <a:pt x="114562" y="137200"/>
                  </a:lnTo>
                  <a:lnTo>
                    <a:pt x="130360" y="68916"/>
                  </a:lnTo>
                  <a:lnTo>
                    <a:pt x="145850" y="75411"/>
                  </a:lnTo>
                  <a:lnTo>
                    <a:pt x="162566" y="68635"/>
                  </a:lnTo>
                  <a:lnTo>
                    <a:pt x="197484" y="43748"/>
                  </a:lnTo>
                  <a:lnTo>
                    <a:pt x="214786" y="21396"/>
                  </a:lnTo>
                  <a:lnTo>
                    <a:pt x="244104" y="9856"/>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1" name="ee4p_52_1_43215"/>
            <p:cNvSpPr>
              <a:spLocks noChangeAspect="1"/>
            </p:cNvSpPr>
            <p:nvPr>
              <p:custDataLst>
                <p:tags r:id="rId27"/>
              </p:custDataLst>
            </p:nvPr>
          </p:nvSpPr>
          <p:spPr bwMode="gray">
            <a:xfrm>
              <a:off x="4314473" y="3843578"/>
              <a:ext cx="963466" cy="749537"/>
            </a:xfrm>
            <a:custGeom>
              <a:avLst/>
              <a:gdLst/>
              <a:ahLst/>
              <a:cxnLst/>
              <a:rect l="0" t="0" r="0" b="0"/>
              <a:pathLst>
                <a:path w="963466" h="749537">
                  <a:moveTo>
                    <a:pt x="836868" y="62773"/>
                  </a:moveTo>
                  <a:lnTo>
                    <a:pt x="889651" y="77650"/>
                  </a:lnTo>
                  <a:lnTo>
                    <a:pt x="903999" y="90759"/>
                  </a:lnTo>
                  <a:lnTo>
                    <a:pt x="906783" y="116885"/>
                  </a:lnTo>
                  <a:lnTo>
                    <a:pt x="910112" y="141897"/>
                  </a:lnTo>
                  <a:lnTo>
                    <a:pt x="936208" y="210973"/>
                  </a:lnTo>
                  <a:lnTo>
                    <a:pt x="945597" y="224247"/>
                  </a:lnTo>
                  <a:lnTo>
                    <a:pt x="947809" y="280546"/>
                  </a:lnTo>
                  <a:lnTo>
                    <a:pt x="931109" y="292930"/>
                  </a:lnTo>
                  <a:lnTo>
                    <a:pt x="896478" y="306807"/>
                  </a:lnTo>
                  <a:lnTo>
                    <a:pt x="877845" y="330462"/>
                  </a:lnTo>
                  <a:lnTo>
                    <a:pt x="876692" y="343849"/>
                  </a:lnTo>
                  <a:lnTo>
                    <a:pt x="904669" y="350730"/>
                  </a:lnTo>
                  <a:lnTo>
                    <a:pt x="923655" y="374252"/>
                  </a:lnTo>
                  <a:lnTo>
                    <a:pt x="909624" y="424190"/>
                  </a:lnTo>
                  <a:lnTo>
                    <a:pt x="924448" y="449786"/>
                  </a:lnTo>
                  <a:lnTo>
                    <a:pt x="918516" y="460952"/>
                  </a:lnTo>
                  <a:lnTo>
                    <a:pt x="940371" y="481678"/>
                  </a:lnTo>
                  <a:lnTo>
                    <a:pt x="950890" y="508118"/>
                  </a:lnTo>
                  <a:lnTo>
                    <a:pt x="963465" y="522759"/>
                  </a:lnTo>
                  <a:lnTo>
                    <a:pt x="963293" y="552875"/>
                  </a:lnTo>
                  <a:lnTo>
                    <a:pt x="953509" y="576685"/>
                  </a:lnTo>
                  <a:lnTo>
                    <a:pt x="925018" y="581361"/>
                  </a:lnTo>
                  <a:lnTo>
                    <a:pt x="884011" y="617968"/>
                  </a:lnTo>
                  <a:lnTo>
                    <a:pt x="822221" y="688079"/>
                  </a:lnTo>
                  <a:lnTo>
                    <a:pt x="832231" y="708184"/>
                  </a:lnTo>
                  <a:lnTo>
                    <a:pt x="826037" y="749536"/>
                  </a:lnTo>
                  <a:lnTo>
                    <a:pt x="815072" y="743411"/>
                  </a:lnTo>
                  <a:lnTo>
                    <a:pt x="800271" y="741700"/>
                  </a:lnTo>
                  <a:lnTo>
                    <a:pt x="763272" y="726355"/>
                  </a:lnTo>
                  <a:lnTo>
                    <a:pt x="753837" y="711153"/>
                  </a:lnTo>
                  <a:lnTo>
                    <a:pt x="721673" y="699969"/>
                  </a:lnTo>
                  <a:lnTo>
                    <a:pt x="690339" y="696763"/>
                  </a:lnTo>
                  <a:lnTo>
                    <a:pt x="656874" y="717272"/>
                  </a:lnTo>
                  <a:lnTo>
                    <a:pt x="625864" y="702691"/>
                  </a:lnTo>
                  <a:lnTo>
                    <a:pt x="597902" y="704162"/>
                  </a:lnTo>
                  <a:lnTo>
                    <a:pt x="580840" y="714679"/>
                  </a:lnTo>
                  <a:lnTo>
                    <a:pt x="573390" y="731857"/>
                  </a:lnTo>
                  <a:lnTo>
                    <a:pt x="546623" y="720943"/>
                  </a:lnTo>
                  <a:lnTo>
                    <a:pt x="546436" y="702997"/>
                  </a:lnTo>
                  <a:lnTo>
                    <a:pt x="532302" y="703067"/>
                  </a:lnTo>
                  <a:lnTo>
                    <a:pt x="515167" y="677546"/>
                  </a:lnTo>
                  <a:lnTo>
                    <a:pt x="492551" y="690479"/>
                  </a:lnTo>
                  <a:lnTo>
                    <a:pt x="484785" y="703920"/>
                  </a:lnTo>
                  <a:lnTo>
                    <a:pt x="455578" y="689684"/>
                  </a:lnTo>
                  <a:lnTo>
                    <a:pt x="451033" y="669354"/>
                  </a:lnTo>
                  <a:lnTo>
                    <a:pt x="433871" y="663887"/>
                  </a:lnTo>
                  <a:lnTo>
                    <a:pt x="414861" y="636678"/>
                  </a:lnTo>
                  <a:lnTo>
                    <a:pt x="384501" y="629608"/>
                  </a:lnTo>
                  <a:lnTo>
                    <a:pt x="359754" y="631302"/>
                  </a:lnTo>
                  <a:lnTo>
                    <a:pt x="334908" y="607257"/>
                  </a:lnTo>
                  <a:lnTo>
                    <a:pt x="336152" y="595098"/>
                  </a:lnTo>
                  <a:lnTo>
                    <a:pt x="309685" y="593518"/>
                  </a:lnTo>
                  <a:lnTo>
                    <a:pt x="287139" y="577598"/>
                  </a:lnTo>
                  <a:lnTo>
                    <a:pt x="278350" y="593626"/>
                  </a:lnTo>
                  <a:lnTo>
                    <a:pt x="247927" y="616673"/>
                  </a:lnTo>
                  <a:lnTo>
                    <a:pt x="214589" y="580861"/>
                  </a:lnTo>
                  <a:lnTo>
                    <a:pt x="198598" y="574147"/>
                  </a:lnTo>
                  <a:lnTo>
                    <a:pt x="222711" y="555413"/>
                  </a:lnTo>
                  <a:lnTo>
                    <a:pt x="212860" y="544986"/>
                  </a:lnTo>
                  <a:lnTo>
                    <a:pt x="166436" y="542461"/>
                  </a:lnTo>
                  <a:lnTo>
                    <a:pt x="112877" y="519505"/>
                  </a:lnTo>
                  <a:lnTo>
                    <a:pt x="105930" y="501987"/>
                  </a:lnTo>
                  <a:lnTo>
                    <a:pt x="81448" y="500413"/>
                  </a:lnTo>
                  <a:lnTo>
                    <a:pt x="83096" y="518537"/>
                  </a:lnTo>
                  <a:lnTo>
                    <a:pt x="65807" y="518342"/>
                  </a:lnTo>
                  <a:lnTo>
                    <a:pt x="81346" y="490101"/>
                  </a:lnTo>
                  <a:lnTo>
                    <a:pt x="86505" y="470605"/>
                  </a:lnTo>
                  <a:lnTo>
                    <a:pt x="77896" y="441333"/>
                  </a:lnTo>
                  <a:lnTo>
                    <a:pt x="57332" y="434366"/>
                  </a:lnTo>
                  <a:lnTo>
                    <a:pt x="58970" y="416193"/>
                  </a:lnTo>
                  <a:lnTo>
                    <a:pt x="43494" y="395238"/>
                  </a:lnTo>
                  <a:lnTo>
                    <a:pt x="59589" y="364702"/>
                  </a:lnTo>
                  <a:lnTo>
                    <a:pt x="53164" y="340060"/>
                  </a:lnTo>
                  <a:lnTo>
                    <a:pt x="37844" y="321968"/>
                  </a:lnTo>
                  <a:lnTo>
                    <a:pt x="47617" y="308779"/>
                  </a:lnTo>
                  <a:lnTo>
                    <a:pt x="43998" y="294020"/>
                  </a:lnTo>
                  <a:lnTo>
                    <a:pt x="0" y="266053"/>
                  </a:lnTo>
                  <a:lnTo>
                    <a:pt x="39" y="248059"/>
                  </a:lnTo>
                  <a:lnTo>
                    <a:pt x="19562" y="236220"/>
                  </a:lnTo>
                  <a:lnTo>
                    <a:pt x="28015" y="211372"/>
                  </a:lnTo>
                  <a:lnTo>
                    <a:pt x="12338" y="155359"/>
                  </a:lnTo>
                  <a:lnTo>
                    <a:pt x="38895" y="153921"/>
                  </a:lnTo>
                  <a:lnTo>
                    <a:pt x="49050" y="124802"/>
                  </a:lnTo>
                  <a:lnTo>
                    <a:pt x="63047" y="106830"/>
                  </a:lnTo>
                  <a:lnTo>
                    <a:pt x="111073" y="91514"/>
                  </a:lnTo>
                  <a:lnTo>
                    <a:pt x="194284" y="72429"/>
                  </a:lnTo>
                  <a:lnTo>
                    <a:pt x="231479" y="38890"/>
                  </a:lnTo>
                  <a:lnTo>
                    <a:pt x="271785" y="29474"/>
                  </a:lnTo>
                  <a:lnTo>
                    <a:pt x="301207" y="13369"/>
                  </a:lnTo>
                  <a:lnTo>
                    <a:pt x="370056" y="226"/>
                  </a:lnTo>
                  <a:lnTo>
                    <a:pt x="405744" y="0"/>
                  </a:lnTo>
                  <a:lnTo>
                    <a:pt x="427306" y="37691"/>
                  </a:lnTo>
                  <a:lnTo>
                    <a:pt x="430382" y="53856"/>
                  </a:lnTo>
                  <a:lnTo>
                    <a:pt x="455039" y="64123"/>
                  </a:lnTo>
                  <a:lnTo>
                    <a:pt x="493839" y="67258"/>
                  </a:lnTo>
                  <a:lnTo>
                    <a:pt x="508531" y="76501"/>
                  </a:lnTo>
                  <a:lnTo>
                    <a:pt x="547715" y="52225"/>
                  </a:lnTo>
                  <a:lnTo>
                    <a:pt x="627766" y="62380"/>
                  </a:lnTo>
                  <a:lnTo>
                    <a:pt x="706629" y="68792"/>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2" name="ee4p_17_1_43215"/>
            <p:cNvSpPr>
              <a:spLocks noChangeAspect="1"/>
            </p:cNvSpPr>
            <p:nvPr>
              <p:custDataLst>
                <p:tags r:id="rId28"/>
              </p:custDataLst>
            </p:nvPr>
          </p:nvSpPr>
          <p:spPr bwMode="gray">
            <a:xfrm>
              <a:off x="2483548" y="4333955"/>
              <a:ext cx="1386468" cy="1172643"/>
            </a:xfrm>
            <a:custGeom>
              <a:avLst/>
              <a:gdLst/>
              <a:ahLst/>
              <a:cxnLst/>
              <a:rect l="l" t="t" r="r" b="b"/>
              <a:pathLst>
                <a:path w="1386468" h="1172643">
                  <a:moveTo>
                    <a:pt x="1374576" y="988374"/>
                  </a:moveTo>
                  <a:lnTo>
                    <a:pt x="1380813" y="1013290"/>
                  </a:lnTo>
                  <a:lnTo>
                    <a:pt x="1376452" y="1026321"/>
                  </a:lnTo>
                  <a:lnTo>
                    <a:pt x="1384915" y="1043147"/>
                  </a:lnTo>
                  <a:lnTo>
                    <a:pt x="1386468" y="1094192"/>
                  </a:lnTo>
                  <a:lnTo>
                    <a:pt x="1374311" y="1109590"/>
                  </a:lnTo>
                  <a:lnTo>
                    <a:pt x="1370843" y="1146286"/>
                  </a:lnTo>
                  <a:lnTo>
                    <a:pt x="1355213" y="1172643"/>
                  </a:lnTo>
                  <a:lnTo>
                    <a:pt x="1343406" y="1172622"/>
                  </a:lnTo>
                  <a:lnTo>
                    <a:pt x="1312152" y="1154383"/>
                  </a:lnTo>
                  <a:lnTo>
                    <a:pt x="1321383" y="1146594"/>
                  </a:lnTo>
                  <a:lnTo>
                    <a:pt x="1305927" y="1130082"/>
                  </a:lnTo>
                  <a:lnTo>
                    <a:pt x="1311889" y="1114960"/>
                  </a:lnTo>
                  <a:lnTo>
                    <a:pt x="1292204" y="1088200"/>
                  </a:lnTo>
                  <a:lnTo>
                    <a:pt x="1290299" y="1063098"/>
                  </a:lnTo>
                  <a:lnTo>
                    <a:pt x="1301756" y="1045882"/>
                  </a:lnTo>
                  <a:lnTo>
                    <a:pt x="1345159" y="1021047"/>
                  </a:lnTo>
                  <a:lnTo>
                    <a:pt x="1366520" y="1020728"/>
                  </a:lnTo>
                  <a:lnTo>
                    <a:pt x="1363195" y="1009090"/>
                  </a:lnTo>
                  <a:close/>
                  <a:moveTo>
                    <a:pt x="708767" y="0"/>
                  </a:moveTo>
                  <a:lnTo>
                    <a:pt x="717372" y="35340"/>
                  </a:lnTo>
                  <a:lnTo>
                    <a:pt x="740130" y="49339"/>
                  </a:lnTo>
                  <a:lnTo>
                    <a:pt x="767294" y="39059"/>
                  </a:lnTo>
                  <a:lnTo>
                    <a:pt x="780416" y="71647"/>
                  </a:lnTo>
                  <a:lnTo>
                    <a:pt x="811404" y="75517"/>
                  </a:lnTo>
                  <a:lnTo>
                    <a:pt x="817876" y="96106"/>
                  </a:lnTo>
                  <a:lnTo>
                    <a:pt x="852143" y="93136"/>
                  </a:lnTo>
                  <a:lnTo>
                    <a:pt x="862645" y="103786"/>
                  </a:lnTo>
                  <a:lnTo>
                    <a:pt x="870894" y="130536"/>
                  </a:lnTo>
                  <a:lnTo>
                    <a:pt x="868305" y="143993"/>
                  </a:lnTo>
                  <a:lnTo>
                    <a:pt x="892587" y="146425"/>
                  </a:lnTo>
                  <a:lnTo>
                    <a:pt x="928655" y="139154"/>
                  </a:lnTo>
                  <a:lnTo>
                    <a:pt x="932835" y="165075"/>
                  </a:lnTo>
                  <a:lnTo>
                    <a:pt x="955560" y="168790"/>
                  </a:lnTo>
                  <a:lnTo>
                    <a:pt x="987466" y="189190"/>
                  </a:lnTo>
                  <a:lnTo>
                    <a:pt x="992538" y="201468"/>
                  </a:lnTo>
                  <a:lnTo>
                    <a:pt x="1025378" y="195648"/>
                  </a:lnTo>
                  <a:lnTo>
                    <a:pt x="1041605" y="206968"/>
                  </a:lnTo>
                  <a:lnTo>
                    <a:pt x="1060358" y="200574"/>
                  </a:lnTo>
                  <a:lnTo>
                    <a:pt x="1078499" y="205295"/>
                  </a:lnTo>
                  <a:lnTo>
                    <a:pt x="1094773" y="209735"/>
                  </a:lnTo>
                  <a:lnTo>
                    <a:pt x="1114425" y="243630"/>
                  </a:lnTo>
                  <a:lnTo>
                    <a:pt x="1132487" y="236152"/>
                  </a:lnTo>
                  <a:lnTo>
                    <a:pt x="1155099" y="249002"/>
                  </a:lnTo>
                  <a:lnTo>
                    <a:pt x="1187517" y="243111"/>
                  </a:lnTo>
                  <a:lnTo>
                    <a:pt x="1205024" y="258459"/>
                  </a:lnTo>
                  <a:lnTo>
                    <a:pt x="1229995" y="256824"/>
                  </a:lnTo>
                  <a:lnTo>
                    <a:pt x="1249355" y="266427"/>
                  </a:lnTo>
                  <a:lnTo>
                    <a:pt x="1246288" y="287035"/>
                  </a:lnTo>
                  <a:lnTo>
                    <a:pt x="1221480" y="308263"/>
                  </a:lnTo>
                  <a:lnTo>
                    <a:pt x="1204151" y="360980"/>
                  </a:lnTo>
                  <a:lnTo>
                    <a:pt x="1195658" y="373238"/>
                  </a:lnTo>
                  <a:lnTo>
                    <a:pt x="1199920" y="391352"/>
                  </a:lnTo>
                  <a:lnTo>
                    <a:pt x="1190011" y="429137"/>
                  </a:lnTo>
                  <a:lnTo>
                    <a:pt x="1196734" y="438758"/>
                  </a:lnTo>
                  <a:lnTo>
                    <a:pt x="1176594" y="458159"/>
                  </a:lnTo>
                  <a:lnTo>
                    <a:pt x="1138085" y="450503"/>
                  </a:lnTo>
                  <a:lnTo>
                    <a:pt x="1132103" y="467552"/>
                  </a:lnTo>
                  <a:lnTo>
                    <a:pt x="1135397" y="481292"/>
                  </a:lnTo>
                  <a:lnTo>
                    <a:pt x="1102670" y="512051"/>
                  </a:lnTo>
                  <a:lnTo>
                    <a:pt x="1084850" y="519763"/>
                  </a:lnTo>
                  <a:lnTo>
                    <a:pt x="1084664" y="540656"/>
                  </a:lnTo>
                  <a:lnTo>
                    <a:pt x="1053714" y="562614"/>
                  </a:lnTo>
                  <a:lnTo>
                    <a:pt x="1050024" y="576089"/>
                  </a:lnTo>
                  <a:lnTo>
                    <a:pt x="1059440" y="588143"/>
                  </a:lnTo>
                  <a:lnTo>
                    <a:pt x="1039558" y="615010"/>
                  </a:lnTo>
                  <a:lnTo>
                    <a:pt x="1055229" y="615522"/>
                  </a:lnTo>
                  <a:lnTo>
                    <a:pt x="1069719" y="606469"/>
                  </a:lnTo>
                  <a:lnTo>
                    <a:pt x="1064221" y="594760"/>
                  </a:lnTo>
                  <a:lnTo>
                    <a:pt x="1093206" y="577229"/>
                  </a:lnTo>
                  <a:lnTo>
                    <a:pt x="1122424" y="580775"/>
                  </a:lnTo>
                  <a:lnTo>
                    <a:pt x="1126656" y="598552"/>
                  </a:lnTo>
                  <a:lnTo>
                    <a:pt x="1120730" y="607936"/>
                  </a:lnTo>
                  <a:lnTo>
                    <a:pt x="1144081" y="641881"/>
                  </a:lnTo>
                  <a:lnTo>
                    <a:pt x="1122142" y="652315"/>
                  </a:lnTo>
                  <a:lnTo>
                    <a:pt x="1121222" y="665686"/>
                  </a:lnTo>
                  <a:lnTo>
                    <a:pt x="1139812" y="675929"/>
                  </a:lnTo>
                  <a:lnTo>
                    <a:pt x="1139740" y="692211"/>
                  </a:lnTo>
                  <a:lnTo>
                    <a:pt x="1157694" y="704395"/>
                  </a:lnTo>
                  <a:lnTo>
                    <a:pt x="1153028" y="722081"/>
                  </a:lnTo>
                  <a:lnTo>
                    <a:pt x="1103699" y="740616"/>
                  </a:lnTo>
                  <a:lnTo>
                    <a:pt x="1115402" y="762036"/>
                  </a:lnTo>
                  <a:lnTo>
                    <a:pt x="1139873" y="771565"/>
                  </a:lnTo>
                  <a:lnTo>
                    <a:pt x="1142586" y="784978"/>
                  </a:lnTo>
                  <a:lnTo>
                    <a:pt x="1125533" y="808977"/>
                  </a:lnTo>
                  <a:lnTo>
                    <a:pt x="1129786" y="827221"/>
                  </a:lnTo>
                  <a:lnTo>
                    <a:pt x="1140489" y="843669"/>
                  </a:lnTo>
                  <a:lnTo>
                    <a:pt x="1174350" y="857963"/>
                  </a:lnTo>
                  <a:lnTo>
                    <a:pt x="1204616" y="853382"/>
                  </a:lnTo>
                  <a:lnTo>
                    <a:pt x="1208740" y="861361"/>
                  </a:lnTo>
                  <a:lnTo>
                    <a:pt x="1189251" y="885280"/>
                  </a:lnTo>
                  <a:lnTo>
                    <a:pt x="1191004" y="897280"/>
                  </a:lnTo>
                  <a:lnTo>
                    <a:pt x="1155033" y="912635"/>
                  </a:lnTo>
                  <a:lnTo>
                    <a:pt x="1135052" y="926772"/>
                  </a:lnTo>
                  <a:lnTo>
                    <a:pt x="1129256" y="939220"/>
                  </a:lnTo>
                  <a:lnTo>
                    <a:pt x="1114191" y="941545"/>
                  </a:lnTo>
                  <a:lnTo>
                    <a:pt x="1106836" y="966536"/>
                  </a:lnTo>
                  <a:lnTo>
                    <a:pt x="1062362" y="976053"/>
                  </a:lnTo>
                  <a:lnTo>
                    <a:pt x="1055116" y="980386"/>
                  </a:lnTo>
                  <a:lnTo>
                    <a:pt x="1021782" y="974299"/>
                  </a:lnTo>
                  <a:lnTo>
                    <a:pt x="1012665" y="968479"/>
                  </a:lnTo>
                  <a:lnTo>
                    <a:pt x="985215" y="964581"/>
                  </a:lnTo>
                  <a:lnTo>
                    <a:pt x="980327" y="950475"/>
                  </a:lnTo>
                  <a:lnTo>
                    <a:pt x="951433" y="951482"/>
                  </a:lnTo>
                  <a:lnTo>
                    <a:pt x="943092" y="939497"/>
                  </a:lnTo>
                  <a:lnTo>
                    <a:pt x="924324" y="948578"/>
                  </a:lnTo>
                  <a:lnTo>
                    <a:pt x="907900" y="948023"/>
                  </a:lnTo>
                  <a:lnTo>
                    <a:pt x="899984" y="936232"/>
                  </a:lnTo>
                  <a:lnTo>
                    <a:pt x="871738" y="935483"/>
                  </a:lnTo>
                  <a:lnTo>
                    <a:pt x="850134" y="924703"/>
                  </a:lnTo>
                  <a:lnTo>
                    <a:pt x="829781" y="937738"/>
                  </a:lnTo>
                  <a:lnTo>
                    <a:pt x="818440" y="936241"/>
                  </a:lnTo>
                  <a:lnTo>
                    <a:pt x="767087" y="973218"/>
                  </a:lnTo>
                  <a:lnTo>
                    <a:pt x="748750" y="1007137"/>
                  </a:lnTo>
                  <a:lnTo>
                    <a:pt x="756431" y="1015390"/>
                  </a:lnTo>
                  <a:lnTo>
                    <a:pt x="758303" y="1043831"/>
                  </a:lnTo>
                  <a:lnTo>
                    <a:pt x="769609" y="1055604"/>
                  </a:lnTo>
                  <a:lnTo>
                    <a:pt x="737165" y="1052817"/>
                  </a:lnTo>
                  <a:lnTo>
                    <a:pt x="702700" y="1066748"/>
                  </a:lnTo>
                  <a:lnTo>
                    <a:pt x="680812" y="1055220"/>
                  </a:lnTo>
                  <a:lnTo>
                    <a:pt x="657140" y="1065354"/>
                  </a:lnTo>
                  <a:lnTo>
                    <a:pt x="650405" y="1054547"/>
                  </a:lnTo>
                  <a:lnTo>
                    <a:pt x="629402" y="1047550"/>
                  </a:lnTo>
                  <a:lnTo>
                    <a:pt x="629548" y="1037730"/>
                  </a:lnTo>
                  <a:lnTo>
                    <a:pt x="612320" y="1029860"/>
                  </a:lnTo>
                  <a:lnTo>
                    <a:pt x="601996" y="1035958"/>
                  </a:lnTo>
                  <a:lnTo>
                    <a:pt x="593746" y="1022427"/>
                  </a:lnTo>
                  <a:lnTo>
                    <a:pt x="575697" y="1023747"/>
                  </a:lnTo>
                  <a:lnTo>
                    <a:pt x="566271" y="1015036"/>
                  </a:lnTo>
                  <a:lnTo>
                    <a:pt x="530960" y="1005828"/>
                  </a:lnTo>
                  <a:lnTo>
                    <a:pt x="526287" y="1025757"/>
                  </a:lnTo>
                  <a:lnTo>
                    <a:pt x="490962" y="1027813"/>
                  </a:lnTo>
                  <a:lnTo>
                    <a:pt x="479414" y="1020367"/>
                  </a:lnTo>
                  <a:lnTo>
                    <a:pt x="461555" y="1026492"/>
                  </a:lnTo>
                  <a:lnTo>
                    <a:pt x="435620" y="1008843"/>
                  </a:lnTo>
                  <a:lnTo>
                    <a:pt x="419460" y="1013462"/>
                  </a:lnTo>
                  <a:lnTo>
                    <a:pt x="404184" y="1009280"/>
                  </a:lnTo>
                  <a:lnTo>
                    <a:pt x="391693" y="995998"/>
                  </a:lnTo>
                  <a:lnTo>
                    <a:pt x="370956" y="995027"/>
                  </a:lnTo>
                  <a:lnTo>
                    <a:pt x="354548" y="986762"/>
                  </a:lnTo>
                  <a:lnTo>
                    <a:pt x="322952" y="984132"/>
                  </a:lnTo>
                  <a:lnTo>
                    <a:pt x="328456" y="959786"/>
                  </a:lnTo>
                  <a:lnTo>
                    <a:pt x="289600" y="948399"/>
                  </a:lnTo>
                  <a:lnTo>
                    <a:pt x="308035" y="937850"/>
                  </a:lnTo>
                  <a:lnTo>
                    <a:pt x="322283" y="914016"/>
                  </a:lnTo>
                  <a:lnTo>
                    <a:pt x="335038" y="856465"/>
                  </a:lnTo>
                  <a:lnTo>
                    <a:pt x="341395" y="811666"/>
                  </a:lnTo>
                  <a:lnTo>
                    <a:pt x="340326" y="794787"/>
                  </a:lnTo>
                  <a:lnTo>
                    <a:pt x="349974" y="716828"/>
                  </a:lnTo>
                  <a:lnTo>
                    <a:pt x="355842" y="688012"/>
                  </a:lnTo>
                  <a:lnTo>
                    <a:pt x="384664" y="711449"/>
                  </a:lnTo>
                  <a:lnTo>
                    <a:pt x="383096" y="693730"/>
                  </a:lnTo>
                  <a:lnTo>
                    <a:pt x="345329" y="669089"/>
                  </a:lnTo>
                  <a:lnTo>
                    <a:pt x="360516" y="632046"/>
                  </a:lnTo>
                  <a:lnTo>
                    <a:pt x="344176" y="612284"/>
                  </a:lnTo>
                  <a:lnTo>
                    <a:pt x="343321" y="599019"/>
                  </a:lnTo>
                  <a:lnTo>
                    <a:pt x="320134" y="590744"/>
                  </a:lnTo>
                  <a:lnTo>
                    <a:pt x="287049" y="572729"/>
                  </a:lnTo>
                  <a:lnTo>
                    <a:pt x="282725" y="558577"/>
                  </a:lnTo>
                  <a:lnTo>
                    <a:pt x="255152" y="533116"/>
                  </a:lnTo>
                  <a:lnTo>
                    <a:pt x="253890" y="524497"/>
                  </a:lnTo>
                  <a:lnTo>
                    <a:pt x="270476" y="507425"/>
                  </a:lnTo>
                  <a:lnTo>
                    <a:pt x="240099" y="482376"/>
                  </a:lnTo>
                  <a:lnTo>
                    <a:pt x="221100" y="477342"/>
                  </a:lnTo>
                  <a:lnTo>
                    <a:pt x="217864" y="466592"/>
                  </a:lnTo>
                  <a:lnTo>
                    <a:pt x="226168" y="449920"/>
                  </a:lnTo>
                  <a:lnTo>
                    <a:pt x="198180" y="444604"/>
                  </a:lnTo>
                  <a:lnTo>
                    <a:pt x="190327" y="434770"/>
                  </a:lnTo>
                  <a:lnTo>
                    <a:pt x="162909" y="441881"/>
                  </a:lnTo>
                  <a:lnTo>
                    <a:pt x="140515" y="425018"/>
                  </a:lnTo>
                  <a:lnTo>
                    <a:pt x="121559" y="417881"/>
                  </a:lnTo>
                  <a:lnTo>
                    <a:pt x="89834" y="413245"/>
                  </a:lnTo>
                  <a:lnTo>
                    <a:pt x="84996" y="405208"/>
                  </a:lnTo>
                  <a:lnTo>
                    <a:pt x="41727" y="406863"/>
                  </a:lnTo>
                  <a:lnTo>
                    <a:pt x="34482" y="392872"/>
                  </a:lnTo>
                  <a:lnTo>
                    <a:pt x="15232" y="379785"/>
                  </a:lnTo>
                  <a:lnTo>
                    <a:pt x="49285" y="371830"/>
                  </a:lnTo>
                  <a:lnTo>
                    <a:pt x="26885" y="341486"/>
                  </a:lnTo>
                  <a:lnTo>
                    <a:pt x="1649" y="347717"/>
                  </a:lnTo>
                  <a:lnTo>
                    <a:pt x="0" y="325868"/>
                  </a:lnTo>
                  <a:lnTo>
                    <a:pt x="7241" y="317612"/>
                  </a:lnTo>
                  <a:lnTo>
                    <a:pt x="41587" y="304397"/>
                  </a:lnTo>
                  <a:lnTo>
                    <a:pt x="76417" y="298129"/>
                  </a:lnTo>
                  <a:lnTo>
                    <a:pt x="108673" y="301888"/>
                  </a:lnTo>
                  <a:lnTo>
                    <a:pt x="149545" y="280635"/>
                  </a:lnTo>
                  <a:lnTo>
                    <a:pt x="170600" y="293214"/>
                  </a:lnTo>
                  <a:lnTo>
                    <a:pt x="207916" y="323062"/>
                  </a:lnTo>
                  <a:lnTo>
                    <a:pt x="237173" y="304795"/>
                  </a:lnTo>
                  <a:lnTo>
                    <a:pt x="249072" y="316396"/>
                  </a:lnTo>
                  <a:lnTo>
                    <a:pt x="274846" y="302206"/>
                  </a:lnTo>
                  <a:lnTo>
                    <a:pt x="291368" y="313610"/>
                  </a:lnTo>
                  <a:lnTo>
                    <a:pt x="312488" y="310158"/>
                  </a:lnTo>
                  <a:lnTo>
                    <a:pt x="309063" y="282922"/>
                  </a:lnTo>
                  <a:lnTo>
                    <a:pt x="311815" y="260987"/>
                  </a:lnTo>
                  <a:lnTo>
                    <a:pt x="306887" y="239495"/>
                  </a:lnTo>
                  <a:lnTo>
                    <a:pt x="286040" y="214217"/>
                  </a:lnTo>
                  <a:lnTo>
                    <a:pt x="282921" y="183515"/>
                  </a:lnTo>
                  <a:lnTo>
                    <a:pt x="305293" y="183388"/>
                  </a:lnTo>
                  <a:lnTo>
                    <a:pt x="325008" y="175748"/>
                  </a:lnTo>
                  <a:lnTo>
                    <a:pt x="343584" y="185933"/>
                  </a:lnTo>
                  <a:lnTo>
                    <a:pt x="335872" y="195723"/>
                  </a:lnTo>
                  <a:lnTo>
                    <a:pt x="354245" y="218966"/>
                  </a:lnTo>
                  <a:lnTo>
                    <a:pt x="423949" y="222408"/>
                  </a:lnTo>
                  <a:lnTo>
                    <a:pt x="453979" y="226815"/>
                  </a:lnTo>
                  <a:lnTo>
                    <a:pt x="473219" y="214605"/>
                  </a:lnTo>
                  <a:lnTo>
                    <a:pt x="469962" y="196444"/>
                  </a:lnTo>
                  <a:lnTo>
                    <a:pt x="482344" y="174535"/>
                  </a:lnTo>
                  <a:lnTo>
                    <a:pt x="516825" y="157987"/>
                  </a:lnTo>
                  <a:lnTo>
                    <a:pt x="561663" y="149029"/>
                  </a:lnTo>
                  <a:lnTo>
                    <a:pt x="603079" y="124593"/>
                  </a:lnTo>
                  <a:lnTo>
                    <a:pt x="611220" y="102883"/>
                  </a:lnTo>
                  <a:lnTo>
                    <a:pt x="615417" y="67173"/>
                  </a:lnTo>
                  <a:lnTo>
                    <a:pt x="615387" y="28092"/>
                  </a:lnTo>
                  <a:lnTo>
                    <a:pt x="629438" y="19489"/>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3" name="ee4p_36_1_43215"/>
            <p:cNvSpPr>
              <a:spLocks noChangeAspect="1"/>
            </p:cNvSpPr>
            <p:nvPr>
              <p:custDataLst>
                <p:tags r:id="rId29"/>
              </p:custDataLst>
            </p:nvPr>
          </p:nvSpPr>
          <p:spPr bwMode="gray">
            <a:xfrm>
              <a:off x="3523106" y="4746677"/>
              <a:ext cx="436155" cy="240953"/>
            </a:xfrm>
            <a:custGeom>
              <a:avLst/>
              <a:gdLst/>
              <a:ahLst/>
              <a:cxnLst/>
              <a:rect l="0" t="0" r="0" b="0"/>
              <a:pathLst>
                <a:path w="436155" h="240953">
                  <a:moveTo>
                    <a:pt x="347764" y="31932"/>
                  </a:moveTo>
                  <a:lnTo>
                    <a:pt x="356046" y="45029"/>
                  </a:lnTo>
                  <a:lnTo>
                    <a:pt x="345057" y="65213"/>
                  </a:lnTo>
                  <a:lnTo>
                    <a:pt x="340747" y="76553"/>
                  </a:lnTo>
                  <a:lnTo>
                    <a:pt x="352443" y="90882"/>
                  </a:lnTo>
                  <a:lnTo>
                    <a:pt x="380010" y="99658"/>
                  </a:lnTo>
                  <a:lnTo>
                    <a:pt x="400639" y="117719"/>
                  </a:lnTo>
                  <a:lnTo>
                    <a:pt x="412977" y="114623"/>
                  </a:lnTo>
                  <a:lnTo>
                    <a:pt x="424230" y="99453"/>
                  </a:lnTo>
                  <a:lnTo>
                    <a:pt x="435906" y="116013"/>
                  </a:lnTo>
                  <a:lnTo>
                    <a:pt x="429236" y="130785"/>
                  </a:lnTo>
                  <a:lnTo>
                    <a:pt x="436154" y="153922"/>
                  </a:lnTo>
                  <a:lnTo>
                    <a:pt x="400344" y="145747"/>
                  </a:lnTo>
                  <a:lnTo>
                    <a:pt x="394525" y="164986"/>
                  </a:lnTo>
                  <a:lnTo>
                    <a:pt x="407389" y="188978"/>
                  </a:lnTo>
                  <a:lnTo>
                    <a:pt x="394688" y="191991"/>
                  </a:lnTo>
                  <a:lnTo>
                    <a:pt x="381544" y="173715"/>
                  </a:lnTo>
                  <a:lnTo>
                    <a:pt x="362803" y="184361"/>
                  </a:lnTo>
                  <a:lnTo>
                    <a:pt x="345628" y="182263"/>
                  </a:lnTo>
                  <a:lnTo>
                    <a:pt x="338734" y="162894"/>
                  </a:lnTo>
                  <a:lnTo>
                    <a:pt x="321059" y="159609"/>
                  </a:lnTo>
                  <a:lnTo>
                    <a:pt x="322743" y="180270"/>
                  </a:lnTo>
                  <a:lnTo>
                    <a:pt x="312477" y="198205"/>
                  </a:lnTo>
                  <a:lnTo>
                    <a:pt x="295672" y="213533"/>
                  </a:lnTo>
                  <a:lnTo>
                    <a:pt x="296697" y="240952"/>
                  </a:lnTo>
                  <a:lnTo>
                    <a:pt x="273681" y="218807"/>
                  </a:lnTo>
                  <a:lnTo>
                    <a:pt x="268769" y="205008"/>
                  </a:lnTo>
                  <a:lnTo>
                    <a:pt x="255937" y="203719"/>
                  </a:lnTo>
                  <a:lnTo>
                    <a:pt x="238329" y="183683"/>
                  </a:lnTo>
                  <a:lnTo>
                    <a:pt x="241643" y="165194"/>
                  </a:lnTo>
                  <a:lnTo>
                    <a:pt x="205255" y="187524"/>
                  </a:lnTo>
                  <a:lnTo>
                    <a:pt x="212955" y="197745"/>
                  </a:lnTo>
                  <a:lnTo>
                    <a:pt x="195886" y="220278"/>
                  </a:lnTo>
                  <a:lnTo>
                    <a:pt x="183249" y="229345"/>
                  </a:lnTo>
                  <a:lnTo>
                    <a:pt x="162059" y="223398"/>
                  </a:lnTo>
                  <a:lnTo>
                    <a:pt x="128293" y="229422"/>
                  </a:lnTo>
                  <a:lnTo>
                    <a:pt x="104523" y="229159"/>
                  </a:lnTo>
                  <a:lnTo>
                    <a:pt x="81172" y="195214"/>
                  </a:lnTo>
                  <a:lnTo>
                    <a:pt x="87098" y="185830"/>
                  </a:lnTo>
                  <a:lnTo>
                    <a:pt x="82866" y="168053"/>
                  </a:lnTo>
                  <a:lnTo>
                    <a:pt x="53648" y="164507"/>
                  </a:lnTo>
                  <a:lnTo>
                    <a:pt x="24663" y="182038"/>
                  </a:lnTo>
                  <a:lnTo>
                    <a:pt x="30161" y="193747"/>
                  </a:lnTo>
                  <a:lnTo>
                    <a:pt x="15671" y="202800"/>
                  </a:lnTo>
                  <a:lnTo>
                    <a:pt x="0" y="202288"/>
                  </a:lnTo>
                  <a:lnTo>
                    <a:pt x="19882" y="175421"/>
                  </a:lnTo>
                  <a:lnTo>
                    <a:pt x="10466" y="163367"/>
                  </a:lnTo>
                  <a:lnTo>
                    <a:pt x="14156" y="149892"/>
                  </a:lnTo>
                  <a:lnTo>
                    <a:pt x="45106" y="127934"/>
                  </a:lnTo>
                  <a:lnTo>
                    <a:pt x="45292" y="107041"/>
                  </a:lnTo>
                  <a:lnTo>
                    <a:pt x="63112" y="99329"/>
                  </a:lnTo>
                  <a:lnTo>
                    <a:pt x="95839" y="68570"/>
                  </a:lnTo>
                  <a:lnTo>
                    <a:pt x="92545" y="54830"/>
                  </a:lnTo>
                  <a:lnTo>
                    <a:pt x="98527" y="37781"/>
                  </a:lnTo>
                  <a:lnTo>
                    <a:pt x="137036" y="45437"/>
                  </a:lnTo>
                  <a:lnTo>
                    <a:pt x="157176" y="26036"/>
                  </a:lnTo>
                  <a:lnTo>
                    <a:pt x="167702" y="32996"/>
                  </a:lnTo>
                  <a:lnTo>
                    <a:pt x="185818" y="26160"/>
                  </a:lnTo>
                  <a:lnTo>
                    <a:pt x="198752" y="30881"/>
                  </a:lnTo>
                  <a:lnTo>
                    <a:pt x="217044" y="22209"/>
                  </a:lnTo>
                  <a:lnTo>
                    <a:pt x="228474" y="28228"/>
                  </a:lnTo>
                  <a:lnTo>
                    <a:pt x="244259" y="3472"/>
                  </a:lnTo>
                  <a:lnTo>
                    <a:pt x="256190" y="0"/>
                  </a:lnTo>
                  <a:lnTo>
                    <a:pt x="278512" y="10983"/>
                  </a:lnTo>
                  <a:lnTo>
                    <a:pt x="318527" y="17573"/>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4" name="ee4p_5_1_43215"/>
            <p:cNvSpPr>
              <a:spLocks noChangeAspect="1"/>
            </p:cNvSpPr>
            <p:nvPr>
              <p:custDataLst>
                <p:tags r:id="rId30"/>
              </p:custDataLst>
            </p:nvPr>
          </p:nvSpPr>
          <p:spPr bwMode="gray">
            <a:xfrm>
              <a:off x="4505149" y="4649995"/>
              <a:ext cx="656273" cy="348201"/>
            </a:xfrm>
            <a:custGeom>
              <a:avLst/>
              <a:gdLst/>
              <a:ahLst/>
              <a:cxnLst/>
              <a:rect l="0" t="0" r="0" b="0"/>
              <a:pathLst>
                <a:path w="656273" h="348201">
                  <a:moveTo>
                    <a:pt x="584576" y="22277"/>
                  </a:moveTo>
                  <a:lnTo>
                    <a:pt x="606763" y="43254"/>
                  </a:lnTo>
                  <a:lnTo>
                    <a:pt x="616888" y="40804"/>
                  </a:lnTo>
                  <a:lnTo>
                    <a:pt x="634785" y="60836"/>
                  </a:lnTo>
                  <a:lnTo>
                    <a:pt x="649872" y="58349"/>
                  </a:lnTo>
                  <a:lnTo>
                    <a:pt x="656272" y="77859"/>
                  </a:lnTo>
                  <a:lnTo>
                    <a:pt x="635830" y="97897"/>
                  </a:lnTo>
                  <a:lnTo>
                    <a:pt x="595147" y="105340"/>
                  </a:lnTo>
                  <a:lnTo>
                    <a:pt x="586124" y="122477"/>
                  </a:lnTo>
                  <a:lnTo>
                    <a:pt x="571771" y="131572"/>
                  </a:lnTo>
                  <a:lnTo>
                    <a:pt x="572961" y="142666"/>
                  </a:lnTo>
                  <a:lnTo>
                    <a:pt x="559411" y="156474"/>
                  </a:lnTo>
                  <a:lnTo>
                    <a:pt x="543049" y="182939"/>
                  </a:lnTo>
                  <a:lnTo>
                    <a:pt x="524007" y="229043"/>
                  </a:lnTo>
                  <a:lnTo>
                    <a:pt x="504708" y="239896"/>
                  </a:lnTo>
                  <a:lnTo>
                    <a:pt x="490258" y="279661"/>
                  </a:lnTo>
                  <a:lnTo>
                    <a:pt x="448486" y="286144"/>
                  </a:lnTo>
                  <a:lnTo>
                    <a:pt x="401600" y="301188"/>
                  </a:lnTo>
                  <a:lnTo>
                    <a:pt x="369935" y="295156"/>
                  </a:lnTo>
                  <a:lnTo>
                    <a:pt x="358399" y="301017"/>
                  </a:lnTo>
                  <a:lnTo>
                    <a:pt x="334189" y="294852"/>
                  </a:lnTo>
                  <a:lnTo>
                    <a:pt x="306876" y="316860"/>
                  </a:lnTo>
                  <a:lnTo>
                    <a:pt x="289385" y="311636"/>
                  </a:lnTo>
                  <a:lnTo>
                    <a:pt x="268597" y="325989"/>
                  </a:lnTo>
                  <a:lnTo>
                    <a:pt x="250761" y="326357"/>
                  </a:lnTo>
                  <a:lnTo>
                    <a:pt x="225746" y="348200"/>
                  </a:lnTo>
                  <a:lnTo>
                    <a:pt x="194488" y="341894"/>
                  </a:lnTo>
                  <a:lnTo>
                    <a:pt x="170455" y="343151"/>
                  </a:lnTo>
                  <a:lnTo>
                    <a:pt x="150804" y="336429"/>
                  </a:lnTo>
                  <a:lnTo>
                    <a:pt x="140015" y="323978"/>
                  </a:lnTo>
                  <a:lnTo>
                    <a:pt x="110769" y="314716"/>
                  </a:lnTo>
                  <a:lnTo>
                    <a:pt x="103139" y="298222"/>
                  </a:lnTo>
                  <a:lnTo>
                    <a:pt x="83148" y="289281"/>
                  </a:lnTo>
                  <a:lnTo>
                    <a:pt x="72771" y="273567"/>
                  </a:lnTo>
                  <a:lnTo>
                    <a:pt x="46731" y="258817"/>
                  </a:lnTo>
                  <a:lnTo>
                    <a:pt x="26753" y="239088"/>
                  </a:lnTo>
                  <a:lnTo>
                    <a:pt x="17178" y="210509"/>
                  </a:lnTo>
                  <a:lnTo>
                    <a:pt x="0" y="210968"/>
                  </a:lnTo>
                  <a:lnTo>
                    <a:pt x="16337" y="194474"/>
                  </a:lnTo>
                  <a:lnTo>
                    <a:pt x="36645" y="193752"/>
                  </a:lnTo>
                  <a:lnTo>
                    <a:pt x="31011" y="169310"/>
                  </a:lnTo>
                  <a:lnTo>
                    <a:pt x="57248" y="130946"/>
                  </a:lnTo>
                  <a:lnTo>
                    <a:pt x="61461" y="111461"/>
                  </a:lnTo>
                  <a:lnTo>
                    <a:pt x="92544" y="105704"/>
                  </a:lnTo>
                  <a:lnTo>
                    <a:pt x="101304" y="71373"/>
                  </a:lnTo>
                  <a:lnTo>
                    <a:pt x="118073" y="73014"/>
                  </a:lnTo>
                  <a:lnTo>
                    <a:pt x="129417" y="86016"/>
                  </a:lnTo>
                  <a:lnTo>
                    <a:pt x="160830" y="104150"/>
                  </a:lnTo>
                  <a:lnTo>
                    <a:pt x="210854" y="105310"/>
                  </a:lnTo>
                  <a:lnTo>
                    <a:pt x="247226" y="101471"/>
                  </a:lnTo>
                  <a:lnTo>
                    <a:pt x="259891" y="94093"/>
                  </a:lnTo>
                  <a:lnTo>
                    <a:pt x="256864" y="74033"/>
                  </a:lnTo>
                  <a:lnTo>
                    <a:pt x="267148" y="66412"/>
                  </a:lnTo>
                  <a:lnTo>
                    <a:pt x="323938" y="61934"/>
                  </a:lnTo>
                  <a:lnTo>
                    <a:pt x="340305" y="41276"/>
                  </a:lnTo>
                  <a:lnTo>
                    <a:pt x="358828" y="51329"/>
                  </a:lnTo>
                  <a:lnTo>
                    <a:pt x="378940" y="50317"/>
                  </a:lnTo>
                  <a:lnTo>
                    <a:pt x="403560" y="39800"/>
                  </a:lnTo>
                  <a:lnTo>
                    <a:pt x="424597" y="6904"/>
                  </a:lnTo>
                  <a:lnTo>
                    <a:pt x="456952" y="0"/>
                  </a:lnTo>
                  <a:lnTo>
                    <a:pt x="468548" y="7599"/>
                  </a:lnTo>
                  <a:lnTo>
                    <a:pt x="488218" y="8061"/>
                  </a:lnTo>
                  <a:lnTo>
                    <a:pt x="516400" y="986"/>
                  </a:lnTo>
                  <a:lnTo>
                    <a:pt x="532191" y="9121"/>
                  </a:lnTo>
                  <a:lnTo>
                    <a:pt x="537478" y="24036"/>
                  </a:lnTo>
                  <a:lnTo>
                    <a:pt x="553601" y="30801"/>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5" name="ee4p_6_1_43215"/>
            <p:cNvSpPr>
              <a:spLocks noChangeAspect="1"/>
            </p:cNvSpPr>
            <p:nvPr>
              <p:custDataLst>
                <p:tags r:id="rId31"/>
              </p:custDataLst>
            </p:nvPr>
          </p:nvSpPr>
          <p:spPr bwMode="gray">
            <a:xfrm>
              <a:off x="2046275" y="5233556"/>
              <a:ext cx="1315628" cy="884664"/>
            </a:xfrm>
            <a:custGeom>
              <a:avLst/>
              <a:gdLst/>
              <a:ahLst/>
              <a:cxnLst/>
              <a:rect l="l" t="t" r="r" b="b"/>
              <a:pathLst>
                <a:path w="1315628" h="884664">
                  <a:moveTo>
                    <a:pt x="1048888" y="537400"/>
                  </a:moveTo>
                  <a:lnTo>
                    <a:pt x="1056418" y="546371"/>
                  </a:lnTo>
                  <a:lnTo>
                    <a:pt x="1047612" y="556616"/>
                  </a:lnTo>
                  <a:lnTo>
                    <a:pt x="1029590" y="565105"/>
                  </a:lnTo>
                  <a:lnTo>
                    <a:pt x="1019065" y="554096"/>
                  </a:lnTo>
                  <a:lnTo>
                    <a:pt x="1030774" y="542970"/>
                  </a:lnTo>
                  <a:close/>
                  <a:moveTo>
                    <a:pt x="1210578" y="442015"/>
                  </a:moveTo>
                  <a:lnTo>
                    <a:pt x="1198673" y="447062"/>
                  </a:lnTo>
                  <a:lnTo>
                    <a:pt x="1204373" y="463037"/>
                  </a:lnTo>
                  <a:lnTo>
                    <a:pt x="1234232" y="465951"/>
                  </a:lnTo>
                  <a:lnTo>
                    <a:pt x="1232183" y="478566"/>
                  </a:lnTo>
                  <a:lnTo>
                    <a:pt x="1219094" y="493400"/>
                  </a:lnTo>
                  <a:lnTo>
                    <a:pt x="1212166" y="509850"/>
                  </a:lnTo>
                  <a:lnTo>
                    <a:pt x="1194796" y="520475"/>
                  </a:lnTo>
                  <a:lnTo>
                    <a:pt x="1187485" y="510554"/>
                  </a:lnTo>
                  <a:lnTo>
                    <a:pt x="1169380" y="509394"/>
                  </a:lnTo>
                  <a:lnTo>
                    <a:pt x="1159909" y="487910"/>
                  </a:lnTo>
                  <a:lnTo>
                    <a:pt x="1130566" y="490898"/>
                  </a:lnTo>
                  <a:lnTo>
                    <a:pt x="1128818" y="480941"/>
                  </a:lnTo>
                  <a:lnTo>
                    <a:pt x="1146965" y="471078"/>
                  </a:lnTo>
                  <a:lnTo>
                    <a:pt x="1168537" y="453381"/>
                  </a:lnTo>
                  <a:lnTo>
                    <a:pt x="1185007" y="446233"/>
                  </a:lnTo>
                  <a:close/>
                  <a:moveTo>
                    <a:pt x="1295834" y="430265"/>
                  </a:moveTo>
                  <a:lnTo>
                    <a:pt x="1315628" y="448658"/>
                  </a:lnTo>
                  <a:lnTo>
                    <a:pt x="1309901" y="458044"/>
                  </a:lnTo>
                  <a:lnTo>
                    <a:pt x="1288875" y="445879"/>
                  </a:lnTo>
                  <a:lnTo>
                    <a:pt x="1269302" y="445093"/>
                  </a:lnTo>
                  <a:lnTo>
                    <a:pt x="1271473" y="430798"/>
                  </a:lnTo>
                  <a:close/>
                  <a:moveTo>
                    <a:pt x="152991" y="0"/>
                  </a:moveTo>
                  <a:lnTo>
                    <a:pt x="187893" y="11043"/>
                  </a:lnTo>
                  <a:lnTo>
                    <a:pt x="199582" y="23190"/>
                  </a:lnTo>
                  <a:lnTo>
                    <a:pt x="284840" y="25192"/>
                  </a:lnTo>
                  <a:lnTo>
                    <a:pt x="324215" y="21274"/>
                  </a:lnTo>
                  <a:lnTo>
                    <a:pt x="334437" y="12800"/>
                  </a:lnTo>
                  <a:lnTo>
                    <a:pt x="348639" y="26098"/>
                  </a:lnTo>
                  <a:lnTo>
                    <a:pt x="376439" y="24637"/>
                  </a:lnTo>
                  <a:lnTo>
                    <a:pt x="401853" y="33791"/>
                  </a:lnTo>
                  <a:lnTo>
                    <a:pt x="452729" y="43322"/>
                  </a:lnTo>
                  <a:lnTo>
                    <a:pt x="495746" y="42853"/>
                  </a:lnTo>
                  <a:lnTo>
                    <a:pt x="530945" y="31849"/>
                  </a:lnTo>
                  <a:lnTo>
                    <a:pt x="551649" y="29680"/>
                  </a:lnTo>
                  <a:lnTo>
                    <a:pt x="568121" y="41378"/>
                  </a:lnTo>
                  <a:lnTo>
                    <a:pt x="593750" y="48731"/>
                  </a:lnTo>
                  <a:lnTo>
                    <a:pt x="614684" y="38781"/>
                  </a:lnTo>
                  <a:lnTo>
                    <a:pt x="656932" y="45730"/>
                  </a:lnTo>
                  <a:lnTo>
                    <a:pt x="689619" y="56181"/>
                  </a:lnTo>
                  <a:lnTo>
                    <a:pt x="720679" y="45548"/>
                  </a:lnTo>
                  <a:lnTo>
                    <a:pt x="726873" y="48798"/>
                  </a:lnTo>
                  <a:lnTo>
                    <a:pt x="765729" y="60185"/>
                  </a:lnTo>
                  <a:lnTo>
                    <a:pt x="760225" y="84531"/>
                  </a:lnTo>
                  <a:lnTo>
                    <a:pt x="791821" y="87161"/>
                  </a:lnTo>
                  <a:lnTo>
                    <a:pt x="808229" y="95426"/>
                  </a:lnTo>
                  <a:lnTo>
                    <a:pt x="828966" y="96397"/>
                  </a:lnTo>
                  <a:lnTo>
                    <a:pt x="841457" y="109679"/>
                  </a:lnTo>
                  <a:lnTo>
                    <a:pt x="856733" y="113861"/>
                  </a:lnTo>
                  <a:lnTo>
                    <a:pt x="872893" y="109242"/>
                  </a:lnTo>
                  <a:lnTo>
                    <a:pt x="898828" y="126891"/>
                  </a:lnTo>
                  <a:lnTo>
                    <a:pt x="916687" y="120766"/>
                  </a:lnTo>
                  <a:lnTo>
                    <a:pt x="928235" y="128212"/>
                  </a:lnTo>
                  <a:lnTo>
                    <a:pt x="963560" y="126156"/>
                  </a:lnTo>
                  <a:lnTo>
                    <a:pt x="968233" y="106227"/>
                  </a:lnTo>
                  <a:lnTo>
                    <a:pt x="1003544" y="115435"/>
                  </a:lnTo>
                  <a:lnTo>
                    <a:pt x="1012970" y="124146"/>
                  </a:lnTo>
                  <a:lnTo>
                    <a:pt x="1031019" y="122826"/>
                  </a:lnTo>
                  <a:lnTo>
                    <a:pt x="1039269" y="136357"/>
                  </a:lnTo>
                  <a:lnTo>
                    <a:pt x="1040481" y="155923"/>
                  </a:lnTo>
                  <a:lnTo>
                    <a:pt x="1066675" y="147949"/>
                  </a:lnTo>
                  <a:lnTo>
                    <a:pt x="1087678" y="154946"/>
                  </a:lnTo>
                  <a:lnTo>
                    <a:pt x="1094413" y="165753"/>
                  </a:lnTo>
                  <a:lnTo>
                    <a:pt x="1118085" y="155619"/>
                  </a:lnTo>
                  <a:lnTo>
                    <a:pt x="1139973" y="167147"/>
                  </a:lnTo>
                  <a:lnTo>
                    <a:pt x="1174438" y="153216"/>
                  </a:lnTo>
                  <a:lnTo>
                    <a:pt x="1206882" y="156003"/>
                  </a:lnTo>
                  <a:lnTo>
                    <a:pt x="1201321" y="180805"/>
                  </a:lnTo>
                  <a:lnTo>
                    <a:pt x="1210658" y="199560"/>
                  </a:lnTo>
                  <a:lnTo>
                    <a:pt x="1209625" y="219258"/>
                  </a:lnTo>
                  <a:lnTo>
                    <a:pt x="1168537" y="247415"/>
                  </a:lnTo>
                  <a:lnTo>
                    <a:pt x="1117663" y="270651"/>
                  </a:lnTo>
                  <a:lnTo>
                    <a:pt x="1106700" y="286964"/>
                  </a:lnTo>
                  <a:lnTo>
                    <a:pt x="1025456" y="307577"/>
                  </a:lnTo>
                  <a:lnTo>
                    <a:pt x="993206" y="319050"/>
                  </a:lnTo>
                  <a:lnTo>
                    <a:pt x="976357" y="337661"/>
                  </a:lnTo>
                  <a:lnTo>
                    <a:pt x="983000" y="358248"/>
                  </a:lnTo>
                  <a:lnTo>
                    <a:pt x="958002" y="365754"/>
                  </a:lnTo>
                  <a:lnTo>
                    <a:pt x="933608" y="402695"/>
                  </a:lnTo>
                  <a:lnTo>
                    <a:pt x="904694" y="432632"/>
                  </a:lnTo>
                  <a:lnTo>
                    <a:pt x="899120" y="446512"/>
                  </a:lnTo>
                  <a:lnTo>
                    <a:pt x="883038" y="465873"/>
                  </a:lnTo>
                  <a:lnTo>
                    <a:pt x="867208" y="501243"/>
                  </a:lnTo>
                  <a:lnTo>
                    <a:pt x="885474" y="552409"/>
                  </a:lnTo>
                  <a:lnTo>
                    <a:pt x="898224" y="564997"/>
                  </a:lnTo>
                  <a:lnTo>
                    <a:pt x="922109" y="579466"/>
                  </a:lnTo>
                  <a:lnTo>
                    <a:pt x="884814" y="603129"/>
                  </a:lnTo>
                  <a:lnTo>
                    <a:pt x="863353" y="613508"/>
                  </a:lnTo>
                  <a:lnTo>
                    <a:pt x="850830" y="625731"/>
                  </a:lnTo>
                  <a:lnTo>
                    <a:pt x="850591" y="638680"/>
                  </a:lnTo>
                  <a:lnTo>
                    <a:pt x="838322" y="647191"/>
                  </a:lnTo>
                  <a:lnTo>
                    <a:pt x="835089" y="665776"/>
                  </a:lnTo>
                  <a:lnTo>
                    <a:pt x="816473" y="694396"/>
                  </a:lnTo>
                  <a:lnTo>
                    <a:pt x="829938" y="707326"/>
                  </a:lnTo>
                  <a:lnTo>
                    <a:pt x="810587" y="712942"/>
                  </a:lnTo>
                  <a:lnTo>
                    <a:pt x="779096" y="710623"/>
                  </a:lnTo>
                  <a:lnTo>
                    <a:pt x="737805" y="735242"/>
                  </a:lnTo>
                  <a:lnTo>
                    <a:pt x="725877" y="749363"/>
                  </a:lnTo>
                  <a:lnTo>
                    <a:pt x="715737" y="777206"/>
                  </a:lnTo>
                  <a:lnTo>
                    <a:pt x="694133" y="804723"/>
                  </a:lnTo>
                  <a:lnTo>
                    <a:pt x="670547" y="792546"/>
                  </a:lnTo>
                  <a:lnTo>
                    <a:pt x="651781" y="795308"/>
                  </a:lnTo>
                  <a:lnTo>
                    <a:pt x="643639" y="807973"/>
                  </a:lnTo>
                  <a:lnTo>
                    <a:pt x="631552" y="810394"/>
                  </a:lnTo>
                  <a:lnTo>
                    <a:pt x="617149" y="802665"/>
                  </a:lnTo>
                  <a:lnTo>
                    <a:pt x="585228" y="802186"/>
                  </a:lnTo>
                  <a:lnTo>
                    <a:pt x="568729" y="808914"/>
                  </a:lnTo>
                  <a:lnTo>
                    <a:pt x="528560" y="802257"/>
                  </a:lnTo>
                  <a:lnTo>
                    <a:pt x="472176" y="806347"/>
                  </a:lnTo>
                  <a:lnTo>
                    <a:pt x="450894" y="829659"/>
                  </a:lnTo>
                  <a:lnTo>
                    <a:pt x="429540" y="829620"/>
                  </a:lnTo>
                  <a:lnTo>
                    <a:pt x="398818" y="839902"/>
                  </a:lnTo>
                  <a:lnTo>
                    <a:pt x="368881" y="879740"/>
                  </a:lnTo>
                  <a:lnTo>
                    <a:pt x="357295" y="884664"/>
                  </a:lnTo>
                  <a:lnTo>
                    <a:pt x="338734" y="877114"/>
                  </a:lnTo>
                  <a:lnTo>
                    <a:pt x="327350" y="865342"/>
                  </a:lnTo>
                  <a:lnTo>
                    <a:pt x="315209" y="864504"/>
                  </a:lnTo>
                  <a:lnTo>
                    <a:pt x="295026" y="836132"/>
                  </a:lnTo>
                  <a:lnTo>
                    <a:pt x="297462" y="823517"/>
                  </a:lnTo>
                  <a:lnTo>
                    <a:pt x="281609" y="816180"/>
                  </a:lnTo>
                  <a:lnTo>
                    <a:pt x="280622" y="796181"/>
                  </a:lnTo>
                  <a:lnTo>
                    <a:pt x="261793" y="772626"/>
                  </a:lnTo>
                  <a:lnTo>
                    <a:pt x="219757" y="752276"/>
                  </a:lnTo>
                  <a:lnTo>
                    <a:pt x="183470" y="755444"/>
                  </a:lnTo>
                  <a:lnTo>
                    <a:pt x="178176" y="724535"/>
                  </a:lnTo>
                  <a:lnTo>
                    <a:pt x="171760" y="713186"/>
                  </a:lnTo>
                  <a:lnTo>
                    <a:pt x="181871" y="691760"/>
                  </a:lnTo>
                  <a:lnTo>
                    <a:pt x="198306" y="668281"/>
                  </a:lnTo>
                  <a:lnTo>
                    <a:pt x="213111" y="658367"/>
                  </a:lnTo>
                  <a:lnTo>
                    <a:pt x="222120" y="660633"/>
                  </a:lnTo>
                  <a:lnTo>
                    <a:pt x="228637" y="640686"/>
                  </a:lnTo>
                  <a:lnTo>
                    <a:pt x="214123" y="644172"/>
                  </a:lnTo>
                  <a:lnTo>
                    <a:pt x="191722" y="613745"/>
                  </a:lnTo>
                  <a:lnTo>
                    <a:pt x="197773" y="581346"/>
                  </a:lnTo>
                  <a:lnTo>
                    <a:pt x="219151" y="564370"/>
                  </a:lnTo>
                  <a:lnTo>
                    <a:pt x="227063" y="547808"/>
                  </a:lnTo>
                  <a:lnTo>
                    <a:pt x="219462" y="537343"/>
                  </a:lnTo>
                  <a:lnTo>
                    <a:pt x="199015" y="526921"/>
                  </a:lnTo>
                  <a:lnTo>
                    <a:pt x="192305" y="511899"/>
                  </a:lnTo>
                  <a:lnTo>
                    <a:pt x="193847" y="498849"/>
                  </a:lnTo>
                  <a:lnTo>
                    <a:pt x="174035" y="483625"/>
                  </a:lnTo>
                  <a:lnTo>
                    <a:pt x="190064" y="477795"/>
                  </a:lnTo>
                  <a:lnTo>
                    <a:pt x="220869" y="474425"/>
                  </a:lnTo>
                  <a:lnTo>
                    <a:pt x="231730" y="451443"/>
                  </a:lnTo>
                  <a:lnTo>
                    <a:pt x="233875" y="432218"/>
                  </a:lnTo>
                  <a:lnTo>
                    <a:pt x="221203" y="422434"/>
                  </a:lnTo>
                  <a:lnTo>
                    <a:pt x="221177" y="411051"/>
                  </a:lnTo>
                  <a:lnTo>
                    <a:pt x="234769" y="406971"/>
                  </a:lnTo>
                  <a:lnTo>
                    <a:pt x="243546" y="395243"/>
                  </a:lnTo>
                  <a:lnTo>
                    <a:pt x="237057" y="384856"/>
                  </a:lnTo>
                  <a:lnTo>
                    <a:pt x="242299" y="361201"/>
                  </a:lnTo>
                  <a:lnTo>
                    <a:pt x="235026" y="327130"/>
                  </a:lnTo>
                  <a:lnTo>
                    <a:pt x="244581" y="307965"/>
                  </a:lnTo>
                  <a:lnTo>
                    <a:pt x="284994" y="278705"/>
                  </a:lnTo>
                  <a:lnTo>
                    <a:pt x="300799" y="255954"/>
                  </a:lnTo>
                  <a:lnTo>
                    <a:pt x="284599" y="244146"/>
                  </a:lnTo>
                  <a:lnTo>
                    <a:pt x="266072" y="243150"/>
                  </a:lnTo>
                  <a:lnTo>
                    <a:pt x="269005" y="221152"/>
                  </a:lnTo>
                  <a:lnTo>
                    <a:pt x="261127" y="212698"/>
                  </a:lnTo>
                  <a:lnTo>
                    <a:pt x="215073" y="212335"/>
                  </a:lnTo>
                  <a:lnTo>
                    <a:pt x="191804" y="224926"/>
                  </a:lnTo>
                  <a:lnTo>
                    <a:pt x="166805" y="226429"/>
                  </a:lnTo>
                  <a:lnTo>
                    <a:pt x="154233" y="217384"/>
                  </a:lnTo>
                  <a:lnTo>
                    <a:pt x="126689" y="222047"/>
                  </a:lnTo>
                  <a:lnTo>
                    <a:pt x="113028" y="228857"/>
                  </a:lnTo>
                  <a:lnTo>
                    <a:pt x="109785" y="208690"/>
                  </a:lnTo>
                  <a:lnTo>
                    <a:pt x="93488" y="196895"/>
                  </a:lnTo>
                  <a:lnTo>
                    <a:pt x="74560" y="197661"/>
                  </a:lnTo>
                  <a:lnTo>
                    <a:pt x="42077" y="221537"/>
                  </a:lnTo>
                  <a:lnTo>
                    <a:pt x="38706" y="193675"/>
                  </a:lnTo>
                  <a:lnTo>
                    <a:pt x="46320" y="191713"/>
                  </a:lnTo>
                  <a:lnTo>
                    <a:pt x="46426" y="167415"/>
                  </a:lnTo>
                  <a:lnTo>
                    <a:pt x="37813" y="151250"/>
                  </a:lnTo>
                  <a:lnTo>
                    <a:pt x="50897" y="137541"/>
                  </a:lnTo>
                  <a:lnTo>
                    <a:pt x="43159" y="129160"/>
                  </a:lnTo>
                  <a:lnTo>
                    <a:pt x="29890" y="144282"/>
                  </a:lnTo>
                  <a:lnTo>
                    <a:pt x="21439" y="138608"/>
                  </a:lnTo>
                  <a:lnTo>
                    <a:pt x="34579" y="116466"/>
                  </a:lnTo>
                  <a:lnTo>
                    <a:pt x="17854" y="112212"/>
                  </a:lnTo>
                  <a:lnTo>
                    <a:pt x="16708" y="101053"/>
                  </a:lnTo>
                  <a:lnTo>
                    <a:pt x="0" y="98994"/>
                  </a:lnTo>
                  <a:lnTo>
                    <a:pt x="8292" y="72571"/>
                  </a:lnTo>
                  <a:lnTo>
                    <a:pt x="34676" y="63339"/>
                  </a:lnTo>
                  <a:lnTo>
                    <a:pt x="45754" y="51389"/>
                  </a:lnTo>
                  <a:lnTo>
                    <a:pt x="73931" y="52946"/>
                  </a:lnTo>
                  <a:lnTo>
                    <a:pt x="96041" y="42447"/>
                  </a:lnTo>
                  <a:lnTo>
                    <a:pt x="94224" y="28273"/>
                  </a:lnTo>
                  <a:lnTo>
                    <a:pt x="119567" y="7038"/>
                  </a:lnTo>
                  <a:close/>
                </a:path>
              </a:pathLst>
            </a:custGeom>
            <a:solidFill>
              <a:schemeClr val="accent1">
                <a:lumMod val="40000"/>
                <a:lumOff val="6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6" name="ee4p_9_1_43215"/>
            <p:cNvSpPr>
              <a:spLocks noChangeAspect="1"/>
            </p:cNvSpPr>
            <p:nvPr>
              <p:custDataLst>
                <p:tags r:id="rId32"/>
              </p:custDataLst>
            </p:nvPr>
          </p:nvSpPr>
          <p:spPr bwMode="gray">
            <a:xfrm>
              <a:off x="3192315" y="4283546"/>
              <a:ext cx="370001" cy="251878"/>
            </a:xfrm>
            <a:custGeom>
              <a:avLst/>
              <a:gdLst/>
              <a:ahLst/>
              <a:cxnLst/>
              <a:rect l="0" t="0" r="0" b="0"/>
              <a:pathLst>
                <a:path w="370001" h="251878">
                  <a:moveTo>
                    <a:pt x="336242" y="93200"/>
                  </a:moveTo>
                  <a:lnTo>
                    <a:pt x="345366" y="97301"/>
                  </a:lnTo>
                  <a:lnTo>
                    <a:pt x="356094" y="126242"/>
                  </a:lnTo>
                  <a:lnTo>
                    <a:pt x="370000" y="137125"/>
                  </a:lnTo>
                  <a:lnTo>
                    <a:pt x="347531" y="172475"/>
                  </a:lnTo>
                  <a:lnTo>
                    <a:pt x="324076" y="174719"/>
                  </a:lnTo>
                  <a:lnTo>
                    <a:pt x="308642" y="201907"/>
                  </a:lnTo>
                  <a:lnTo>
                    <a:pt x="323210" y="225549"/>
                  </a:lnTo>
                  <a:lnTo>
                    <a:pt x="316611" y="246057"/>
                  </a:lnTo>
                  <a:lnTo>
                    <a:pt x="283771" y="251877"/>
                  </a:lnTo>
                  <a:lnTo>
                    <a:pt x="278699" y="239599"/>
                  </a:lnTo>
                  <a:lnTo>
                    <a:pt x="246793" y="219199"/>
                  </a:lnTo>
                  <a:lnTo>
                    <a:pt x="224068" y="215484"/>
                  </a:lnTo>
                  <a:lnTo>
                    <a:pt x="219888" y="189563"/>
                  </a:lnTo>
                  <a:lnTo>
                    <a:pt x="183820" y="196834"/>
                  </a:lnTo>
                  <a:lnTo>
                    <a:pt x="159538" y="194402"/>
                  </a:lnTo>
                  <a:lnTo>
                    <a:pt x="162127" y="180945"/>
                  </a:lnTo>
                  <a:lnTo>
                    <a:pt x="153878" y="154195"/>
                  </a:lnTo>
                  <a:lnTo>
                    <a:pt x="143376" y="143545"/>
                  </a:lnTo>
                  <a:lnTo>
                    <a:pt x="109109" y="146515"/>
                  </a:lnTo>
                  <a:lnTo>
                    <a:pt x="102637" y="125926"/>
                  </a:lnTo>
                  <a:lnTo>
                    <a:pt x="71649" y="122056"/>
                  </a:lnTo>
                  <a:lnTo>
                    <a:pt x="58527" y="89468"/>
                  </a:lnTo>
                  <a:lnTo>
                    <a:pt x="31363" y="99748"/>
                  </a:lnTo>
                  <a:lnTo>
                    <a:pt x="8605" y="85749"/>
                  </a:lnTo>
                  <a:lnTo>
                    <a:pt x="0" y="50409"/>
                  </a:lnTo>
                  <a:lnTo>
                    <a:pt x="51242" y="23200"/>
                  </a:lnTo>
                  <a:lnTo>
                    <a:pt x="79460" y="14680"/>
                  </a:lnTo>
                  <a:lnTo>
                    <a:pt x="85280" y="30527"/>
                  </a:lnTo>
                  <a:lnTo>
                    <a:pt x="101208" y="22728"/>
                  </a:lnTo>
                  <a:lnTo>
                    <a:pt x="136705" y="34199"/>
                  </a:lnTo>
                  <a:lnTo>
                    <a:pt x="163410" y="17232"/>
                  </a:lnTo>
                  <a:lnTo>
                    <a:pt x="164266" y="13833"/>
                  </a:lnTo>
                  <a:lnTo>
                    <a:pt x="192765" y="0"/>
                  </a:lnTo>
                  <a:lnTo>
                    <a:pt x="202767" y="7769"/>
                  </a:lnTo>
                  <a:lnTo>
                    <a:pt x="244324" y="11433"/>
                  </a:lnTo>
                  <a:lnTo>
                    <a:pt x="260778" y="22697"/>
                  </a:lnTo>
                  <a:lnTo>
                    <a:pt x="320243" y="43341"/>
                  </a:lnTo>
                  <a:lnTo>
                    <a:pt x="305296" y="89629"/>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7" name="ee4p_16_1_43215"/>
            <p:cNvSpPr>
              <a:spLocks noChangeAspect="1"/>
            </p:cNvSpPr>
            <p:nvPr>
              <p:custDataLst>
                <p:tags r:id="rId33"/>
              </p:custDataLst>
            </p:nvPr>
          </p:nvSpPr>
          <p:spPr bwMode="gray">
            <a:xfrm>
              <a:off x="4848096" y="1534109"/>
              <a:ext cx="1154219" cy="1614909"/>
            </a:xfrm>
            <a:custGeom>
              <a:avLst/>
              <a:gdLst/>
              <a:ahLst/>
              <a:cxnLst/>
              <a:rect l="l" t="t" r="r" b="b"/>
              <a:pathLst>
                <a:path w="1154219" h="1614909">
                  <a:moveTo>
                    <a:pt x="305006" y="1555469"/>
                  </a:moveTo>
                  <a:lnTo>
                    <a:pt x="309400" y="1561336"/>
                  </a:lnTo>
                  <a:lnTo>
                    <a:pt x="307062" y="1564125"/>
                  </a:lnTo>
                  <a:lnTo>
                    <a:pt x="300351" y="1588320"/>
                  </a:lnTo>
                  <a:lnTo>
                    <a:pt x="262997" y="1587406"/>
                  </a:lnTo>
                  <a:lnTo>
                    <a:pt x="271250" y="1560468"/>
                  </a:lnTo>
                  <a:close/>
                  <a:moveTo>
                    <a:pt x="25979" y="1529949"/>
                  </a:moveTo>
                  <a:lnTo>
                    <a:pt x="51543" y="1539924"/>
                  </a:lnTo>
                  <a:lnTo>
                    <a:pt x="56321" y="1559878"/>
                  </a:lnTo>
                  <a:lnTo>
                    <a:pt x="37336" y="1561034"/>
                  </a:lnTo>
                  <a:lnTo>
                    <a:pt x="29545" y="1577749"/>
                  </a:lnTo>
                  <a:lnTo>
                    <a:pt x="7187" y="1573389"/>
                  </a:lnTo>
                  <a:lnTo>
                    <a:pt x="0" y="1553967"/>
                  </a:lnTo>
                  <a:lnTo>
                    <a:pt x="23108" y="1549162"/>
                  </a:lnTo>
                  <a:close/>
                  <a:moveTo>
                    <a:pt x="769686" y="0"/>
                  </a:moveTo>
                  <a:lnTo>
                    <a:pt x="805668" y="10495"/>
                  </a:lnTo>
                  <a:lnTo>
                    <a:pt x="846308" y="44271"/>
                  </a:lnTo>
                  <a:lnTo>
                    <a:pt x="916925" y="65464"/>
                  </a:lnTo>
                  <a:lnTo>
                    <a:pt x="936533" y="102699"/>
                  </a:lnTo>
                  <a:lnTo>
                    <a:pt x="887662" y="146063"/>
                  </a:lnTo>
                  <a:lnTo>
                    <a:pt x="897122" y="175382"/>
                  </a:lnTo>
                  <a:lnTo>
                    <a:pt x="855137" y="196025"/>
                  </a:lnTo>
                  <a:lnTo>
                    <a:pt x="884649" y="206319"/>
                  </a:lnTo>
                  <a:lnTo>
                    <a:pt x="849152" y="261874"/>
                  </a:lnTo>
                  <a:lnTo>
                    <a:pt x="869687" y="319362"/>
                  </a:lnTo>
                  <a:lnTo>
                    <a:pt x="935575" y="339654"/>
                  </a:lnTo>
                  <a:lnTo>
                    <a:pt x="967731" y="384743"/>
                  </a:lnTo>
                  <a:lnTo>
                    <a:pt x="1002336" y="406145"/>
                  </a:lnTo>
                  <a:lnTo>
                    <a:pt x="993935" y="431053"/>
                  </a:lnTo>
                  <a:lnTo>
                    <a:pt x="911016" y="517306"/>
                  </a:lnTo>
                  <a:lnTo>
                    <a:pt x="915440" y="548989"/>
                  </a:lnTo>
                  <a:lnTo>
                    <a:pt x="954202" y="598427"/>
                  </a:lnTo>
                  <a:lnTo>
                    <a:pt x="972580" y="635183"/>
                  </a:lnTo>
                  <a:lnTo>
                    <a:pt x="993266" y="657844"/>
                  </a:lnTo>
                  <a:lnTo>
                    <a:pt x="1007312" y="695009"/>
                  </a:lnTo>
                  <a:lnTo>
                    <a:pt x="1002344" y="726657"/>
                  </a:lnTo>
                  <a:lnTo>
                    <a:pt x="974858" y="762231"/>
                  </a:lnTo>
                  <a:lnTo>
                    <a:pt x="987090" y="802927"/>
                  </a:lnTo>
                  <a:lnTo>
                    <a:pt x="964595" y="827279"/>
                  </a:lnTo>
                  <a:lnTo>
                    <a:pt x="975495" y="869785"/>
                  </a:lnTo>
                  <a:lnTo>
                    <a:pt x="1004843" y="869300"/>
                  </a:lnTo>
                  <a:lnTo>
                    <a:pt x="1013833" y="891802"/>
                  </a:lnTo>
                  <a:lnTo>
                    <a:pt x="999700" y="901457"/>
                  </a:lnTo>
                  <a:lnTo>
                    <a:pt x="1005031" y="930292"/>
                  </a:lnTo>
                  <a:lnTo>
                    <a:pt x="1047371" y="951990"/>
                  </a:lnTo>
                  <a:lnTo>
                    <a:pt x="1051781" y="985041"/>
                  </a:lnTo>
                  <a:lnTo>
                    <a:pt x="1025887" y="1020034"/>
                  </a:lnTo>
                  <a:lnTo>
                    <a:pt x="997970" y="1030011"/>
                  </a:lnTo>
                  <a:lnTo>
                    <a:pt x="1047522" y="1074565"/>
                  </a:lnTo>
                  <a:lnTo>
                    <a:pt x="1076907" y="1083960"/>
                  </a:lnTo>
                  <a:lnTo>
                    <a:pt x="1120658" y="1112591"/>
                  </a:lnTo>
                  <a:lnTo>
                    <a:pt x="1123128" y="1128191"/>
                  </a:lnTo>
                  <a:lnTo>
                    <a:pt x="1154219" y="1159540"/>
                  </a:lnTo>
                  <a:lnTo>
                    <a:pt x="1118893" y="1221489"/>
                  </a:lnTo>
                  <a:lnTo>
                    <a:pt x="952607" y="1376306"/>
                  </a:lnTo>
                  <a:lnTo>
                    <a:pt x="927617" y="1404468"/>
                  </a:lnTo>
                  <a:lnTo>
                    <a:pt x="886423" y="1426441"/>
                  </a:lnTo>
                  <a:lnTo>
                    <a:pt x="870544" y="1451734"/>
                  </a:lnTo>
                  <a:lnTo>
                    <a:pt x="857927" y="1450617"/>
                  </a:lnTo>
                  <a:lnTo>
                    <a:pt x="796400" y="1501002"/>
                  </a:lnTo>
                  <a:lnTo>
                    <a:pt x="782405" y="1516796"/>
                  </a:lnTo>
                  <a:lnTo>
                    <a:pt x="757067" y="1520468"/>
                  </a:lnTo>
                  <a:lnTo>
                    <a:pt x="714895" y="1509995"/>
                  </a:lnTo>
                  <a:lnTo>
                    <a:pt x="702903" y="1522155"/>
                  </a:lnTo>
                  <a:lnTo>
                    <a:pt x="670118" y="1523175"/>
                  </a:lnTo>
                  <a:lnTo>
                    <a:pt x="626785" y="1532670"/>
                  </a:lnTo>
                  <a:lnTo>
                    <a:pt x="558732" y="1557828"/>
                  </a:lnTo>
                  <a:lnTo>
                    <a:pt x="550597" y="1552007"/>
                  </a:lnTo>
                  <a:lnTo>
                    <a:pt x="513304" y="1567486"/>
                  </a:lnTo>
                  <a:lnTo>
                    <a:pt x="482173" y="1572598"/>
                  </a:lnTo>
                  <a:lnTo>
                    <a:pt x="465035" y="1591473"/>
                  </a:lnTo>
                  <a:lnTo>
                    <a:pt x="419407" y="1586100"/>
                  </a:lnTo>
                  <a:lnTo>
                    <a:pt x="393479" y="1597423"/>
                  </a:lnTo>
                  <a:lnTo>
                    <a:pt x="359687" y="1598933"/>
                  </a:lnTo>
                  <a:lnTo>
                    <a:pt x="341728" y="1614032"/>
                  </a:lnTo>
                  <a:lnTo>
                    <a:pt x="316108" y="1614909"/>
                  </a:lnTo>
                  <a:lnTo>
                    <a:pt x="312277" y="1602044"/>
                  </a:lnTo>
                  <a:lnTo>
                    <a:pt x="325592" y="1582953"/>
                  </a:lnTo>
                  <a:lnTo>
                    <a:pt x="309400" y="1561336"/>
                  </a:lnTo>
                  <a:lnTo>
                    <a:pt x="321781" y="1546566"/>
                  </a:lnTo>
                  <a:lnTo>
                    <a:pt x="310074" y="1554718"/>
                  </a:lnTo>
                  <a:lnTo>
                    <a:pt x="305006" y="1555469"/>
                  </a:lnTo>
                  <a:lnTo>
                    <a:pt x="303036" y="1552839"/>
                  </a:lnTo>
                  <a:lnTo>
                    <a:pt x="272000" y="1549576"/>
                  </a:lnTo>
                  <a:lnTo>
                    <a:pt x="223078" y="1512142"/>
                  </a:lnTo>
                  <a:lnTo>
                    <a:pt x="162404" y="1490088"/>
                  </a:lnTo>
                  <a:lnTo>
                    <a:pt x="171709" y="1479653"/>
                  </a:lnTo>
                  <a:lnTo>
                    <a:pt x="147215" y="1460620"/>
                  </a:lnTo>
                  <a:lnTo>
                    <a:pt x="171499" y="1437120"/>
                  </a:lnTo>
                  <a:lnTo>
                    <a:pt x="181511" y="1385103"/>
                  </a:lnTo>
                  <a:lnTo>
                    <a:pt x="178137" y="1356313"/>
                  </a:lnTo>
                  <a:lnTo>
                    <a:pt x="183209" y="1332943"/>
                  </a:lnTo>
                  <a:lnTo>
                    <a:pt x="170344" y="1303025"/>
                  </a:lnTo>
                  <a:lnTo>
                    <a:pt x="156892" y="1297235"/>
                  </a:lnTo>
                  <a:lnTo>
                    <a:pt x="163624" y="1240104"/>
                  </a:lnTo>
                  <a:lnTo>
                    <a:pt x="142912" y="1225131"/>
                  </a:lnTo>
                  <a:lnTo>
                    <a:pt x="149221" y="1206999"/>
                  </a:lnTo>
                  <a:lnTo>
                    <a:pt x="141629" y="1176138"/>
                  </a:lnTo>
                  <a:lnTo>
                    <a:pt x="164335" y="1164832"/>
                  </a:lnTo>
                  <a:lnTo>
                    <a:pt x="189129" y="1133108"/>
                  </a:lnTo>
                  <a:lnTo>
                    <a:pt x="179892" y="1111912"/>
                  </a:lnTo>
                  <a:lnTo>
                    <a:pt x="208302" y="1105552"/>
                  </a:lnTo>
                  <a:lnTo>
                    <a:pt x="235700" y="1110907"/>
                  </a:lnTo>
                  <a:lnTo>
                    <a:pt x="264631" y="1094957"/>
                  </a:lnTo>
                  <a:lnTo>
                    <a:pt x="246353" y="1076844"/>
                  </a:lnTo>
                  <a:lnTo>
                    <a:pt x="266000" y="1070130"/>
                  </a:lnTo>
                  <a:lnTo>
                    <a:pt x="293380" y="1018476"/>
                  </a:lnTo>
                  <a:lnTo>
                    <a:pt x="362696" y="1001841"/>
                  </a:lnTo>
                  <a:lnTo>
                    <a:pt x="422999" y="928368"/>
                  </a:lnTo>
                  <a:lnTo>
                    <a:pt x="456488" y="906341"/>
                  </a:lnTo>
                  <a:lnTo>
                    <a:pt x="459492" y="889088"/>
                  </a:lnTo>
                  <a:lnTo>
                    <a:pt x="487677" y="857293"/>
                  </a:lnTo>
                  <a:lnTo>
                    <a:pt x="557367" y="837243"/>
                  </a:lnTo>
                  <a:lnTo>
                    <a:pt x="539086" y="816827"/>
                  </a:lnTo>
                  <a:lnTo>
                    <a:pt x="550090" y="770027"/>
                  </a:lnTo>
                  <a:lnTo>
                    <a:pt x="521667" y="738524"/>
                  </a:lnTo>
                  <a:lnTo>
                    <a:pt x="485685" y="732591"/>
                  </a:lnTo>
                  <a:lnTo>
                    <a:pt x="473268" y="719984"/>
                  </a:lnTo>
                  <a:lnTo>
                    <a:pt x="435133" y="707611"/>
                  </a:lnTo>
                  <a:lnTo>
                    <a:pt x="412209" y="652346"/>
                  </a:lnTo>
                  <a:lnTo>
                    <a:pt x="385831" y="629845"/>
                  </a:lnTo>
                  <a:lnTo>
                    <a:pt x="386278" y="605093"/>
                  </a:lnTo>
                  <a:lnTo>
                    <a:pt x="406252" y="588628"/>
                  </a:lnTo>
                  <a:lnTo>
                    <a:pt x="408181" y="556781"/>
                  </a:lnTo>
                  <a:lnTo>
                    <a:pt x="419655" y="546027"/>
                  </a:lnTo>
                  <a:lnTo>
                    <a:pt x="377014" y="489330"/>
                  </a:lnTo>
                  <a:lnTo>
                    <a:pt x="393268" y="470488"/>
                  </a:lnTo>
                  <a:lnTo>
                    <a:pt x="397344" y="446572"/>
                  </a:lnTo>
                  <a:lnTo>
                    <a:pt x="362583" y="434590"/>
                  </a:lnTo>
                  <a:lnTo>
                    <a:pt x="376088" y="420849"/>
                  </a:lnTo>
                  <a:lnTo>
                    <a:pt x="371194" y="374625"/>
                  </a:lnTo>
                  <a:lnTo>
                    <a:pt x="386058" y="358292"/>
                  </a:lnTo>
                  <a:lnTo>
                    <a:pt x="360967" y="344122"/>
                  </a:lnTo>
                  <a:lnTo>
                    <a:pt x="330145" y="301994"/>
                  </a:lnTo>
                  <a:lnTo>
                    <a:pt x="260286" y="271542"/>
                  </a:lnTo>
                  <a:lnTo>
                    <a:pt x="230878" y="271991"/>
                  </a:lnTo>
                  <a:lnTo>
                    <a:pt x="215855" y="254359"/>
                  </a:lnTo>
                  <a:lnTo>
                    <a:pt x="170337" y="235367"/>
                  </a:lnTo>
                  <a:lnTo>
                    <a:pt x="167239" y="223948"/>
                  </a:lnTo>
                  <a:lnTo>
                    <a:pt x="86166" y="174013"/>
                  </a:lnTo>
                  <a:lnTo>
                    <a:pt x="156820" y="131142"/>
                  </a:lnTo>
                  <a:lnTo>
                    <a:pt x="190518" y="137161"/>
                  </a:lnTo>
                  <a:lnTo>
                    <a:pt x="259576" y="213428"/>
                  </a:lnTo>
                  <a:lnTo>
                    <a:pt x="304090" y="236995"/>
                  </a:lnTo>
                  <a:lnTo>
                    <a:pt x="339578" y="246935"/>
                  </a:lnTo>
                  <a:lnTo>
                    <a:pt x="388534" y="233966"/>
                  </a:lnTo>
                  <a:lnTo>
                    <a:pt x="418512" y="213443"/>
                  </a:lnTo>
                  <a:lnTo>
                    <a:pt x="444408" y="230322"/>
                  </a:lnTo>
                  <a:lnTo>
                    <a:pt x="513185" y="248766"/>
                  </a:lnTo>
                  <a:lnTo>
                    <a:pt x="530647" y="220182"/>
                  </a:lnTo>
                  <a:lnTo>
                    <a:pt x="589002" y="177439"/>
                  </a:lnTo>
                  <a:lnTo>
                    <a:pt x="584091" y="149438"/>
                  </a:lnTo>
                  <a:lnTo>
                    <a:pt x="593625" y="112520"/>
                  </a:lnTo>
                  <a:lnTo>
                    <a:pt x="626774" y="58019"/>
                  </a:lnTo>
                  <a:lnTo>
                    <a:pt x="661114" y="22418"/>
                  </a:lnTo>
                  <a:lnTo>
                    <a:pt x="739513" y="20741"/>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8" name="ee4p_19_1_43215"/>
            <p:cNvSpPr>
              <a:spLocks noChangeAspect="1"/>
            </p:cNvSpPr>
            <p:nvPr>
              <p:custDataLst>
                <p:tags r:id="rId34"/>
              </p:custDataLst>
            </p:nvPr>
          </p:nvSpPr>
          <p:spPr bwMode="gray">
            <a:xfrm>
              <a:off x="1934262" y="3771414"/>
              <a:ext cx="430416" cy="513764"/>
            </a:xfrm>
            <a:custGeom>
              <a:avLst/>
              <a:gdLst/>
              <a:ahLst/>
              <a:cxnLst/>
              <a:rect l="0" t="0" r="0" b="0"/>
              <a:pathLst>
                <a:path w="430416" h="513764">
                  <a:moveTo>
                    <a:pt x="309596" y="40644"/>
                  </a:moveTo>
                  <a:lnTo>
                    <a:pt x="295116" y="49189"/>
                  </a:lnTo>
                  <a:lnTo>
                    <a:pt x="291587" y="65930"/>
                  </a:lnTo>
                  <a:lnTo>
                    <a:pt x="262185" y="89347"/>
                  </a:lnTo>
                  <a:lnTo>
                    <a:pt x="261563" y="103568"/>
                  </a:lnTo>
                  <a:lnTo>
                    <a:pt x="237032" y="110554"/>
                  </a:lnTo>
                  <a:lnTo>
                    <a:pt x="221956" y="124441"/>
                  </a:lnTo>
                  <a:lnTo>
                    <a:pt x="251204" y="154379"/>
                  </a:lnTo>
                  <a:lnTo>
                    <a:pt x="279611" y="166477"/>
                  </a:lnTo>
                  <a:lnTo>
                    <a:pt x="301507" y="163853"/>
                  </a:lnTo>
                  <a:lnTo>
                    <a:pt x="329165" y="128439"/>
                  </a:lnTo>
                  <a:lnTo>
                    <a:pt x="346345" y="137153"/>
                  </a:lnTo>
                  <a:lnTo>
                    <a:pt x="352237" y="153602"/>
                  </a:lnTo>
                  <a:lnTo>
                    <a:pt x="370171" y="162912"/>
                  </a:lnTo>
                  <a:lnTo>
                    <a:pt x="370777" y="178431"/>
                  </a:lnTo>
                  <a:lnTo>
                    <a:pt x="405201" y="169691"/>
                  </a:lnTo>
                  <a:lnTo>
                    <a:pt x="394723" y="193714"/>
                  </a:lnTo>
                  <a:lnTo>
                    <a:pt x="407209" y="202623"/>
                  </a:lnTo>
                  <a:lnTo>
                    <a:pt x="410340" y="231827"/>
                  </a:lnTo>
                  <a:lnTo>
                    <a:pt x="423098" y="241529"/>
                  </a:lnTo>
                  <a:lnTo>
                    <a:pt x="421396" y="278093"/>
                  </a:lnTo>
                  <a:lnTo>
                    <a:pt x="430415" y="318851"/>
                  </a:lnTo>
                  <a:lnTo>
                    <a:pt x="408928" y="364139"/>
                  </a:lnTo>
                  <a:lnTo>
                    <a:pt x="412299" y="372314"/>
                  </a:lnTo>
                  <a:lnTo>
                    <a:pt x="387045" y="400831"/>
                  </a:lnTo>
                  <a:lnTo>
                    <a:pt x="396261" y="422792"/>
                  </a:lnTo>
                  <a:lnTo>
                    <a:pt x="362295" y="417369"/>
                  </a:lnTo>
                  <a:lnTo>
                    <a:pt x="335009" y="426639"/>
                  </a:lnTo>
                  <a:lnTo>
                    <a:pt x="291502" y="428895"/>
                  </a:lnTo>
                  <a:lnTo>
                    <a:pt x="272860" y="434825"/>
                  </a:lnTo>
                  <a:lnTo>
                    <a:pt x="277624" y="446482"/>
                  </a:lnTo>
                  <a:lnTo>
                    <a:pt x="250414" y="454576"/>
                  </a:lnTo>
                  <a:lnTo>
                    <a:pt x="231476" y="470057"/>
                  </a:lnTo>
                  <a:lnTo>
                    <a:pt x="208552" y="478373"/>
                  </a:lnTo>
                  <a:lnTo>
                    <a:pt x="168442" y="500929"/>
                  </a:lnTo>
                  <a:lnTo>
                    <a:pt x="153759" y="498041"/>
                  </a:lnTo>
                  <a:lnTo>
                    <a:pt x="107552" y="513763"/>
                  </a:lnTo>
                  <a:lnTo>
                    <a:pt x="96781" y="506634"/>
                  </a:lnTo>
                  <a:lnTo>
                    <a:pt x="73085" y="513719"/>
                  </a:lnTo>
                  <a:lnTo>
                    <a:pt x="48124" y="482136"/>
                  </a:lnTo>
                  <a:lnTo>
                    <a:pt x="10149" y="460272"/>
                  </a:lnTo>
                  <a:lnTo>
                    <a:pt x="32863" y="430002"/>
                  </a:lnTo>
                  <a:lnTo>
                    <a:pt x="0" y="432753"/>
                  </a:lnTo>
                  <a:lnTo>
                    <a:pt x="9210" y="414834"/>
                  </a:lnTo>
                  <a:lnTo>
                    <a:pt x="27028" y="407605"/>
                  </a:lnTo>
                  <a:lnTo>
                    <a:pt x="62657" y="413718"/>
                  </a:lnTo>
                  <a:lnTo>
                    <a:pt x="57224" y="390011"/>
                  </a:lnTo>
                  <a:lnTo>
                    <a:pt x="74157" y="382651"/>
                  </a:lnTo>
                  <a:lnTo>
                    <a:pt x="72409" y="359734"/>
                  </a:lnTo>
                  <a:lnTo>
                    <a:pt x="106820" y="325898"/>
                  </a:lnTo>
                  <a:lnTo>
                    <a:pt x="101303" y="312682"/>
                  </a:lnTo>
                  <a:lnTo>
                    <a:pt x="115337" y="294926"/>
                  </a:lnTo>
                  <a:lnTo>
                    <a:pt x="142016" y="292871"/>
                  </a:lnTo>
                  <a:lnTo>
                    <a:pt x="143710" y="279619"/>
                  </a:lnTo>
                  <a:lnTo>
                    <a:pt x="91508" y="286045"/>
                  </a:lnTo>
                  <a:lnTo>
                    <a:pt x="32414" y="261624"/>
                  </a:lnTo>
                  <a:lnTo>
                    <a:pt x="31575" y="239568"/>
                  </a:lnTo>
                  <a:lnTo>
                    <a:pt x="52739" y="236133"/>
                  </a:lnTo>
                  <a:lnTo>
                    <a:pt x="53717" y="214503"/>
                  </a:lnTo>
                  <a:lnTo>
                    <a:pt x="76802" y="211406"/>
                  </a:lnTo>
                  <a:lnTo>
                    <a:pt x="75236" y="196488"/>
                  </a:lnTo>
                  <a:lnTo>
                    <a:pt x="46414" y="170553"/>
                  </a:lnTo>
                  <a:lnTo>
                    <a:pt x="44383" y="142616"/>
                  </a:lnTo>
                  <a:lnTo>
                    <a:pt x="59849" y="140218"/>
                  </a:lnTo>
                  <a:lnTo>
                    <a:pt x="138921" y="143882"/>
                  </a:lnTo>
                  <a:lnTo>
                    <a:pt x="157843" y="149643"/>
                  </a:lnTo>
                  <a:lnTo>
                    <a:pt x="172415" y="135193"/>
                  </a:lnTo>
                  <a:lnTo>
                    <a:pt x="209832" y="119509"/>
                  </a:lnTo>
                  <a:lnTo>
                    <a:pt x="219489" y="97931"/>
                  </a:lnTo>
                  <a:lnTo>
                    <a:pt x="171871" y="100706"/>
                  </a:lnTo>
                  <a:lnTo>
                    <a:pt x="161302" y="91423"/>
                  </a:lnTo>
                  <a:lnTo>
                    <a:pt x="184088" y="71994"/>
                  </a:lnTo>
                  <a:lnTo>
                    <a:pt x="206705" y="40500"/>
                  </a:lnTo>
                  <a:lnTo>
                    <a:pt x="273323" y="12431"/>
                  </a:lnTo>
                  <a:lnTo>
                    <a:pt x="297335" y="10151"/>
                  </a:lnTo>
                  <a:lnTo>
                    <a:pt x="306069" y="0"/>
                  </a:lnTo>
                  <a:lnTo>
                    <a:pt x="338768" y="21456"/>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19" name="ee4p_22_1_43215"/>
            <p:cNvSpPr>
              <a:spLocks noChangeAspect="1"/>
            </p:cNvSpPr>
            <p:nvPr>
              <p:custDataLst>
                <p:tags r:id="rId35"/>
              </p:custDataLst>
            </p:nvPr>
          </p:nvSpPr>
          <p:spPr bwMode="gray">
            <a:xfrm>
              <a:off x="3426839" y="1341438"/>
              <a:ext cx="2522468" cy="2070429"/>
            </a:xfrm>
            <a:custGeom>
              <a:avLst/>
              <a:gdLst/>
              <a:ahLst/>
              <a:cxnLst/>
              <a:rect l="l" t="t" r="r" b="b"/>
              <a:pathLst>
                <a:path w="2522468" h="2070429">
                  <a:moveTo>
                    <a:pt x="70578" y="1774245"/>
                  </a:moveTo>
                  <a:lnTo>
                    <a:pt x="57665" y="1798485"/>
                  </a:lnTo>
                  <a:lnTo>
                    <a:pt x="39148" y="1784573"/>
                  </a:lnTo>
                  <a:close/>
                  <a:moveTo>
                    <a:pt x="68356" y="1685406"/>
                  </a:moveTo>
                  <a:lnTo>
                    <a:pt x="71814" y="1712583"/>
                  </a:lnTo>
                  <a:lnTo>
                    <a:pt x="51195" y="1718081"/>
                  </a:lnTo>
                  <a:lnTo>
                    <a:pt x="35806" y="1704084"/>
                  </a:lnTo>
                  <a:lnTo>
                    <a:pt x="48615" y="1695334"/>
                  </a:lnTo>
                  <a:close/>
                  <a:moveTo>
                    <a:pt x="389950" y="1240624"/>
                  </a:moveTo>
                  <a:lnTo>
                    <a:pt x="408843" y="1253315"/>
                  </a:lnTo>
                  <a:lnTo>
                    <a:pt x="374486" y="1266014"/>
                  </a:lnTo>
                  <a:lnTo>
                    <a:pt x="330536" y="1273331"/>
                  </a:lnTo>
                  <a:lnTo>
                    <a:pt x="322292" y="1263364"/>
                  </a:lnTo>
                  <a:lnTo>
                    <a:pt x="357360" y="1243282"/>
                  </a:lnTo>
                  <a:close/>
                  <a:moveTo>
                    <a:pt x="872907" y="487600"/>
                  </a:moveTo>
                  <a:lnTo>
                    <a:pt x="890173" y="501625"/>
                  </a:lnTo>
                  <a:lnTo>
                    <a:pt x="833863" y="528952"/>
                  </a:lnTo>
                  <a:lnTo>
                    <a:pt x="823303" y="510666"/>
                  </a:lnTo>
                  <a:close/>
                  <a:moveTo>
                    <a:pt x="986502" y="470832"/>
                  </a:moveTo>
                  <a:lnTo>
                    <a:pt x="946613" y="499494"/>
                  </a:lnTo>
                  <a:lnTo>
                    <a:pt x="895941" y="516789"/>
                  </a:lnTo>
                  <a:lnTo>
                    <a:pt x="906957" y="487327"/>
                  </a:lnTo>
                  <a:lnTo>
                    <a:pt x="925094" y="475340"/>
                  </a:lnTo>
                  <a:close/>
                  <a:moveTo>
                    <a:pt x="1041181" y="383019"/>
                  </a:moveTo>
                  <a:lnTo>
                    <a:pt x="1058821" y="384202"/>
                  </a:lnTo>
                  <a:lnTo>
                    <a:pt x="1068129" y="414642"/>
                  </a:lnTo>
                  <a:lnTo>
                    <a:pt x="1096412" y="395330"/>
                  </a:lnTo>
                  <a:lnTo>
                    <a:pt x="1120532" y="407106"/>
                  </a:lnTo>
                  <a:lnTo>
                    <a:pt x="1116907" y="450180"/>
                  </a:lnTo>
                  <a:lnTo>
                    <a:pt x="1078488" y="453673"/>
                  </a:lnTo>
                  <a:lnTo>
                    <a:pt x="1063092" y="478866"/>
                  </a:lnTo>
                  <a:lnTo>
                    <a:pt x="1034579" y="492764"/>
                  </a:lnTo>
                  <a:lnTo>
                    <a:pt x="995565" y="483243"/>
                  </a:lnTo>
                  <a:lnTo>
                    <a:pt x="990399" y="448823"/>
                  </a:lnTo>
                  <a:lnTo>
                    <a:pt x="1019392" y="437003"/>
                  </a:lnTo>
                  <a:lnTo>
                    <a:pt x="1014913" y="408480"/>
                  </a:lnTo>
                  <a:close/>
                  <a:moveTo>
                    <a:pt x="983008" y="372922"/>
                  </a:moveTo>
                  <a:lnTo>
                    <a:pt x="1008494" y="403386"/>
                  </a:lnTo>
                  <a:lnTo>
                    <a:pt x="1010568" y="429806"/>
                  </a:lnTo>
                  <a:lnTo>
                    <a:pt x="973770" y="448088"/>
                  </a:lnTo>
                  <a:lnTo>
                    <a:pt x="952446" y="433614"/>
                  </a:lnTo>
                  <a:lnTo>
                    <a:pt x="909435" y="430180"/>
                  </a:lnTo>
                  <a:lnTo>
                    <a:pt x="930823" y="411212"/>
                  </a:lnTo>
                  <a:lnTo>
                    <a:pt x="959350" y="412193"/>
                  </a:lnTo>
                  <a:lnTo>
                    <a:pt x="979212" y="394237"/>
                  </a:lnTo>
                  <a:close/>
                  <a:moveTo>
                    <a:pt x="1080199" y="321859"/>
                  </a:moveTo>
                  <a:lnTo>
                    <a:pt x="1075740" y="350755"/>
                  </a:lnTo>
                  <a:lnTo>
                    <a:pt x="1055099" y="372257"/>
                  </a:lnTo>
                  <a:lnTo>
                    <a:pt x="1025101" y="358938"/>
                  </a:lnTo>
                  <a:close/>
                  <a:moveTo>
                    <a:pt x="1267368" y="293519"/>
                  </a:moveTo>
                  <a:lnTo>
                    <a:pt x="1252150" y="322547"/>
                  </a:lnTo>
                  <a:lnTo>
                    <a:pt x="1257127" y="346637"/>
                  </a:lnTo>
                  <a:lnTo>
                    <a:pt x="1201797" y="351104"/>
                  </a:lnTo>
                  <a:lnTo>
                    <a:pt x="1183486" y="364391"/>
                  </a:lnTo>
                  <a:lnTo>
                    <a:pt x="1152322" y="338791"/>
                  </a:lnTo>
                  <a:lnTo>
                    <a:pt x="1189710" y="306502"/>
                  </a:lnTo>
                  <a:lnTo>
                    <a:pt x="1227774" y="293768"/>
                  </a:lnTo>
                  <a:close/>
                  <a:moveTo>
                    <a:pt x="1340810" y="229589"/>
                  </a:moveTo>
                  <a:lnTo>
                    <a:pt x="1362835" y="244701"/>
                  </a:lnTo>
                  <a:lnTo>
                    <a:pt x="1335187" y="280266"/>
                  </a:lnTo>
                  <a:lnTo>
                    <a:pt x="1281246" y="288360"/>
                  </a:lnTo>
                  <a:lnTo>
                    <a:pt x="1266324" y="270947"/>
                  </a:lnTo>
                  <a:lnTo>
                    <a:pt x="1320141" y="247203"/>
                  </a:lnTo>
                  <a:close/>
                  <a:moveTo>
                    <a:pt x="1379340" y="191421"/>
                  </a:moveTo>
                  <a:lnTo>
                    <a:pt x="1403102" y="214363"/>
                  </a:lnTo>
                  <a:lnTo>
                    <a:pt x="1391989" y="235280"/>
                  </a:lnTo>
                  <a:lnTo>
                    <a:pt x="1364048" y="241601"/>
                  </a:lnTo>
                  <a:lnTo>
                    <a:pt x="1328997" y="218807"/>
                  </a:lnTo>
                  <a:lnTo>
                    <a:pt x="1342096" y="201351"/>
                  </a:lnTo>
                  <a:close/>
                  <a:moveTo>
                    <a:pt x="1527122" y="165395"/>
                  </a:moveTo>
                  <a:lnTo>
                    <a:pt x="1531832" y="195841"/>
                  </a:lnTo>
                  <a:lnTo>
                    <a:pt x="1497737" y="197617"/>
                  </a:lnTo>
                  <a:lnTo>
                    <a:pt x="1490509" y="180778"/>
                  </a:lnTo>
                  <a:close/>
                  <a:moveTo>
                    <a:pt x="1790831" y="97376"/>
                  </a:moveTo>
                  <a:lnTo>
                    <a:pt x="1806369" y="129145"/>
                  </a:lnTo>
                  <a:lnTo>
                    <a:pt x="1758747" y="158319"/>
                  </a:lnTo>
                  <a:lnTo>
                    <a:pt x="1731540" y="128908"/>
                  </a:lnTo>
                  <a:close/>
                  <a:moveTo>
                    <a:pt x="1823536" y="79539"/>
                  </a:moveTo>
                  <a:lnTo>
                    <a:pt x="1851956" y="103453"/>
                  </a:lnTo>
                  <a:lnTo>
                    <a:pt x="1819505" y="116900"/>
                  </a:lnTo>
                  <a:lnTo>
                    <a:pt x="1805357" y="81785"/>
                  </a:lnTo>
                  <a:close/>
                  <a:moveTo>
                    <a:pt x="1780209" y="59639"/>
                  </a:moveTo>
                  <a:lnTo>
                    <a:pt x="1792938" y="66229"/>
                  </a:lnTo>
                  <a:lnTo>
                    <a:pt x="1738007" y="113484"/>
                  </a:lnTo>
                  <a:lnTo>
                    <a:pt x="1680632" y="120941"/>
                  </a:lnTo>
                  <a:lnTo>
                    <a:pt x="1681664" y="94466"/>
                  </a:lnTo>
                  <a:lnTo>
                    <a:pt x="1721338" y="71956"/>
                  </a:lnTo>
                  <a:lnTo>
                    <a:pt x="1748461" y="83240"/>
                  </a:lnTo>
                  <a:close/>
                  <a:moveTo>
                    <a:pt x="2180240" y="15353"/>
                  </a:moveTo>
                  <a:lnTo>
                    <a:pt x="2281486" y="36510"/>
                  </a:lnTo>
                  <a:lnTo>
                    <a:pt x="2242255" y="77362"/>
                  </a:lnTo>
                  <a:lnTo>
                    <a:pt x="2278355" y="78790"/>
                  </a:lnTo>
                  <a:lnTo>
                    <a:pt x="2301394" y="56239"/>
                  </a:lnTo>
                  <a:lnTo>
                    <a:pt x="2345779" y="56207"/>
                  </a:lnTo>
                  <a:lnTo>
                    <a:pt x="2368874" y="83132"/>
                  </a:lnTo>
                  <a:lnTo>
                    <a:pt x="2401243" y="77963"/>
                  </a:lnTo>
                  <a:lnTo>
                    <a:pt x="2441516" y="87882"/>
                  </a:lnTo>
                  <a:lnTo>
                    <a:pt x="2442114" y="109273"/>
                  </a:lnTo>
                  <a:lnTo>
                    <a:pt x="2515198" y="129008"/>
                  </a:lnTo>
                  <a:lnTo>
                    <a:pt x="2522468" y="152621"/>
                  </a:lnTo>
                  <a:lnTo>
                    <a:pt x="2471713" y="164052"/>
                  </a:lnTo>
                  <a:lnTo>
                    <a:pt x="2457032" y="181359"/>
                  </a:lnTo>
                  <a:lnTo>
                    <a:pt x="2404715" y="194842"/>
                  </a:lnTo>
                  <a:lnTo>
                    <a:pt x="2299973" y="177000"/>
                  </a:lnTo>
                  <a:lnTo>
                    <a:pt x="2308341" y="190462"/>
                  </a:lnTo>
                  <a:lnTo>
                    <a:pt x="2373441" y="205463"/>
                  </a:lnTo>
                  <a:lnTo>
                    <a:pt x="2409893" y="250844"/>
                  </a:lnTo>
                  <a:lnTo>
                    <a:pt x="2462345" y="238613"/>
                  </a:lnTo>
                  <a:lnTo>
                    <a:pt x="2498801" y="241584"/>
                  </a:lnTo>
                  <a:lnTo>
                    <a:pt x="2512789" y="281247"/>
                  </a:lnTo>
                  <a:lnTo>
                    <a:pt x="2471869" y="284731"/>
                  </a:lnTo>
                  <a:lnTo>
                    <a:pt x="2443620" y="265390"/>
                  </a:lnTo>
                  <a:lnTo>
                    <a:pt x="2433289" y="296810"/>
                  </a:lnTo>
                  <a:lnTo>
                    <a:pt x="2380279" y="322844"/>
                  </a:lnTo>
                  <a:lnTo>
                    <a:pt x="2353096" y="326491"/>
                  </a:lnTo>
                  <a:lnTo>
                    <a:pt x="2348624" y="357667"/>
                  </a:lnTo>
                  <a:lnTo>
                    <a:pt x="2318378" y="368053"/>
                  </a:lnTo>
                  <a:lnTo>
                    <a:pt x="2308918" y="338734"/>
                  </a:lnTo>
                  <a:lnTo>
                    <a:pt x="2357789" y="295370"/>
                  </a:lnTo>
                  <a:lnTo>
                    <a:pt x="2338181" y="258135"/>
                  </a:lnTo>
                  <a:lnTo>
                    <a:pt x="2267564" y="236942"/>
                  </a:lnTo>
                  <a:lnTo>
                    <a:pt x="2226924" y="203166"/>
                  </a:lnTo>
                  <a:lnTo>
                    <a:pt x="2190942" y="192671"/>
                  </a:lnTo>
                  <a:lnTo>
                    <a:pt x="2160769" y="213412"/>
                  </a:lnTo>
                  <a:lnTo>
                    <a:pt x="2082370" y="215089"/>
                  </a:lnTo>
                  <a:lnTo>
                    <a:pt x="2048030" y="250690"/>
                  </a:lnTo>
                  <a:lnTo>
                    <a:pt x="2014881" y="305191"/>
                  </a:lnTo>
                  <a:lnTo>
                    <a:pt x="2005347" y="342109"/>
                  </a:lnTo>
                  <a:lnTo>
                    <a:pt x="2010258" y="370110"/>
                  </a:lnTo>
                  <a:lnTo>
                    <a:pt x="1951903" y="412853"/>
                  </a:lnTo>
                  <a:lnTo>
                    <a:pt x="1934441" y="441437"/>
                  </a:lnTo>
                  <a:lnTo>
                    <a:pt x="1865664" y="422993"/>
                  </a:lnTo>
                  <a:lnTo>
                    <a:pt x="1839768" y="406114"/>
                  </a:lnTo>
                  <a:lnTo>
                    <a:pt x="1809790" y="426637"/>
                  </a:lnTo>
                  <a:lnTo>
                    <a:pt x="1760834" y="439606"/>
                  </a:lnTo>
                  <a:lnTo>
                    <a:pt x="1725346" y="429666"/>
                  </a:lnTo>
                  <a:lnTo>
                    <a:pt x="1680832" y="406099"/>
                  </a:lnTo>
                  <a:lnTo>
                    <a:pt x="1611774" y="329832"/>
                  </a:lnTo>
                  <a:lnTo>
                    <a:pt x="1578076" y="323813"/>
                  </a:lnTo>
                  <a:lnTo>
                    <a:pt x="1507422" y="366684"/>
                  </a:lnTo>
                  <a:lnTo>
                    <a:pt x="1460146" y="369095"/>
                  </a:lnTo>
                  <a:lnTo>
                    <a:pt x="1484002" y="389363"/>
                  </a:lnTo>
                  <a:lnTo>
                    <a:pt x="1473962" y="433308"/>
                  </a:lnTo>
                  <a:lnTo>
                    <a:pt x="1448288" y="451475"/>
                  </a:lnTo>
                  <a:lnTo>
                    <a:pt x="1476256" y="462748"/>
                  </a:lnTo>
                  <a:lnTo>
                    <a:pt x="1446730" y="485342"/>
                  </a:lnTo>
                  <a:lnTo>
                    <a:pt x="1356008" y="458359"/>
                  </a:lnTo>
                  <a:lnTo>
                    <a:pt x="1320924" y="460039"/>
                  </a:lnTo>
                  <a:lnTo>
                    <a:pt x="1300069" y="447451"/>
                  </a:lnTo>
                  <a:lnTo>
                    <a:pt x="1272999" y="455075"/>
                  </a:lnTo>
                  <a:lnTo>
                    <a:pt x="1275459" y="511618"/>
                  </a:lnTo>
                  <a:lnTo>
                    <a:pt x="1251115" y="549814"/>
                  </a:lnTo>
                  <a:lnTo>
                    <a:pt x="1191294" y="524953"/>
                  </a:lnTo>
                  <a:lnTo>
                    <a:pt x="1138714" y="558974"/>
                  </a:lnTo>
                  <a:lnTo>
                    <a:pt x="1121119" y="603168"/>
                  </a:lnTo>
                  <a:lnTo>
                    <a:pt x="1106739" y="621818"/>
                  </a:lnTo>
                  <a:lnTo>
                    <a:pt x="1075985" y="638081"/>
                  </a:lnTo>
                  <a:lnTo>
                    <a:pt x="1106394" y="675864"/>
                  </a:lnTo>
                  <a:lnTo>
                    <a:pt x="1104812" y="701935"/>
                  </a:lnTo>
                  <a:lnTo>
                    <a:pt x="1071044" y="723615"/>
                  </a:lnTo>
                  <a:lnTo>
                    <a:pt x="1030656" y="775244"/>
                  </a:lnTo>
                  <a:lnTo>
                    <a:pt x="1007033" y="793031"/>
                  </a:lnTo>
                  <a:lnTo>
                    <a:pt x="1017435" y="825565"/>
                  </a:lnTo>
                  <a:lnTo>
                    <a:pt x="973985" y="846278"/>
                  </a:lnTo>
                  <a:lnTo>
                    <a:pt x="923728" y="849644"/>
                  </a:lnTo>
                  <a:lnTo>
                    <a:pt x="934293" y="900954"/>
                  </a:lnTo>
                  <a:lnTo>
                    <a:pt x="922033" y="947165"/>
                  </a:lnTo>
                  <a:lnTo>
                    <a:pt x="922813" y="980665"/>
                  </a:lnTo>
                  <a:lnTo>
                    <a:pt x="905314" y="1010770"/>
                  </a:lnTo>
                  <a:lnTo>
                    <a:pt x="840317" y="1095190"/>
                  </a:lnTo>
                  <a:lnTo>
                    <a:pt x="884789" y="1113556"/>
                  </a:lnTo>
                  <a:lnTo>
                    <a:pt x="888973" y="1155091"/>
                  </a:lnTo>
                  <a:lnTo>
                    <a:pt x="870629" y="1184031"/>
                  </a:lnTo>
                  <a:lnTo>
                    <a:pt x="797437" y="1170524"/>
                  </a:lnTo>
                  <a:lnTo>
                    <a:pt x="746392" y="1189242"/>
                  </a:lnTo>
                  <a:lnTo>
                    <a:pt x="694741" y="1247745"/>
                  </a:lnTo>
                  <a:lnTo>
                    <a:pt x="700848" y="1265417"/>
                  </a:lnTo>
                  <a:lnTo>
                    <a:pt x="677790" y="1297400"/>
                  </a:lnTo>
                  <a:lnTo>
                    <a:pt x="701366" y="1338312"/>
                  </a:lnTo>
                  <a:lnTo>
                    <a:pt x="687477" y="1353144"/>
                  </a:lnTo>
                  <a:lnTo>
                    <a:pt x="693446" y="1376548"/>
                  </a:lnTo>
                  <a:lnTo>
                    <a:pt x="685682" y="1397082"/>
                  </a:lnTo>
                  <a:lnTo>
                    <a:pt x="709217" y="1448877"/>
                  </a:lnTo>
                  <a:lnTo>
                    <a:pt x="693570" y="1530040"/>
                  </a:lnTo>
                  <a:lnTo>
                    <a:pt x="720851" y="1553913"/>
                  </a:lnTo>
                  <a:lnTo>
                    <a:pt x="735337" y="1553058"/>
                  </a:lnTo>
                  <a:lnTo>
                    <a:pt x="764513" y="1584470"/>
                  </a:lnTo>
                  <a:lnTo>
                    <a:pt x="746297" y="1627991"/>
                  </a:lnTo>
                  <a:lnTo>
                    <a:pt x="701923" y="1635067"/>
                  </a:lnTo>
                  <a:lnTo>
                    <a:pt x="718506" y="1675998"/>
                  </a:lnTo>
                  <a:lnTo>
                    <a:pt x="738972" y="1708290"/>
                  </a:lnTo>
                  <a:lnTo>
                    <a:pt x="728514" y="1735813"/>
                  </a:lnTo>
                  <a:lnTo>
                    <a:pt x="732685" y="1754727"/>
                  </a:lnTo>
                  <a:lnTo>
                    <a:pt x="723755" y="1776903"/>
                  </a:lnTo>
                  <a:lnTo>
                    <a:pt x="697114" y="1798654"/>
                  </a:lnTo>
                  <a:lnTo>
                    <a:pt x="664742" y="1805731"/>
                  </a:lnTo>
                  <a:lnTo>
                    <a:pt x="674432" y="1826795"/>
                  </a:lnTo>
                  <a:lnTo>
                    <a:pt x="650363" y="1841899"/>
                  </a:lnTo>
                  <a:lnTo>
                    <a:pt x="662469" y="1877011"/>
                  </a:lnTo>
                  <a:lnTo>
                    <a:pt x="658549" y="1913844"/>
                  </a:lnTo>
                  <a:lnTo>
                    <a:pt x="650165" y="1932378"/>
                  </a:lnTo>
                  <a:lnTo>
                    <a:pt x="628079" y="1927849"/>
                  </a:lnTo>
                  <a:lnTo>
                    <a:pt x="619765" y="1912042"/>
                  </a:lnTo>
                  <a:lnTo>
                    <a:pt x="599654" y="1903161"/>
                  </a:lnTo>
                  <a:lnTo>
                    <a:pt x="566561" y="1904376"/>
                  </a:lnTo>
                  <a:lnTo>
                    <a:pt x="550600" y="1878311"/>
                  </a:lnTo>
                  <a:lnTo>
                    <a:pt x="524132" y="1886987"/>
                  </a:lnTo>
                  <a:lnTo>
                    <a:pt x="517180" y="1916108"/>
                  </a:lnTo>
                  <a:lnTo>
                    <a:pt x="473015" y="1932173"/>
                  </a:lnTo>
                  <a:lnTo>
                    <a:pt x="435671" y="1938332"/>
                  </a:lnTo>
                  <a:lnTo>
                    <a:pt x="423780" y="1961102"/>
                  </a:lnTo>
                  <a:lnTo>
                    <a:pt x="391224" y="1983514"/>
                  </a:lnTo>
                  <a:lnTo>
                    <a:pt x="344659" y="2029484"/>
                  </a:lnTo>
                  <a:lnTo>
                    <a:pt x="317985" y="2048686"/>
                  </a:lnTo>
                  <a:lnTo>
                    <a:pt x="297893" y="2046587"/>
                  </a:lnTo>
                  <a:lnTo>
                    <a:pt x="284573" y="2057753"/>
                  </a:lnTo>
                  <a:lnTo>
                    <a:pt x="257288" y="2065605"/>
                  </a:lnTo>
                  <a:lnTo>
                    <a:pt x="216734" y="2063272"/>
                  </a:lnTo>
                  <a:lnTo>
                    <a:pt x="201771" y="2070429"/>
                  </a:lnTo>
                  <a:lnTo>
                    <a:pt x="188461" y="2055591"/>
                  </a:lnTo>
                  <a:lnTo>
                    <a:pt x="161439" y="2058211"/>
                  </a:lnTo>
                  <a:lnTo>
                    <a:pt x="168494" y="2036288"/>
                  </a:lnTo>
                  <a:lnTo>
                    <a:pt x="139484" y="2029941"/>
                  </a:lnTo>
                  <a:lnTo>
                    <a:pt x="104698" y="2014704"/>
                  </a:lnTo>
                  <a:lnTo>
                    <a:pt x="70170" y="1991950"/>
                  </a:lnTo>
                  <a:lnTo>
                    <a:pt x="50507" y="1961092"/>
                  </a:lnTo>
                  <a:lnTo>
                    <a:pt x="59466" y="1921044"/>
                  </a:lnTo>
                  <a:lnTo>
                    <a:pt x="95190" y="1933363"/>
                  </a:lnTo>
                  <a:lnTo>
                    <a:pt x="88991" y="1914390"/>
                  </a:lnTo>
                  <a:lnTo>
                    <a:pt x="109524" y="1894882"/>
                  </a:lnTo>
                  <a:lnTo>
                    <a:pt x="97091" y="1874900"/>
                  </a:lnTo>
                  <a:lnTo>
                    <a:pt x="50280" y="1887481"/>
                  </a:lnTo>
                  <a:lnTo>
                    <a:pt x="34275" y="1877906"/>
                  </a:lnTo>
                  <a:lnTo>
                    <a:pt x="24408" y="1854963"/>
                  </a:lnTo>
                  <a:lnTo>
                    <a:pt x="33733" y="1837494"/>
                  </a:lnTo>
                  <a:lnTo>
                    <a:pt x="78660" y="1828408"/>
                  </a:lnTo>
                  <a:lnTo>
                    <a:pt x="81337" y="1792320"/>
                  </a:lnTo>
                  <a:lnTo>
                    <a:pt x="99138" y="1789301"/>
                  </a:lnTo>
                  <a:lnTo>
                    <a:pt x="119219" y="1766131"/>
                  </a:lnTo>
                  <a:lnTo>
                    <a:pt x="101149" y="1743728"/>
                  </a:lnTo>
                  <a:lnTo>
                    <a:pt x="92172" y="1774450"/>
                  </a:lnTo>
                  <a:lnTo>
                    <a:pt x="60972" y="1753414"/>
                  </a:lnTo>
                  <a:lnTo>
                    <a:pt x="35437" y="1755460"/>
                  </a:lnTo>
                  <a:lnTo>
                    <a:pt x="19422" y="1728685"/>
                  </a:lnTo>
                  <a:lnTo>
                    <a:pt x="74378" y="1716090"/>
                  </a:lnTo>
                  <a:lnTo>
                    <a:pt x="73961" y="1682587"/>
                  </a:lnTo>
                  <a:lnTo>
                    <a:pt x="68356" y="1685406"/>
                  </a:lnTo>
                  <a:lnTo>
                    <a:pt x="67939" y="1682133"/>
                  </a:lnTo>
                  <a:lnTo>
                    <a:pt x="48615" y="1695334"/>
                  </a:lnTo>
                  <a:lnTo>
                    <a:pt x="31709" y="1703836"/>
                  </a:lnTo>
                  <a:lnTo>
                    <a:pt x="15117" y="1688241"/>
                  </a:lnTo>
                  <a:lnTo>
                    <a:pt x="32971" y="1664228"/>
                  </a:lnTo>
                  <a:lnTo>
                    <a:pt x="9288" y="1659876"/>
                  </a:lnTo>
                  <a:lnTo>
                    <a:pt x="3194" y="1643774"/>
                  </a:lnTo>
                  <a:lnTo>
                    <a:pt x="11737" y="1626444"/>
                  </a:lnTo>
                  <a:lnTo>
                    <a:pt x="3113" y="1573548"/>
                  </a:lnTo>
                  <a:lnTo>
                    <a:pt x="25786" y="1569834"/>
                  </a:lnTo>
                  <a:lnTo>
                    <a:pt x="25435" y="1546789"/>
                  </a:lnTo>
                  <a:lnTo>
                    <a:pt x="0" y="1530440"/>
                  </a:lnTo>
                  <a:lnTo>
                    <a:pt x="39595" y="1503028"/>
                  </a:lnTo>
                  <a:lnTo>
                    <a:pt x="29517" y="1492099"/>
                  </a:lnTo>
                  <a:lnTo>
                    <a:pt x="45589" y="1462200"/>
                  </a:lnTo>
                  <a:lnTo>
                    <a:pt x="73490" y="1463313"/>
                  </a:lnTo>
                  <a:lnTo>
                    <a:pt x="143330" y="1428862"/>
                  </a:lnTo>
                  <a:lnTo>
                    <a:pt x="124496" y="1401738"/>
                  </a:lnTo>
                  <a:lnTo>
                    <a:pt x="172840" y="1390768"/>
                  </a:lnTo>
                  <a:lnTo>
                    <a:pt x="234771" y="1394545"/>
                  </a:lnTo>
                  <a:lnTo>
                    <a:pt x="221840" y="1377203"/>
                  </a:lnTo>
                  <a:lnTo>
                    <a:pt x="197886" y="1380088"/>
                  </a:lnTo>
                  <a:lnTo>
                    <a:pt x="194954" y="1348300"/>
                  </a:lnTo>
                  <a:lnTo>
                    <a:pt x="211577" y="1338921"/>
                  </a:lnTo>
                  <a:lnTo>
                    <a:pt x="248515" y="1351786"/>
                  </a:lnTo>
                  <a:lnTo>
                    <a:pt x="290784" y="1342456"/>
                  </a:lnTo>
                  <a:lnTo>
                    <a:pt x="291202" y="1324857"/>
                  </a:lnTo>
                  <a:lnTo>
                    <a:pt x="317843" y="1315907"/>
                  </a:lnTo>
                  <a:lnTo>
                    <a:pt x="347642" y="1317942"/>
                  </a:lnTo>
                  <a:lnTo>
                    <a:pt x="341583" y="1294066"/>
                  </a:lnTo>
                  <a:lnTo>
                    <a:pt x="356611" y="1276185"/>
                  </a:lnTo>
                  <a:lnTo>
                    <a:pt x="399245" y="1270997"/>
                  </a:lnTo>
                  <a:lnTo>
                    <a:pt x="440525" y="1247464"/>
                  </a:lnTo>
                  <a:lnTo>
                    <a:pt x="461726" y="1244407"/>
                  </a:lnTo>
                  <a:lnTo>
                    <a:pt x="471987" y="1264515"/>
                  </a:lnTo>
                  <a:lnTo>
                    <a:pt x="493366" y="1276808"/>
                  </a:lnTo>
                  <a:lnTo>
                    <a:pt x="559950" y="1261867"/>
                  </a:lnTo>
                  <a:lnTo>
                    <a:pt x="555660" y="1244449"/>
                  </a:lnTo>
                  <a:lnTo>
                    <a:pt x="578953" y="1231349"/>
                  </a:lnTo>
                  <a:lnTo>
                    <a:pt x="625882" y="1219291"/>
                  </a:lnTo>
                  <a:lnTo>
                    <a:pt x="615528" y="1201390"/>
                  </a:lnTo>
                  <a:lnTo>
                    <a:pt x="588208" y="1203732"/>
                  </a:lnTo>
                  <a:lnTo>
                    <a:pt x="579136" y="1224459"/>
                  </a:lnTo>
                  <a:lnTo>
                    <a:pt x="546889" y="1235919"/>
                  </a:lnTo>
                  <a:lnTo>
                    <a:pt x="527350" y="1251319"/>
                  </a:lnTo>
                  <a:lnTo>
                    <a:pt x="481753" y="1262757"/>
                  </a:lnTo>
                  <a:lnTo>
                    <a:pt x="444070" y="1220832"/>
                  </a:lnTo>
                  <a:lnTo>
                    <a:pt x="489396" y="1194797"/>
                  </a:lnTo>
                  <a:lnTo>
                    <a:pt x="486977" y="1182483"/>
                  </a:lnTo>
                  <a:lnTo>
                    <a:pt x="507261" y="1153347"/>
                  </a:lnTo>
                  <a:lnTo>
                    <a:pt x="531327" y="1136136"/>
                  </a:lnTo>
                  <a:lnTo>
                    <a:pt x="537999" y="1117057"/>
                  </a:lnTo>
                  <a:lnTo>
                    <a:pt x="581052" y="1101673"/>
                  </a:lnTo>
                  <a:lnTo>
                    <a:pt x="617619" y="1120409"/>
                  </a:lnTo>
                  <a:lnTo>
                    <a:pt x="633345" y="1097278"/>
                  </a:lnTo>
                  <a:lnTo>
                    <a:pt x="622869" y="1076206"/>
                  </a:lnTo>
                  <a:lnTo>
                    <a:pt x="639020" y="1048116"/>
                  </a:lnTo>
                  <a:lnTo>
                    <a:pt x="691431" y="1010034"/>
                  </a:lnTo>
                  <a:lnTo>
                    <a:pt x="688930" y="991269"/>
                  </a:lnTo>
                  <a:lnTo>
                    <a:pt x="705976" y="938183"/>
                  </a:lnTo>
                  <a:lnTo>
                    <a:pt x="736180" y="908296"/>
                  </a:lnTo>
                  <a:lnTo>
                    <a:pt x="744857" y="883388"/>
                  </a:lnTo>
                  <a:lnTo>
                    <a:pt x="767221" y="873348"/>
                  </a:lnTo>
                  <a:lnTo>
                    <a:pt x="760575" y="850314"/>
                  </a:lnTo>
                  <a:lnTo>
                    <a:pt x="800364" y="840714"/>
                  </a:lnTo>
                  <a:lnTo>
                    <a:pt x="807856" y="830757"/>
                  </a:lnTo>
                  <a:lnTo>
                    <a:pt x="792464" y="805502"/>
                  </a:lnTo>
                  <a:lnTo>
                    <a:pt x="805018" y="752495"/>
                  </a:lnTo>
                  <a:lnTo>
                    <a:pt x="825442" y="741123"/>
                  </a:lnTo>
                  <a:lnTo>
                    <a:pt x="826828" y="716556"/>
                  </a:lnTo>
                  <a:lnTo>
                    <a:pt x="894747" y="710575"/>
                  </a:lnTo>
                  <a:lnTo>
                    <a:pt x="906917" y="680845"/>
                  </a:lnTo>
                  <a:lnTo>
                    <a:pt x="930420" y="664122"/>
                  </a:lnTo>
                  <a:lnTo>
                    <a:pt x="936801" y="631222"/>
                  </a:lnTo>
                  <a:lnTo>
                    <a:pt x="961136" y="616181"/>
                  </a:lnTo>
                  <a:lnTo>
                    <a:pt x="948423" y="573047"/>
                  </a:lnTo>
                  <a:lnTo>
                    <a:pt x="994541" y="562666"/>
                  </a:lnTo>
                  <a:lnTo>
                    <a:pt x="1061341" y="539743"/>
                  </a:lnTo>
                  <a:lnTo>
                    <a:pt x="997948" y="534004"/>
                  </a:lnTo>
                  <a:lnTo>
                    <a:pt x="1009913" y="521043"/>
                  </a:lnTo>
                  <a:lnTo>
                    <a:pt x="1104926" y="539957"/>
                  </a:lnTo>
                  <a:lnTo>
                    <a:pt x="1096068" y="481766"/>
                  </a:lnTo>
                  <a:lnTo>
                    <a:pt x="1141092" y="474586"/>
                  </a:lnTo>
                  <a:lnTo>
                    <a:pt x="1159801" y="485110"/>
                  </a:lnTo>
                  <a:lnTo>
                    <a:pt x="1201324" y="474370"/>
                  </a:lnTo>
                  <a:lnTo>
                    <a:pt x="1158081" y="458702"/>
                  </a:lnTo>
                  <a:lnTo>
                    <a:pt x="1115857" y="470073"/>
                  </a:lnTo>
                  <a:lnTo>
                    <a:pt x="1126726" y="437165"/>
                  </a:lnTo>
                  <a:lnTo>
                    <a:pt x="1194478" y="420091"/>
                  </a:lnTo>
                  <a:lnTo>
                    <a:pt x="1209594" y="384884"/>
                  </a:lnTo>
                  <a:lnTo>
                    <a:pt x="1232796" y="356627"/>
                  </a:lnTo>
                  <a:lnTo>
                    <a:pt x="1259628" y="350965"/>
                  </a:lnTo>
                  <a:lnTo>
                    <a:pt x="1259779" y="324486"/>
                  </a:lnTo>
                  <a:lnTo>
                    <a:pt x="1303997" y="289804"/>
                  </a:lnTo>
                  <a:lnTo>
                    <a:pt x="1352224" y="281578"/>
                  </a:lnTo>
                  <a:lnTo>
                    <a:pt x="1367125" y="251437"/>
                  </a:lnTo>
                  <a:lnTo>
                    <a:pt x="1423776" y="237305"/>
                  </a:lnTo>
                  <a:lnTo>
                    <a:pt x="1439813" y="245163"/>
                  </a:lnTo>
                  <a:lnTo>
                    <a:pt x="1481925" y="209539"/>
                  </a:lnTo>
                  <a:lnTo>
                    <a:pt x="1506608" y="245980"/>
                  </a:lnTo>
                  <a:lnTo>
                    <a:pt x="1543835" y="239961"/>
                  </a:lnTo>
                  <a:lnTo>
                    <a:pt x="1593302" y="203150"/>
                  </a:lnTo>
                  <a:lnTo>
                    <a:pt x="1575752" y="175328"/>
                  </a:lnTo>
                  <a:lnTo>
                    <a:pt x="1598554" y="151506"/>
                  </a:lnTo>
                  <a:lnTo>
                    <a:pt x="1642910" y="148444"/>
                  </a:lnTo>
                  <a:lnTo>
                    <a:pt x="1740695" y="171391"/>
                  </a:lnTo>
                  <a:lnTo>
                    <a:pt x="1742270" y="197909"/>
                  </a:lnTo>
                  <a:lnTo>
                    <a:pt x="1778043" y="188467"/>
                  </a:lnTo>
                  <a:lnTo>
                    <a:pt x="1762000" y="168079"/>
                  </a:lnTo>
                  <a:lnTo>
                    <a:pt x="1822305" y="122230"/>
                  </a:lnTo>
                  <a:lnTo>
                    <a:pt x="1864220" y="101133"/>
                  </a:lnTo>
                  <a:lnTo>
                    <a:pt x="1866154" y="70829"/>
                  </a:lnTo>
                  <a:lnTo>
                    <a:pt x="1893233" y="36466"/>
                  </a:lnTo>
                  <a:lnTo>
                    <a:pt x="1934468" y="36986"/>
                  </a:lnTo>
                  <a:lnTo>
                    <a:pt x="1971100" y="60711"/>
                  </a:lnTo>
                  <a:lnTo>
                    <a:pt x="1991108" y="45873"/>
                  </a:lnTo>
                  <a:lnTo>
                    <a:pt x="2023923" y="55946"/>
                  </a:lnTo>
                  <a:lnTo>
                    <a:pt x="1960790" y="107068"/>
                  </a:lnTo>
                  <a:lnTo>
                    <a:pt x="1955019" y="154519"/>
                  </a:lnTo>
                  <a:lnTo>
                    <a:pt x="1928334" y="179135"/>
                  </a:lnTo>
                  <a:lnTo>
                    <a:pt x="1959571" y="190047"/>
                  </a:lnTo>
                  <a:lnTo>
                    <a:pt x="2003323" y="119447"/>
                  </a:lnTo>
                  <a:lnTo>
                    <a:pt x="2033108" y="99833"/>
                  </a:lnTo>
                  <a:lnTo>
                    <a:pt x="2039680" y="79120"/>
                  </a:lnTo>
                  <a:lnTo>
                    <a:pt x="2087247" y="40372"/>
                  </a:lnTo>
                  <a:lnTo>
                    <a:pt x="2104892" y="42053"/>
                  </a:lnTo>
                  <a:lnTo>
                    <a:pt x="2084058" y="132085"/>
                  </a:lnTo>
                  <a:lnTo>
                    <a:pt x="2138862" y="98571"/>
                  </a:lnTo>
                  <a:lnTo>
                    <a:pt x="2165726" y="49012"/>
                  </a:lnTo>
                  <a:lnTo>
                    <a:pt x="2145749" y="33827"/>
                  </a:lnTo>
                  <a:close/>
                  <a:moveTo>
                    <a:pt x="2003354" y="0"/>
                  </a:moveTo>
                  <a:lnTo>
                    <a:pt x="2033377" y="5728"/>
                  </a:lnTo>
                  <a:lnTo>
                    <a:pt x="2035058" y="28750"/>
                  </a:lnTo>
                  <a:lnTo>
                    <a:pt x="1992125" y="42729"/>
                  </a:lnTo>
                  <a:lnTo>
                    <a:pt x="1961581" y="21761"/>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0" name="ee4p_23_1_43215"/>
            <p:cNvSpPr>
              <a:spLocks noChangeAspect="1"/>
            </p:cNvSpPr>
            <p:nvPr>
              <p:custDataLst>
                <p:tags r:id="rId36"/>
              </p:custDataLst>
            </p:nvPr>
          </p:nvSpPr>
          <p:spPr bwMode="gray">
            <a:xfrm>
              <a:off x="2026681" y="5430451"/>
              <a:ext cx="320394" cy="582267"/>
            </a:xfrm>
            <a:custGeom>
              <a:avLst/>
              <a:gdLst/>
              <a:ahLst/>
              <a:cxnLst/>
              <a:rect l="0" t="0" r="0" b="0"/>
              <a:pathLst>
                <a:path w="320394" h="582267">
                  <a:moveTo>
                    <a:pt x="203064" y="558549"/>
                  </a:moveTo>
                  <a:lnTo>
                    <a:pt x="192914" y="559401"/>
                  </a:lnTo>
                  <a:lnTo>
                    <a:pt x="156554" y="582266"/>
                  </a:lnTo>
                  <a:lnTo>
                    <a:pt x="127572" y="567969"/>
                  </a:lnTo>
                  <a:lnTo>
                    <a:pt x="117362" y="569867"/>
                  </a:lnTo>
                  <a:lnTo>
                    <a:pt x="85904" y="564334"/>
                  </a:lnTo>
                  <a:lnTo>
                    <a:pt x="50572" y="571737"/>
                  </a:lnTo>
                  <a:lnTo>
                    <a:pt x="67812" y="528636"/>
                  </a:lnTo>
                  <a:lnTo>
                    <a:pt x="69135" y="498352"/>
                  </a:lnTo>
                  <a:lnTo>
                    <a:pt x="65306" y="460756"/>
                  </a:lnTo>
                  <a:lnTo>
                    <a:pt x="70120" y="441455"/>
                  </a:lnTo>
                  <a:lnTo>
                    <a:pt x="67684" y="422267"/>
                  </a:lnTo>
                  <a:lnTo>
                    <a:pt x="72872" y="404348"/>
                  </a:lnTo>
                  <a:lnTo>
                    <a:pt x="42220" y="417423"/>
                  </a:lnTo>
                  <a:lnTo>
                    <a:pt x="26868" y="419792"/>
                  </a:lnTo>
                  <a:lnTo>
                    <a:pt x="35042" y="392095"/>
                  </a:lnTo>
                  <a:lnTo>
                    <a:pt x="55003" y="379642"/>
                  </a:lnTo>
                  <a:lnTo>
                    <a:pt x="45054" y="369357"/>
                  </a:lnTo>
                  <a:lnTo>
                    <a:pt x="35652" y="386770"/>
                  </a:lnTo>
                  <a:lnTo>
                    <a:pt x="15114" y="389674"/>
                  </a:lnTo>
                  <a:lnTo>
                    <a:pt x="0" y="378421"/>
                  </a:lnTo>
                  <a:lnTo>
                    <a:pt x="8230" y="359851"/>
                  </a:lnTo>
                  <a:lnTo>
                    <a:pt x="7600" y="345191"/>
                  </a:lnTo>
                  <a:lnTo>
                    <a:pt x="15955" y="322435"/>
                  </a:lnTo>
                  <a:lnTo>
                    <a:pt x="13022" y="314169"/>
                  </a:lnTo>
                  <a:lnTo>
                    <a:pt x="40886" y="286745"/>
                  </a:lnTo>
                  <a:lnTo>
                    <a:pt x="45568" y="266338"/>
                  </a:lnTo>
                  <a:lnTo>
                    <a:pt x="61684" y="224038"/>
                  </a:lnTo>
                  <a:lnTo>
                    <a:pt x="63301" y="202680"/>
                  </a:lnTo>
                  <a:lnTo>
                    <a:pt x="82785" y="123588"/>
                  </a:lnTo>
                  <a:lnTo>
                    <a:pt x="65200" y="47785"/>
                  </a:lnTo>
                  <a:lnTo>
                    <a:pt x="61671" y="24642"/>
                  </a:lnTo>
                  <a:lnTo>
                    <a:pt x="94154" y="766"/>
                  </a:lnTo>
                  <a:lnTo>
                    <a:pt x="113082" y="0"/>
                  </a:lnTo>
                  <a:lnTo>
                    <a:pt x="129379" y="11795"/>
                  </a:lnTo>
                  <a:lnTo>
                    <a:pt x="132622" y="31962"/>
                  </a:lnTo>
                  <a:lnTo>
                    <a:pt x="146283" y="25152"/>
                  </a:lnTo>
                  <a:lnTo>
                    <a:pt x="173827" y="20489"/>
                  </a:lnTo>
                  <a:lnTo>
                    <a:pt x="186399" y="29534"/>
                  </a:lnTo>
                  <a:lnTo>
                    <a:pt x="211398" y="28031"/>
                  </a:lnTo>
                  <a:lnTo>
                    <a:pt x="234667" y="15440"/>
                  </a:lnTo>
                  <a:lnTo>
                    <a:pt x="280721" y="15803"/>
                  </a:lnTo>
                  <a:lnTo>
                    <a:pt x="288599" y="24257"/>
                  </a:lnTo>
                  <a:lnTo>
                    <a:pt x="285666" y="46255"/>
                  </a:lnTo>
                  <a:lnTo>
                    <a:pt x="304193" y="47251"/>
                  </a:lnTo>
                  <a:lnTo>
                    <a:pt x="320393" y="59059"/>
                  </a:lnTo>
                  <a:lnTo>
                    <a:pt x="304588" y="81810"/>
                  </a:lnTo>
                  <a:lnTo>
                    <a:pt x="264175" y="111070"/>
                  </a:lnTo>
                  <a:lnTo>
                    <a:pt x="254620" y="130235"/>
                  </a:lnTo>
                  <a:lnTo>
                    <a:pt x="261893" y="164306"/>
                  </a:lnTo>
                  <a:lnTo>
                    <a:pt x="256651" y="187961"/>
                  </a:lnTo>
                  <a:lnTo>
                    <a:pt x="263140" y="198348"/>
                  </a:lnTo>
                  <a:lnTo>
                    <a:pt x="254363" y="210076"/>
                  </a:lnTo>
                  <a:lnTo>
                    <a:pt x="240771" y="214156"/>
                  </a:lnTo>
                  <a:lnTo>
                    <a:pt x="240797" y="225539"/>
                  </a:lnTo>
                  <a:lnTo>
                    <a:pt x="253469" y="235323"/>
                  </a:lnTo>
                  <a:lnTo>
                    <a:pt x="251324" y="254548"/>
                  </a:lnTo>
                  <a:lnTo>
                    <a:pt x="240463" y="277530"/>
                  </a:lnTo>
                  <a:lnTo>
                    <a:pt x="209658" y="280900"/>
                  </a:lnTo>
                  <a:lnTo>
                    <a:pt x="193629" y="286730"/>
                  </a:lnTo>
                  <a:lnTo>
                    <a:pt x="213441" y="301954"/>
                  </a:lnTo>
                  <a:lnTo>
                    <a:pt x="211899" y="315004"/>
                  </a:lnTo>
                  <a:lnTo>
                    <a:pt x="218609" y="330026"/>
                  </a:lnTo>
                  <a:lnTo>
                    <a:pt x="239056" y="340448"/>
                  </a:lnTo>
                  <a:lnTo>
                    <a:pt x="246657" y="350913"/>
                  </a:lnTo>
                  <a:lnTo>
                    <a:pt x="238745" y="367475"/>
                  </a:lnTo>
                  <a:lnTo>
                    <a:pt x="217367" y="384451"/>
                  </a:lnTo>
                  <a:lnTo>
                    <a:pt x="211316" y="416850"/>
                  </a:lnTo>
                  <a:lnTo>
                    <a:pt x="233717" y="447277"/>
                  </a:lnTo>
                  <a:lnTo>
                    <a:pt x="248231" y="443791"/>
                  </a:lnTo>
                  <a:lnTo>
                    <a:pt x="241714" y="463738"/>
                  </a:lnTo>
                  <a:lnTo>
                    <a:pt x="232705" y="461472"/>
                  </a:lnTo>
                  <a:lnTo>
                    <a:pt x="217900" y="471386"/>
                  </a:lnTo>
                  <a:lnTo>
                    <a:pt x="201465" y="494865"/>
                  </a:lnTo>
                  <a:lnTo>
                    <a:pt x="191354" y="516291"/>
                  </a:lnTo>
                  <a:lnTo>
                    <a:pt x="197770" y="527640"/>
                  </a:lnTo>
                  <a:close/>
                </a:path>
              </a:pathLst>
            </a:custGeom>
            <a:solidFill>
              <a:schemeClr val="accent1">
                <a:lumMod val="40000"/>
                <a:lumOff val="6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1" name="ee4p_26_1_43215"/>
            <p:cNvSpPr>
              <a:spLocks noChangeAspect="1"/>
            </p:cNvSpPr>
            <p:nvPr>
              <p:custDataLst>
                <p:tags r:id="rId37"/>
              </p:custDataLst>
            </p:nvPr>
          </p:nvSpPr>
          <p:spPr bwMode="gray">
            <a:xfrm>
              <a:off x="4575879" y="4521124"/>
              <a:ext cx="553667" cy="234182"/>
            </a:xfrm>
            <a:custGeom>
              <a:avLst/>
              <a:gdLst/>
              <a:ahLst/>
              <a:cxnLst/>
              <a:rect l="0" t="0" r="0" b="0"/>
              <a:pathLst>
                <a:path w="553667" h="234182">
                  <a:moveTo>
                    <a:pt x="553666" y="65865"/>
                  </a:moveTo>
                  <a:lnTo>
                    <a:pt x="535161" y="97445"/>
                  </a:lnTo>
                  <a:lnTo>
                    <a:pt x="531685" y="116263"/>
                  </a:lnTo>
                  <a:lnTo>
                    <a:pt x="514396" y="130808"/>
                  </a:lnTo>
                  <a:lnTo>
                    <a:pt x="513846" y="151148"/>
                  </a:lnTo>
                  <a:lnTo>
                    <a:pt x="482871" y="159672"/>
                  </a:lnTo>
                  <a:lnTo>
                    <a:pt x="466748" y="152907"/>
                  </a:lnTo>
                  <a:lnTo>
                    <a:pt x="461461" y="137992"/>
                  </a:lnTo>
                  <a:lnTo>
                    <a:pt x="445670" y="129857"/>
                  </a:lnTo>
                  <a:lnTo>
                    <a:pt x="417488" y="136932"/>
                  </a:lnTo>
                  <a:lnTo>
                    <a:pt x="397818" y="136470"/>
                  </a:lnTo>
                  <a:lnTo>
                    <a:pt x="386222" y="128871"/>
                  </a:lnTo>
                  <a:lnTo>
                    <a:pt x="353867" y="135775"/>
                  </a:lnTo>
                  <a:lnTo>
                    <a:pt x="332830" y="168671"/>
                  </a:lnTo>
                  <a:lnTo>
                    <a:pt x="308210" y="179188"/>
                  </a:lnTo>
                  <a:lnTo>
                    <a:pt x="288098" y="180200"/>
                  </a:lnTo>
                  <a:lnTo>
                    <a:pt x="269575" y="170147"/>
                  </a:lnTo>
                  <a:lnTo>
                    <a:pt x="253208" y="190805"/>
                  </a:lnTo>
                  <a:lnTo>
                    <a:pt x="196418" y="195283"/>
                  </a:lnTo>
                  <a:lnTo>
                    <a:pt x="186134" y="202904"/>
                  </a:lnTo>
                  <a:lnTo>
                    <a:pt x="189161" y="222964"/>
                  </a:lnTo>
                  <a:lnTo>
                    <a:pt x="176496" y="230342"/>
                  </a:lnTo>
                  <a:lnTo>
                    <a:pt x="140124" y="234181"/>
                  </a:lnTo>
                  <a:lnTo>
                    <a:pt x="90100" y="233021"/>
                  </a:lnTo>
                  <a:lnTo>
                    <a:pt x="58687" y="214887"/>
                  </a:lnTo>
                  <a:lnTo>
                    <a:pt x="47343" y="201885"/>
                  </a:lnTo>
                  <a:lnTo>
                    <a:pt x="30574" y="200244"/>
                  </a:lnTo>
                  <a:lnTo>
                    <a:pt x="12712" y="179779"/>
                  </a:lnTo>
                  <a:lnTo>
                    <a:pt x="0" y="157768"/>
                  </a:lnTo>
                  <a:lnTo>
                    <a:pt x="9236" y="124594"/>
                  </a:lnTo>
                  <a:lnTo>
                    <a:pt x="34528" y="92125"/>
                  </a:lnTo>
                  <a:lnTo>
                    <a:pt x="66148" y="100316"/>
                  </a:lnTo>
                  <a:lnTo>
                    <a:pt x="100639" y="85923"/>
                  </a:lnTo>
                  <a:lnTo>
                    <a:pt x="114115" y="74259"/>
                  </a:lnTo>
                  <a:lnTo>
                    <a:pt x="129597" y="41047"/>
                  </a:lnTo>
                  <a:lnTo>
                    <a:pt x="148436" y="35561"/>
                  </a:lnTo>
                  <a:lnTo>
                    <a:pt x="164576" y="14264"/>
                  </a:lnTo>
                  <a:lnTo>
                    <a:pt x="194172" y="12138"/>
                  </a:lnTo>
                  <a:lnTo>
                    <a:pt x="223379" y="26374"/>
                  </a:lnTo>
                  <a:lnTo>
                    <a:pt x="231145" y="12933"/>
                  </a:lnTo>
                  <a:lnTo>
                    <a:pt x="253761" y="0"/>
                  </a:lnTo>
                  <a:lnTo>
                    <a:pt x="270896" y="25521"/>
                  </a:lnTo>
                  <a:lnTo>
                    <a:pt x="285030" y="25451"/>
                  </a:lnTo>
                  <a:lnTo>
                    <a:pt x="285217" y="43397"/>
                  </a:lnTo>
                  <a:lnTo>
                    <a:pt x="311984" y="54311"/>
                  </a:lnTo>
                  <a:lnTo>
                    <a:pt x="319434" y="37133"/>
                  </a:lnTo>
                  <a:lnTo>
                    <a:pt x="336496" y="26616"/>
                  </a:lnTo>
                  <a:lnTo>
                    <a:pt x="364458" y="25145"/>
                  </a:lnTo>
                  <a:lnTo>
                    <a:pt x="395468" y="39726"/>
                  </a:lnTo>
                  <a:lnTo>
                    <a:pt x="428933" y="19217"/>
                  </a:lnTo>
                  <a:lnTo>
                    <a:pt x="460267" y="22423"/>
                  </a:lnTo>
                  <a:lnTo>
                    <a:pt x="492431" y="33607"/>
                  </a:lnTo>
                  <a:lnTo>
                    <a:pt x="501866" y="48809"/>
                  </a:lnTo>
                  <a:lnTo>
                    <a:pt x="538865" y="64154"/>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2" name="ee4p_29_1_43215"/>
            <p:cNvSpPr>
              <a:spLocks noChangeAspect="1"/>
            </p:cNvSpPr>
            <p:nvPr>
              <p:custDataLst>
                <p:tags r:id="rId38"/>
              </p:custDataLst>
            </p:nvPr>
          </p:nvSpPr>
          <p:spPr bwMode="gray">
            <a:xfrm>
              <a:off x="4906749" y="4690728"/>
              <a:ext cx="910821" cy="559930"/>
            </a:xfrm>
            <a:custGeom>
              <a:avLst/>
              <a:gdLst/>
              <a:ahLst/>
              <a:cxnLst/>
              <a:rect l="0" t="0" r="0" b="0"/>
              <a:pathLst>
                <a:path w="910821" h="559930">
                  <a:moveTo>
                    <a:pt x="804527" y="545855"/>
                  </a:moveTo>
                  <a:lnTo>
                    <a:pt x="771363" y="543518"/>
                  </a:lnTo>
                  <a:lnTo>
                    <a:pt x="747958" y="533538"/>
                  </a:lnTo>
                  <a:lnTo>
                    <a:pt x="743125" y="516759"/>
                  </a:lnTo>
                  <a:lnTo>
                    <a:pt x="720452" y="519773"/>
                  </a:lnTo>
                  <a:lnTo>
                    <a:pt x="710974" y="513511"/>
                  </a:lnTo>
                  <a:lnTo>
                    <a:pt x="690399" y="513493"/>
                  </a:lnTo>
                  <a:lnTo>
                    <a:pt x="677855" y="499978"/>
                  </a:lnTo>
                  <a:lnTo>
                    <a:pt x="642723" y="499159"/>
                  </a:lnTo>
                  <a:lnTo>
                    <a:pt x="629756" y="505385"/>
                  </a:lnTo>
                  <a:lnTo>
                    <a:pt x="591758" y="509870"/>
                  </a:lnTo>
                  <a:lnTo>
                    <a:pt x="566112" y="518025"/>
                  </a:lnTo>
                  <a:lnTo>
                    <a:pt x="529268" y="551299"/>
                  </a:lnTo>
                  <a:lnTo>
                    <a:pt x="495318" y="559929"/>
                  </a:lnTo>
                  <a:lnTo>
                    <a:pt x="458762" y="547464"/>
                  </a:lnTo>
                  <a:lnTo>
                    <a:pt x="432080" y="552096"/>
                  </a:lnTo>
                  <a:lnTo>
                    <a:pt x="409949" y="543060"/>
                  </a:lnTo>
                  <a:lnTo>
                    <a:pt x="378243" y="552481"/>
                  </a:lnTo>
                  <a:lnTo>
                    <a:pt x="333824" y="538197"/>
                  </a:lnTo>
                  <a:lnTo>
                    <a:pt x="303956" y="532477"/>
                  </a:lnTo>
                  <a:lnTo>
                    <a:pt x="270206" y="539112"/>
                  </a:lnTo>
                  <a:lnTo>
                    <a:pt x="251793" y="534088"/>
                  </a:lnTo>
                  <a:lnTo>
                    <a:pt x="257498" y="502857"/>
                  </a:lnTo>
                  <a:lnTo>
                    <a:pt x="233278" y="489393"/>
                  </a:lnTo>
                  <a:lnTo>
                    <a:pt x="218719" y="474742"/>
                  </a:lnTo>
                  <a:lnTo>
                    <a:pt x="221792" y="456749"/>
                  </a:lnTo>
                  <a:lnTo>
                    <a:pt x="232739" y="441421"/>
                  </a:lnTo>
                  <a:lnTo>
                    <a:pt x="213168" y="430021"/>
                  </a:lnTo>
                  <a:lnTo>
                    <a:pt x="200165" y="434656"/>
                  </a:lnTo>
                  <a:lnTo>
                    <a:pt x="185314" y="458056"/>
                  </a:lnTo>
                  <a:lnTo>
                    <a:pt x="167047" y="439703"/>
                  </a:lnTo>
                  <a:lnTo>
                    <a:pt x="133119" y="436635"/>
                  </a:lnTo>
                  <a:lnTo>
                    <a:pt x="128062" y="424812"/>
                  </a:lnTo>
                  <a:lnTo>
                    <a:pt x="109141" y="421893"/>
                  </a:lnTo>
                  <a:lnTo>
                    <a:pt x="110542" y="398523"/>
                  </a:lnTo>
                  <a:lnTo>
                    <a:pt x="122221" y="379452"/>
                  </a:lnTo>
                  <a:lnTo>
                    <a:pt x="117921" y="372966"/>
                  </a:lnTo>
                  <a:lnTo>
                    <a:pt x="80528" y="360510"/>
                  </a:lnTo>
                  <a:lnTo>
                    <a:pt x="55031" y="338407"/>
                  </a:lnTo>
                  <a:lnTo>
                    <a:pt x="48519" y="322459"/>
                  </a:lnTo>
                  <a:lnTo>
                    <a:pt x="52091" y="307378"/>
                  </a:lnTo>
                  <a:lnTo>
                    <a:pt x="13656" y="279936"/>
                  </a:lnTo>
                  <a:lnTo>
                    <a:pt x="0" y="260455"/>
                  </a:lnTo>
                  <a:lnTo>
                    <a:pt x="46886" y="245411"/>
                  </a:lnTo>
                  <a:lnTo>
                    <a:pt x="88658" y="238928"/>
                  </a:lnTo>
                  <a:lnTo>
                    <a:pt x="103108" y="199163"/>
                  </a:lnTo>
                  <a:lnTo>
                    <a:pt x="122407" y="188310"/>
                  </a:lnTo>
                  <a:lnTo>
                    <a:pt x="141449" y="142206"/>
                  </a:lnTo>
                  <a:lnTo>
                    <a:pt x="157811" y="115741"/>
                  </a:lnTo>
                  <a:lnTo>
                    <a:pt x="171361" y="101933"/>
                  </a:lnTo>
                  <a:lnTo>
                    <a:pt x="170171" y="90839"/>
                  </a:lnTo>
                  <a:lnTo>
                    <a:pt x="184524" y="81744"/>
                  </a:lnTo>
                  <a:lnTo>
                    <a:pt x="193547" y="64607"/>
                  </a:lnTo>
                  <a:lnTo>
                    <a:pt x="234230" y="57164"/>
                  </a:lnTo>
                  <a:lnTo>
                    <a:pt x="254672" y="37126"/>
                  </a:lnTo>
                  <a:lnTo>
                    <a:pt x="273408" y="30859"/>
                  </a:lnTo>
                  <a:lnTo>
                    <a:pt x="279318" y="17551"/>
                  </a:lnTo>
                  <a:lnTo>
                    <a:pt x="308224" y="34400"/>
                  </a:lnTo>
                  <a:lnTo>
                    <a:pt x="339390" y="32088"/>
                  </a:lnTo>
                  <a:lnTo>
                    <a:pt x="383557" y="44238"/>
                  </a:lnTo>
                  <a:lnTo>
                    <a:pt x="403645" y="35105"/>
                  </a:lnTo>
                  <a:lnTo>
                    <a:pt x="421788" y="37418"/>
                  </a:lnTo>
                  <a:lnTo>
                    <a:pt x="446923" y="65444"/>
                  </a:lnTo>
                  <a:lnTo>
                    <a:pt x="462084" y="65320"/>
                  </a:lnTo>
                  <a:lnTo>
                    <a:pt x="481350" y="44308"/>
                  </a:lnTo>
                  <a:lnTo>
                    <a:pt x="520538" y="37684"/>
                  </a:lnTo>
                  <a:lnTo>
                    <a:pt x="533184" y="38946"/>
                  </a:lnTo>
                  <a:lnTo>
                    <a:pt x="573186" y="32022"/>
                  </a:lnTo>
                  <a:lnTo>
                    <a:pt x="587182" y="8498"/>
                  </a:lnTo>
                  <a:lnTo>
                    <a:pt x="633119" y="0"/>
                  </a:lnTo>
                  <a:lnTo>
                    <a:pt x="655727" y="18630"/>
                  </a:lnTo>
                  <a:lnTo>
                    <a:pt x="668989" y="38012"/>
                  </a:lnTo>
                  <a:lnTo>
                    <a:pt x="682385" y="75636"/>
                  </a:lnTo>
                  <a:lnTo>
                    <a:pt x="710188" y="114082"/>
                  </a:lnTo>
                  <a:lnTo>
                    <a:pt x="722208" y="118140"/>
                  </a:lnTo>
                  <a:lnTo>
                    <a:pt x="729050" y="136963"/>
                  </a:lnTo>
                  <a:lnTo>
                    <a:pt x="756469" y="155546"/>
                  </a:lnTo>
                  <a:lnTo>
                    <a:pt x="759576" y="175944"/>
                  </a:lnTo>
                  <a:lnTo>
                    <a:pt x="772821" y="200339"/>
                  </a:lnTo>
                  <a:lnTo>
                    <a:pt x="773440" y="221776"/>
                  </a:lnTo>
                  <a:lnTo>
                    <a:pt x="759125" y="246408"/>
                  </a:lnTo>
                  <a:lnTo>
                    <a:pt x="756950" y="274566"/>
                  </a:lnTo>
                  <a:lnTo>
                    <a:pt x="765014" y="310724"/>
                  </a:lnTo>
                  <a:lnTo>
                    <a:pt x="761914" y="326706"/>
                  </a:lnTo>
                  <a:lnTo>
                    <a:pt x="781544" y="357012"/>
                  </a:lnTo>
                  <a:lnTo>
                    <a:pt x="803510" y="366256"/>
                  </a:lnTo>
                  <a:lnTo>
                    <a:pt x="824288" y="367506"/>
                  </a:lnTo>
                  <a:lnTo>
                    <a:pt x="849348" y="352804"/>
                  </a:lnTo>
                  <a:lnTo>
                    <a:pt x="886648" y="342940"/>
                  </a:lnTo>
                  <a:lnTo>
                    <a:pt x="898702" y="347120"/>
                  </a:lnTo>
                  <a:lnTo>
                    <a:pt x="910820" y="363910"/>
                  </a:lnTo>
                  <a:lnTo>
                    <a:pt x="903357" y="415127"/>
                  </a:lnTo>
                  <a:lnTo>
                    <a:pt x="863271" y="421680"/>
                  </a:lnTo>
                  <a:lnTo>
                    <a:pt x="840567" y="439242"/>
                  </a:lnTo>
                  <a:lnTo>
                    <a:pt x="829913" y="456256"/>
                  </a:lnTo>
                  <a:lnTo>
                    <a:pt x="810318" y="476535"/>
                  </a:lnTo>
                  <a:lnTo>
                    <a:pt x="813106" y="516524"/>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3" name="ee4p_32_1_43215"/>
            <p:cNvSpPr>
              <a:spLocks noChangeAspect="1"/>
            </p:cNvSpPr>
            <p:nvPr>
              <p:custDataLst>
                <p:tags r:id="rId39"/>
              </p:custDataLst>
            </p:nvPr>
          </p:nvSpPr>
          <p:spPr bwMode="gray">
            <a:xfrm>
              <a:off x="4930941" y="5399209"/>
              <a:ext cx="243820" cy="173274"/>
            </a:xfrm>
            <a:custGeom>
              <a:avLst/>
              <a:gdLst/>
              <a:ahLst/>
              <a:cxnLst/>
              <a:rect l="0" t="0" r="0" b="0"/>
              <a:pathLst>
                <a:path w="243820" h="173274">
                  <a:moveTo>
                    <a:pt x="178610" y="4831"/>
                  </a:moveTo>
                  <a:lnTo>
                    <a:pt x="194918" y="24841"/>
                  </a:lnTo>
                  <a:lnTo>
                    <a:pt x="227669" y="38451"/>
                  </a:lnTo>
                  <a:lnTo>
                    <a:pt x="228863" y="49625"/>
                  </a:lnTo>
                  <a:lnTo>
                    <a:pt x="243819" y="74739"/>
                  </a:lnTo>
                  <a:lnTo>
                    <a:pt x="235863" y="82456"/>
                  </a:lnTo>
                  <a:lnTo>
                    <a:pt x="238355" y="105683"/>
                  </a:lnTo>
                  <a:lnTo>
                    <a:pt x="233511" y="117639"/>
                  </a:lnTo>
                  <a:lnTo>
                    <a:pt x="218076" y="119146"/>
                  </a:lnTo>
                  <a:lnTo>
                    <a:pt x="216075" y="137888"/>
                  </a:lnTo>
                  <a:lnTo>
                    <a:pt x="188792" y="143220"/>
                  </a:lnTo>
                  <a:lnTo>
                    <a:pt x="168940" y="137524"/>
                  </a:lnTo>
                  <a:lnTo>
                    <a:pt x="150244" y="138635"/>
                  </a:lnTo>
                  <a:lnTo>
                    <a:pt x="134941" y="146206"/>
                  </a:lnTo>
                  <a:lnTo>
                    <a:pt x="124386" y="159497"/>
                  </a:lnTo>
                  <a:lnTo>
                    <a:pt x="101813" y="172037"/>
                  </a:lnTo>
                  <a:lnTo>
                    <a:pt x="87369" y="166140"/>
                  </a:lnTo>
                  <a:lnTo>
                    <a:pt x="72102" y="172832"/>
                  </a:lnTo>
                  <a:lnTo>
                    <a:pt x="45080" y="173273"/>
                  </a:lnTo>
                  <a:lnTo>
                    <a:pt x="41074" y="165361"/>
                  </a:lnTo>
                  <a:lnTo>
                    <a:pt x="21090" y="166826"/>
                  </a:lnTo>
                  <a:lnTo>
                    <a:pt x="15125" y="146609"/>
                  </a:lnTo>
                  <a:lnTo>
                    <a:pt x="1852" y="133730"/>
                  </a:lnTo>
                  <a:lnTo>
                    <a:pt x="4205" y="89511"/>
                  </a:lnTo>
                  <a:lnTo>
                    <a:pt x="0" y="72301"/>
                  </a:lnTo>
                  <a:lnTo>
                    <a:pt x="4376" y="56205"/>
                  </a:lnTo>
                  <a:lnTo>
                    <a:pt x="20674" y="56787"/>
                  </a:lnTo>
                  <a:lnTo>
                    <a:pt x="26158" y="31862"/>
                  </a:lnTo>
                  <a:lnTo>
                    <a:pt x="62647" y="18114"/>
                  </a:lnTo>
                  <a:lnTo>
                    <a:pt x="68618" y="30000"/>
                  </a:lnTo>
                  <a:lnTo>
                    <a:pt x="89688" y="9130"/>
                  </a:lnTo>
                  <a:lnTo>
                    <a:pt x="113112" y="12911"/>
                  </a:lnTo>
                  <a:lnTo>
                    <a:pt x="138519" y="990"/>
                  </a:lnTo>
                  <a:lnTo>
                    <a:pt x="146791" y="6280"/>
                  </a:lnTo>
                  <a:lnTo>
                    <a:pt x="171902" y="0"/>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4" name="ee4p_33_1_43215"/>
            <p:cNvSpPr>
              <a:spLocks noChangeAspect="1"/>
            </p:cNvSpPr>
            <p:nvPr>
              <p:custDataLst>
                <p:tags r:id="rId40"/>
              </p:custDataLst>
            </p:nvPr>
          </p:nvSpPr>
          <p:spPr bwMode="gray">
            <a:xfrm>
              <a:off x="4730046" y="5264536"/>
              <a:ext cx="185281" cy="190225"/>
            </a:xfrm>
            <a:custGeom>
              <a:avLst/>
              <a:gdLst/>
              <a:ahLst/>
              <a:cxnLst/>
              <a:rect l="0" t="0" r="0" b="0"/>
              <a:pathLst>
                <a:path w="185281" h="190225">
                  <a:moveTo>
                    <a:pt x="8428" y="126762"/>
                  </a:moveTo>
                  <a:lnTo>
                    <a:pt x="0" y="110979"/>
                  </a:lnTo>
                  <a:lnTo>
                    <a:pt x="9181" y="102112"/>
                  </a:lnTo>
                  <a:lnTo>
                    <a:pt x="3834" y="87687"/>
                  </a:lnTo>
                  <a:lnTo>
                    <a:pt x="4385" y="64226"/>
                  </a:lnTo>
                  <a:lnTo>
                    <a:pt x="20297" y="56309"/>
                  </a:lnTo>
                  <a:lnTo>
                    <a:pt x="23889" y="29835"/>
                  </a:lnTo>
                  <a:lnTo>
                    <a:pt x="45875" y="16577"/>
                  </a:lnTo>
                  <a:lnTo>
                    <a:pt x="62110" y="22322"/>
                  </a:lnTo>
                  <a:lnTo>
                    <a:pt x="59132" y="0"/>
                  </a:lnTo>
                  <a:lnTo>
                    <a:pt x="75794" y="2193"/>
                  </a:lnTo>
                  <a:lnTo>
                    <a:pt x="104817" y="21293"/>
                  </a:lnTo>
                  <a:lnTo>
                    <a:pt x="107089" y="29921"/>
                  </a:lnTo>
                  <a:lnTo>
                    <a:pt x="130600" y="44195"/>
                  </a:lnTo>
                  <a:lnTo>
                    <a:pt x="147979" y="48757"/>
                  </a:lnTo>
                  <a:lnTo>
                    <a:pt x="162834" y="63145"/>
                  </a:lnTo>
                  <a:lnTo>
                    <a:pt x="184490" y="69437"/>
                  </a:lnTo>
                  <a:lnTo>
                    <a:pt x="185280" y="78511"/>
                  </a:lnTo>
                  <a:lnTo>
                    <a:pt x="169627" y="88821"/>
                  </a:lnTo>
                  <a:lnTo>
                    <a:pt x="152022" y="115515"/>
                  </a:lnTo>
                  <a:lnTo>
                    <a:pt x="131014" y="119350"/>
                  </a:lnTo>
                  <a:lnTo>
                    <a:pt x="114542" y="107004"/>
                  </a:lnTo>
                  <a:lnTo>
                    <a:pt x="81703" y="154774"/>
                  </a:lnTo>
                  <a:lnTo>
                    <a:pt x="93331" y="163646"/>
                  </a:lnTo>
                  <a:lnTo>
                    <a:pt x="90640" y="190224"/>
                  </a:lnTo>
                  <a:lnTo>
                    <a:pt x="72530" y="184216"/>
                  </a:lnTo>
                  <a:lnTo>
                    <a:pt x="67924" y="170778"/>
                  </a:lnTo>
                  <a:lnTo>
                    <a:pt x="45399" y="150101"/>
                  </a:lnTo>
                  <a:lnTo>
                    <a:pt x="26042" y="138225"/>
                  </a:lnTo>
                  <a:lnTo>
                    <a:pt x="23498" y="122286"/>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5" name="ee4p_35_1_43215"/>
            <p:cNvSpPr>
              <a:spLocks noChangeAspect="1"/>
            </p:cNvSpPr>
            <p:nvPr>
              <p:custDataLst>
                <p:tags r:id="rId41"/>
              </p:custDataLst>
            </p:nvPr>
          </p:nvSpPr>
          <p:spPr bwMode="gray">
            <a:xfrm>
              <a:off x="3587247" y="4843359"/>
              <a:ext cx="1150746" cy="1200023"/>
            </a:xfrm>
            <a:custGeom>
              <a:avLst/>
              <a:gdLst/>
              <a:ahLst/>
              <a:cxnLst/>
              <a:rect l="l" t="t" r="r" b="b"/>
              <a:pathLst>
                <a:path w="1150746" h="1200023">
                  <a:moveTo>
                    <a:pt x="860420" y="1019972"/>
                  </a:moveTo>
                  <a:lnTo>
                    <a:pt x="873303" y="1023381"/>
                  </a:lnTo>
                  <a:lnTo>
                    <a:pt x="866833" y="1025546"/>
                  </a:lnTo>
                  <a:lnTo>
                    <a:pt x="856299" y="1047258"/>
                  </a:lnTo>
                  <a:lnTo>
                    <a:pt x="830535" y="1081132"/>
                  </a:lnTo>
                  <a:lnTo>
                    <a:pt x="827170" y="1100890"/>
                  </a:lnTo>
                  <a:lnTo>
                    <a:pt x="818438" y="1111303"/>
                  </a:lnTo>
                  <a:lnTo>
                    <a:pt x="820301" y="1130539"/>
                  </a:lnTo>
                  <a:lnTo>
                    <a:pt x="839362" y="1163403"/>
                  </a:lnTo>
                  <a:lnTo>
                    <a:pt x="828544" y="1170905"/>
                  </a:lnTo>
                  <a:lnTo>
                    <a:pt x="819252" y="1187375"/>
                  </a:lnTo>
                  <a:lnTo>
                    <a:pt x="823517" y="1200023"/>
                  </a:lnTo>
                  <a:lnTo>
                    <a:pt x="799869" y="1195197"/>
                  </a:lnTo>
                  <a:lnTo>
                    <a:pt x="789146" y="1198048"/>
                  </a:lnTo>
                  <a:lnTo>
                    <a:pt x="761123" y="1188823"/>
                  </a:lnTo>
                  <a:lnTo>
                    <a:pt x="742185" y="1161147"/>
                  </a:lnTo>
                  <a:lnTo>
                    <a:pt x="720061" y="1152797"/>
                  </a:lnTo>
                  <a:lnTo>
                    <a:pt x="706754" y="1154550"/>
                  </a:lnTo>
                  <a:lnTo>
                    <a:pt x="680781" y="1143560"/>
                  </a:lnTo>
                  <a:lnTo>
                    <a:pt x="669893" y="1133141"/>
                  </a:lnTo>
                  <a:lnTo>
                    <a:pt x="647754" y="1124598"/>
                  </a:lnTo>
                  <a:lnTo>
                    <a:pt x="633220" y="1110404"/>
                  </a:lnTo>
                  <a:lnTo>
                    <a:pt x="611861" y="1101599"/>
                  </a:lnTo>
                  <a:lnTo>
                    <a:pt x="585549" y="1102718"/>
                  </a:lnTo>
                  <a:lnTo>
                    <a:pt x="565436" y="1086552"/>
                  </a:lnTo>
                  <a:lnTo>
                    <a:pt x="564234" y="1063605"/>
                  </a:lnTo>
                  <a:lnTo>
                    <a:pt x="569892" y="1051075"/>
                  </a:lnTo>
                  <a:lnTo>
                    <a:pt x="588650" y="1041077"/>
                  </a:lnTo>
                  <a:lnTo>
                    <a:pt x="606257" y="1050649"/>
                  </a:lnTo>
                  <a:lnTo>
                    <a:pt x="624175" y="1043481"/>
                  </a:lnTo>
                  <a:lnTo>
                    <a:pt x="626826" y="1031956"/>
                  </a:lnTo>
                  <a:lnTo>
                    <a:pt x="647401" y="1028201"/>
                  </a:lnTo>
                  <a:lnTo>
                    <a:pt x="656282" y="1042288"/>
                  </a:lnTo>
                  <a:lnTo>
                    <a:pt x="688577" y="1056717"/>
                  </a:lnTo>
                  <a:lnTo>
                    <a:pt x="716435" y="1048882"/>
                  </a:lnTo>
                  <a:lnTo>
                    <a:pt x="748594" y="1051749"/>
                  </a:lnTo>
                  <a:lnTo>
                    <a:pt x="774439" y="1045448"/>
                  </a:lnTo>
                  <a:lnTo>
                    <a:pt x="785733" y="1034771"/>
                  </a:lnTo>
                  <a:lnTo>
                    <a:pt x="826648" y="1036361"/>
                  </a:lnTo>
                  <a:close/>
                  <a:moveTo>
                    <a:pt x="252498" y="684169"/>
                  </a:moveTo>
                  <a:lnTo>
                    <a:pt x="284415" y="699157"/>
                  </a:lnTo>
                  <a:lnTo>
                    <a:pt x="282378" y="721792"/>
                  </a:lnTo>
                  <a:lnTo>
                    <a:pt x="294500" y="737172"/>
                  </a:lnTo>
                  <a:lnTo>
                    <a:pt x="309752" y="766675"/>
                  </a:lnTo>
                  <a:lnTo>
                    <a:pt x="290728" y="795542"/>
                  </a:lnTo>
                  <a:lnTo>
                    <a:pt x="300699" y="818486"/>
                  </a:lnTo>
                  <a:lnTo>
                    <a:pt x="296132" y="828808"/>
                  </a:lnTo>
                  <a:lnTo>
                    <a:pt x="294919" y="858331"/>
                  </a:lnTo>
                  <a:lnTo>
                    <a:pt x="284132" y="924692"/>
                  </a:lnTo>
                  <a:lnTo>
                    <a:pt x="271559" y="926489"/>
                  </a:lnTo>
                  <a:lnTo>
                    <a:pt x="258259" y="916590"/>
                  </a:lnTo>
                  <a:lnTo>
                    <a:pt x="234933" y="919379"/>
                  </a:lnTo>
                  <a:lnTo>
                    <a:pt x="230684" y="942187"/>
                  </a:lnTo>
                  <a:lnTo>
                    <a:pt x="215981" y="954582"/>
                  </a:lnTo>
                  <a:lnTo>
                    <a:pt x="195483" y="952938"/>
                  </a:lnTo>
                  <a:lnTo>
                    <a:pt x="168299" y="914881"/>
                  </a:lnTo>
                  <a:lnTo>
                    <a:pt x="168893" y="898285"/>
                  </a:lnTo>
                  <a:lnTo>
                    <a:pt x="178372" y="872587"/>
                  </a:lnTo>
                  <a:lnTo>
                    <a:pt x="176862" y="860052"/>
                  </a:lnTo>
                  <a:lnTo>
                    <a:pt x="184840" y="839501"/>
                  </a:lnTo>
                  <a:lnTo>
                    <a:pt x="171374" y="838062"/>
                  </a:lnTo>
                  <a:lnTo>
                    <a:pt x="180490" y="817206"/>
                  </a:lnTo>
                  <a:lnTo>
                    <a:pt x="179573" y="796100"/>
                  </a:lnTo>
                  <a:lnTo>
                    <a:pt x="163578" y="761785"/>
                  </a:lnTo>
                  <a:lnTo>
                    <a:pt x="147350" y="760895"/>
                  </a:lnTo>
                  <a:lnTo>
                    <a:pt x="145864" y="742833"/>
                  </a:lnTo>
                  <a:lnTo>
                    <a:pt x="153992" y="727603"/>
                  </a:lnTo>
                  <a:lnTo>
                    <a:pt x="177989" y="733292"/>
                  </a:lnTo>
                  <a:lnTo>
                    <a:pt x="209188" y="721527"/>
                  </a:lnTo>
                  <a:lnTo>
                    <a:pt x="233650" y="696714"/>
                  </a:lnTo>
                  <a:close/>
                  <a:moveTo>
                    <a:pt x="339543" y="502758"/>
                  </a:moveTo>
                  <a:lnTo>
                    <a:pt x="368617" y="503711"/>
                  </a:lnTo>
                  <a:lnTo>
                    <a:pt x="341592" y="511553"/>
                  </a:lnTo>
                  <a:close/>
                  <a:moveTo>
                    <a:pt x="483770" y="0"/>
                  </a:moveTo>
                  <a:lnTo>
                    <a:pt x="493493" y="4998"/>
                  </a:lnTo>
                  <a:lnTo>
                    <a:pt x="531584" y="769"/>
                  </a:lnTo>
                  <a:lnTo>
                    <a:pt x="556382" y="35489"/>
                  </a:lnTo>
                  <a:lnTo>
                    <a:pt x="575003" y="44112"/>
                  </a:lnTo>
                  <a:lnTo>
                    <a:pt x="625080" y="50218"/>
                  </a:lnTo>
                  <a:lnTo>
                    <a:pt x="647564" y="56094"/>
                  </a:lnTo>
                  <a:lnTo>
                    <a:pt x="685708" y="59767"/>
                  </a:lnTo>
                  <a:lnTo>
                    <a:pt x="683728" y="69346"/>
                  </a:lnTo>
                  <a:lnTo>
                    <a:pt x="658887" y="80210"/>
                  </a:lnTo>
                  <a:lnTo>
                    <a:pt x="657285" y="95205"/>
                  </a:lnTo>
                  <a:lnTo>
                    <a:pt x="680886" y="101629"/>
                  </a:lnTo>
                  <a:lnTo>
                    <a:pt x="663172" y="122841"/>
                  </a:lnTo>
                  <a:lnTo>
                    <a:pt x="678257" y="130591"/>
                  </a:lnTo>
                  <a:lnTo>
                    <a:pt x="672319" y="141489"/>
                  </a:lnTo>
                  <a:lnTo>
                    <a:pt x="693594" y="154094"/>
                  </a:lnTo>
                  <a:lnTo>
                    <a:pt x="705493" y="167306"/>
                  </a:lnTo>
                  <a:lnTo>
                    <a:pt x="686544" y="171975"/>
                  </a:lnTo>
                  <a:lnTo>
                    <a:pt x="689499" y="161637"/>
                  </a:lnTo>
                  <a:lnTo>
                    <a:pt x="677737" y="150844"/>
                  </a:lnTo>
                  <a:lnTo>
                    <a:pt x="662286" y="158776"/>
                  </a:lnTo>
                  <a:lnTo>
                    <a:pt x="638563" y="152612"/>
                  </a:lnTo>
                  <a:lnTo>
                    <a:pt x="626026" y="167039"/>
                  </a:lnTo>
                  <a:lnTo>
                    <a:pt x="608576" y="169792"/>
                  </a:lnTo>
                  <a:lnTo>
                    <a:pt x="565313" y="189852"/>
                  </a:lnTo>
                  <a:lnTo>
                    <a:pt x="559526" y="178350"/>
                  </a:lnTo>
                  <a:lnTo>
                    <a:pt x="535777" y="196497"/>
                  </a:lnTo>
                  <a:lnTo>
                    <a:pt x="532345" y="211839"/>
                  </a:lnTo>
                  <a:lnTo>
                    <a:pt x="548740" y="217147"/>
                  </a:lnTo>
                  <a:lnTo>
                    <a:pt x="548967" y="241691"/>
                  </a:lnTo>
                  <a:lnTo>
                    <a:pt x="567646" y="246746"/>
                  </a:lnTo>
                  <a:lnTo>
                    <a:pt x="543914" y="271869"/>
                  </a:lnTo>
                  <a:lnTo>
                    <a:pt x="547806" y="307408"/>
                  </a:lnTo>
                  <a:lnTo>
                    <a:pt x="560707" y="340356"/>
                  </a:lnTo>
                  <a:lnTo>
                    <a:pt x="591207" y="366118"/>
                  </a:lnTo>
                  <a:lnTo>
                    <a:pt x="607641" y="371458"/>
                  </a:lnTo>
                  <a:lnTo>
                    <a:pt x="645661" y="401077"/>
                  </a:lnTo>
                  <a:lnTo>
                    <a:pt x="666293" y="406654"/>
                  </a:lnTo>
                  <a:lnTo>
                    <a:pt x="676936" y="421224"/>
                  </a:lnTo>
                  <a:lnTo>
                    <a:pt x="698062" y="468059"/>
                  </a:lnTo>
                  <a:lnTo>
                    <a:pt x="707582" y="501927"/>
                  </a:lnTo>
                  <a:lnTo>
                    <a:pt x="724734" y="532199"/>
                  </a:lnTo>
                  <a:lnTo>
                    <a:pt x="753150" y="555330"/>
                  </a:lnTo>
                  <a:lnTo>
                    <a:pt x="762651" y="567611"/>
                  </a:lnTo>
                  <a:lnTo>
                    <a:pt x="782631" y="576714"/>
                  </a:lnTo>
                  <a:lnTo>
                    <a:pt x="782866" y="584593"/>
                  </a:lnTo>
                  <a:lnTo>
                    <a:pt x="817958" y="603575"/>
                  </a:lnTo>
                  <a:lnTo>
                    <a:pt x="845507" y="608171"/>
                  </a:lnTo>
                  <a:lnTo>
                    <a:pt x="908008" y="602687"/>
                  </a:lnTo>
                  <a:lnTo>
                    <a:pt x="923967" y="610258"/>
                  </a:lnTo>
                  <a:lnTo>
                    <a:pt x="924948" y="623308"/>
                  </a:lnTo>
                  <a:lnTo>
                    <a:pt x="897531" y="641155"/>
                  </a:lnTo>
                  <a:lnTo>
                    <a:pt x="905757" y="661601"/>
                  </a:lnTo>
                  <a:lnTo>
                    <a:pt x="968126" y="690332"/>
                  </a:lnTo>
                  <a:lnTo>
                    <a:pt x="1008920" y="703522"/>
                  </a:lnTo>
                  <a:lnTo>
                    <a:pt x="1030645" y="715768"/>
                  </a:lnTo>
                  <a:lnTo>
                    <a:pt x="1049341" y="731770"/>
                  </a:lnTo>
                  <a:lnTo>
                    <a:pt x="1101791" y="753687"/>
                  </a:lnTo>
                  <a:lnTo>
                    <a:pt x="1103752" y="761763"/>
                  </a:lnTo>
                  <a:lnTo>
                    <a:pt x="1141356" y="793563"/>
                  </a:lnTo>
                  <a:lnTo>
                    <a:pt x="1150746" y="814936"/>
                  </a:lnTo>
                  <a:lnTo>
                    <a:pt x="1142562" y="824321"/>
                  </a:lnTo>
                  <a:lnTo>
                    <a:pt x="1136119" y="850634"/>
                  </a:lnTo>
                  <a:lnTo>
                    <a:pt x="1105047" y="835280"/>
                  </a:lnTo>
                  <a:lnTo>
                    <a:pt x="1099169" y="811087"/>
                  </a:lnTo>
                  <a:lnTo>
                    <a:pt x="1086803" y="794624"/>
                  </a:lnTo>
                  <a:lnTo>
                    <a:pt x="1053070" y="793462"/>
                  </a:lnTo>
                  <a:lnTo>
                    <a:pt x="1027557" y="781925"/>
                  </a:lnTo>
                  <a:lnTo>
                    <a:pt x="1015945" y="767928"/>
                  </a:lnTo>
                  <a:lnTo>
                    <a:pt x="998541" y="773585"/>
                  </a:lnTo>
                  <a:lnTo>
                    <a:pt x="965543" y="817769"/>
                  </a:lnTo>
                  <a:lnTo>
                    <a:pt x="967814" y="831170"/>
                  </a:lnTo>
                  <a:lnTo>
                    <a:pt x="954334" y="849540"/>
                  </a:lnTo>
                  <a:lnTo>
                    <a:pt x="957023" y="864924"/>
                  </a:lnTo>
                  <a:lnTo>
                    <a:pt x="981463" y="870282"/>
                  </a:lnTo>
                  <a:lnTo>
                    <a:pt x="1006072" y="885913"/>
                  </a:lnTo>
                  <a:lnTo>
                    <a:pt x="1016772" y="898358"/>
                  </a:lnTo>
                  <a:lnTo>
                    <a:pt x="1014196" y="928216"/>
                  </a:lnTo>
                  <a:lnTo>
                    <a:pt x="1021923" y="938413"/>
                  </a:lnTo>
                  <a:lnTo>
                    <a:pt x="1013446" y="951481"/>
                  </a:lnTo>
                  <a:lnTo>
                    <a:pt x="1002101" y="947779"/>
                  </a:lnTo>
                  <a:lnTo>
                    <a:pt x="980774" y="953146"/>
                  </a:lnTo>
                  <a:lnTo>
                    <a:pt x="965350" y="962162"/>
                  </a:lnTo>
                  <a:lnTo>
                    <a:pt x="960953" y="976812"/>
                  </a:lnTo>
                  <a:lnTo>
                    <a:pt x="963151" y="1002812"/>
                  </a:lnTo>
                  <a:lnTo>
                    <a:pt x="951923" y="1015345"/>
                  </a:lnTo>
                  <a:lnTo>
                    <a:pt x="939447" y="1019581"/>
                  </a:lnTo>
                  <a:lnTo>
                    <a:pt x="922543" y="1039009"/>
                  </a:lnTo>
                  <a:lnTo>
                    <a:pt x="913060" y="1061855"/>
                  </a:lnTo>
                  <a:lnTo>
                    <a:pt x="884073" y="1062791"/>
                  </a:lnTo>
                  <a:lnTo>
                    <a:pt x="871481" y="1051324"/>
                  </a:lnTo>
                  <a:lnTo>
                    <a:pt x="871671" y="1027387"/>
                  </a:lnTo>
                  <a:lnTo>
                    <a:pt x="888342" y="1020616"/>
                  </a:lnTo>
                  <a:lnTo>
                    <a:pt x="899970" y="991503"/>
                  </a:lnTo>
                  <a:lnTo>
                    <a:pt x="890089" y="983254"/>
                  </a:lnTo>
                  <a:lnTo>
                    <a:pt x="905261" y="972156"/>
                  </a:lnTo>
                  <a:lnTo>
                    <a:pt x="917021" y="973270"/>
                  </a:lnTo>
                  <a:lnTo>
                    <a:pt x="927569" y="962155"/>
                  </a:lnTo>
                  <a:lnTo>
                    <a:pt x="927223" y="948584"/>
                  </a:lnTo>
                  <a:lnTo>
                    <a:pt x="916385" y="937416"/>
                  </a:lnTo>
                  <a:lnTo>
                    <a:pt x="906087" y="890087"/>
                  </a:lnTo>
                  <a:lnTo>
                    <a:pt x="889039" y="863741"/>
                  </a:lnTo>
                  <a:lnTo>
                    <a:pt x="885588" y="839369"/>
                  </a:lnTo>
                  <a:lnTo>
                    <a:pt x="871333" y="819409"/>
                  </a:lnTo>
                  <a:lnTo>
                    <a:pt x="850655" y="828199"/>
                  </a:lnTo>
                  <a:lnTo>
                    <a:pt x="838594" y="823848"/>
                  </a:lnTo>
                  <a:lnTo>
                    <a:pt x="821562" y="806884"/>
                  </a:lnTo>
                  <a:lnTo>
                    <a:pt x="802923" y="800593"/>
                  </a:lnTo>
                  <a:lnTo>
                    <a:pt x="808515" y="778701"/>
                  </a:lnTo>
                  <a:lnTo>
                    <a:pt x="798797" y="760775"/>
                  </a:lnTo>
                  <a:lnTo>
                    <a:pt x="759961" y="746435"/>
                  </a:lnTo>
                  <a:lnTo>
                    <a:pt x="738958" y="730394"/>
                  </a:lnTo>
                  <a:lnTo>
                    <a:pt x="721970" y="731992"/>
                  </a:lnTo>
                  <a:lnTo>
                    <a:pt x="695343" y="691276"/>
                  </a:lnTo>
                  <a:lnTo>
                    <a:pt x="676844" y="682461"/>
                  </a:lnTo>
                  <a:lnTo>
                    <a:pt x="669008" y="687862"/>
                  </a:lnTo>
                  <a:lnTo>
                    <a:pt x="643842" y="678219"/>
                  </a:lnTo>
                  <a:lnTo>
                    <a:pt x="621144" y="686416"/>
                  </a:lnTo>
                  <a:lnTo>
                    <a:pt x="603990" y="665639"/>
                  </a:lnTo>
                  <a:lnTo>
                    <a:pt x="579636" y="660394"/>
                  </a:lnTo>
                  <a:lnTo>
                    <a:pt x="563998" y="640381"/>
                  </a:lnTo>
                  <a:lnTo>
                    <a:pt x="542215" y="626926"/>
                  </a:lnTo>
                  <a:lnTo>
                    <a:pt x="531913" y="605425"/>
                  </a:lnTo>
                  <a:lnTo>
                    <a:pt x="503913" y="593450"/>
                  </a:lnTo>
                  <a:lnTo>
                    <a:pt x="490536" y="569708"/>
                  </a:lnTo>
                  <a:lnTo>
                    <a:pt x="476301" y="557127"/>
                  </a:lnTo>
                  <a:lnTo>
                    <a:pt x="450210" y="549325"/>
                  </a:lnTo>
                  <a:lnTo>
                    <a:pt x="414541" y="509065"/>
                  </a:lnTo>
                  <a:lnTo>
                    <a:pt x="402409" y="506582"/>
                  </a:lnTo>
                  <a:lnTo>
                    <a:pt x="401013" y="490660"/>
                  </a:lnTo>
                  <a:lnTo>
                    <a:pt x="373090" y="481525"/>
                  </a:lnTo>
                  <a:lnTo>
                    <a:pt x="378438" y="460404"/>
                  </a:lnTo>
                  <a:lnTo>
                    <a:pt x="374830" y="445977"/>
                  </a:lnTo>
                  <a:lnTo>
                    <a:pt x="354786" y="415222"/>
                  </a:lnTo>
                  <a:lnTo>
                    <a:pt x="349540" y="377770"/>
                  </a:lnTo>
                  <a:lnTo>
                    <a:pt x="335162" y="360866"/>
                  </a:lnTo>
                  <a:lnTo>
                    <a:pt x="310178" y="356462"/>
                  </a:lnTo>
                  <a:lnTo>
                    <a:pt x="251842" y="321016"/>
                  </a:lnTo>
                  <a:lnTo>
                    <a:pt x="204892" y="311648"/>
                  </a:lnTo>
                  <a:lnTo>
                    <a:pt x="175488" y="329601"/>
                  </a:lnTo>
                  <a:lnTo>
                    <a:pt x="171823" y="340873"/>
                  </a:lnTo>
                  <a:lnTo>
                    <a:pt x="155787" y="350222"/>
                  </a:lnTo>
                  <a:lnTo>
                    <a:pt x="145178" y="371024"/>
                  </a:lnTo>
                  <a:lnTo>
                    <a:pt x="101102" y="388780"/>
                  </a:lnTo>
                  <a:lnTo>
                    <a:pt x="87305" y="387876"/>
                  </a:lnTo>
                  <a:lnTo>
                    <a:pt x="85552" y="375876"/>
                  </a:lnTo>
                  <a:lnTo>
                    <a:pt x="105041" y="351957"/>
                  </a:lnTo>
                  <a:lnTo>
                    <a:pt x="100917" y="343978"/>
                  </a:lnTo>
                  <a:lnTo>
                    <a:pt x="70651" y="348559"/>
                  </a:lnTo>
                  <a:lnTo>
                    <a:pt x="36790" y="334265"/>
                  </a:lnTo>
                  <a:lnTo>
                    <a:pt x="26087" y="317817"/>
                  </a:lnTo>
                  <a:lnTo>
                    <a:pt x="21834" y="299573"/>
                  </a:lnTo>
                  <a:lnTo>
                    <a:pt x="38887" y="275574"/>
                  </a:lnTo>
                  <a:lnTo>
                    <a:pt x="36174" y="262161"/>
                  </a:lnTo>
                  <a:lnTo>
                    <a:pt x="11703" y="252632"/>
                  </a:lnTo>
                  <a:lnTo>
                    <a:pt x="0" y="231212"/>
                  </a:lnTo>
                  <a:lnTo>
                    <a:pt x="49329" y="212677"/>
                  </a:lnTo>
                  <a:lnTo>
                    <a:pt x="53995" y="194991"/>
                  </a:lnTo>
                  <a:lnTo>
                    <a:pt x="36041" y="182807"/>
                  </a:lnTo>
                  <a:lnTo>
                    <a:pt x="36113" y="166525"/>
                  </a:lnTo>
                  <a:lnTo>
                    <a:pt x="17523" y="156282"/>
                  </a:lnTo>
                  <a:lnTo>
                    <a:pt x="18443" y="142911"/>
                  </a:lnTo>
                  <a:lnTo>
                    <a:pt x="40382" y="132477"/>
                  </a:lnTo>
                  <a:lnTo>
                    <a:pt x="64152" y="132740"/>
                  </a:lnTo>
                  <a:lnTo>
                    <a:pt x="97918" y="126716"/>
                  </a:lnTo>
                  <a:lnTo>
                    <a:pt x="119108" y="132663"/>
                  </a:lnTo>
                  <a:lnTo>
                    <a:pt x="131745" y="123596"/>
                  </a:lnTo>
                  <a:lnTo>
                    <a:pt x="148814" y="101063"/>
                  </a:lnTo>
                  <a:lnTo>
                    <a:pt x="141114" y="90842"/>
                  </a:lnTo>
                  <a:lnTo>
                    <a:pt x="177502" y="68512"/>
                  </a:lnTo>
                  <a:lnTo>
                    <a:pt x="174188" y="87001"/>
                  </a:lnTo>
                  <a:lnTo>
                    <a:pt x="191796" y="107037"/>
                  </a:lnTo>
                  <a:lnTo>
                    <a:pt x="204628" y="108326"/>
                  </a:lnTo>
                  <a:lnTo>
                    <a:pt x="209540" y="122125"/>
                  </a:lnTo>
                  <a:lnTo>
                    <a:pt x="232556" y="144270"/>
                  </a:lnTo>
                  <a:lnTo>
                    <a:pt x="231531" y="116851"/>
                  </a:lnTo>
                  <a:lnTo>
                    <a:pt x="248336" y="101523"/>
                  </a:lnTo>
                  <a:lnTo>
                    <a:pt x="258602" y="83588"/>
                  </a:lnTo>
                  <a:lnTo>
                    <a:pt x="256918" y="62927"/>
                  </a:lnTo>
                  <a:lnTo>
                    <a:pt x="274593" y="66212"/>
                  </a:lnTo>
                  <a:lnTo>
                    <a:pt x="281487" y="85581"/>
                  </a:lnTo>
                  <a:lnTo>
                    <a:pt x="298662" y="87679"/>
                  </a:lnTo>
                  <a:lnTo>
                    <a:pt x="317403" y="77033"/>
                  </a:lnTo>
                  <a:lnTo>
                    <a:pt x="330547" y="95309"/>
                  </a:lnTo>
                  <a:lnTo>
                    <a:pt x="343248" y="92296"/>
                  </a:lnTo>
                  <a:lnTo>
                    <a:pt x="330384" y="68304"/>
                  </a:lnTo>
                  <a:lnTo>
                    <a:pt x="336203" y="49065"/>
                  </a:lnTo>
                  <a:lnTo>
                    <a:pt x="372013" y="57240"/>
                  </a:lnTo>
                  <a:lnTo>
                    <a:pt x="365095" y="34103"/>
                  </a:lnTo>
                  <a:lnTo>
                    <a:pt x="371765" y="19331"/>
                  </a:lnTo>
                  <a:lnTo>
                    <a:pt x="390896" y="16820"/>
                  </a:lnTo>
                  <a:lnTo>
                    <a:pt x="411730" y="30551"/>
                  </a:lnTo>
                  <a:lnTo>
                    <a:pt x="425534" y="30050"/>
                  </a:lnTo>
                  <a:lnTo>
                    <a:pt x="438978" y="5810"/>
                  </a:lnTo>
                  <a:lnTo>
                    <a:pt x="463476" y="5724"/>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6" name="ee4p_41_1_43215"/>
            <p:cNvSpPr>
              <a:spLocks noChangeAspect="1"/>
            </p:cNvSpPr>
            <p:nvPr>
              <p:custDataLst>
                <p:tags r:id="rId42"/>
              </p:custDataLst>
            </p:nvPr>
          </p:nvSpPr>
          <p:spPr bwMode="gray">
            <a:xfrm>
              <a:off x="6072570" y="6154425"/>
              <a:ext cx="219086" cy="114134"/>
            </a:xfrm>
            <a:custGeom>
              <a:avLst/>
              <a:gdLst/>
              <a:ahLst/>
              <a:cxnLst/>
              <a:rect l="0" t="0" r="0" b="0"/>
              <a:pathLst>
                <a:path w="219086" h="114134">
                  <a:moveTo>
                    <a:pt x="219085" y="0"/>
                  </a:moveTo>
                  <a:lnTo>
                    <a:pt x="193483" y="20201"/>
                  </a:lnTo>
                  <a:lnTo>
                    <a:pt x="180010" y="26757"/>
                  </a:lnTo>
                  <a:lnTo>
                    <a:pt x="169304" y="39036"/>
                  </a:lnTo>
                  <a:lnTo>
                    <a:pt x="154252" y="46679"/>
                  </a:lnTo>
                  <a:lnTo>
                    <a:pt x="157197" y="60369"/>
                  </a:lnTo>
                  <a:lnTo>
                    <a:pt x="170885" y="76387"/>
                  </a:lnTo>
                  <a:lnTo>
                    <a:pt x="148525" y="80606"/>
                  </a:lnTo>
                  <a:lnTo>
                    <a:pt x="130902" y="78667"/>
                  </a:lnTo>
                  <a:lnTo>
                    <a:pt x="125338" y="93105"/>
                  </a:lnTo>
                  <a:lnTo>
                    <a:pt x="101914" y="104300"/>
                  </a:lnTo>
                  <a:lnTo>
                    <a:pt x="80851" y="106361"/>
                  </a:lnTo>
                  <a:lnTo>
                    <a:pt x="67178" y="113388"/>
                  </a:lnTo>
                  <a:lnTo>
                    <a:pt x="37997" y="114133"/>
                  </a:lnTo>
                  <a:lnTo>
                    <a:pt x="10958" y="103010"/>
                  </a:lnTo>
                  <a:lnTo>
                    <a:pt x="274" y="85600"/>
                  </a:lnTo>
                  <a:lnTo>
                    <a:pt x="0" y="75293"/>
                  </a:lnTo>
                  <a:lnTo>
                    <a:pt x="34251" y="53708"/>
                  </a:lnTo>
                  <a:lnTo>
                    <a:pt x="49586" y="59450"/>
                  </a:lnTo>
                  <a:lnTo>
                    <a:pt x="60204" y="45451"/>
                  </a:lnTo>
                  <a:lnTo>
                    <a:pt x="58900" y="30558"/>
                  </a:lnTo>
                  <a:lnTo>
                    <a:pt x="75831" y="36066"/>
                  </a:lnTo>
                  <a:lnTo>
                    <a:pt x="113117" y="38433"/>
                  </a:lnTo>
                  <a:lnTo>
                    <a:pt x="148858" y="29568"/>
                  </a:lnTo>
                  <a:lnTo>
                    <a:pt x="175780" y="19104"/>
                  </a:lnTo>
                  <a:lnTo>
                    <a:pt x="179970" y="13491"/>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7" name="ee4p_42_1_43215"/>
            <p:cNvSpPr>
              <a:spLocks noChangeAspect="1"/>
            </p:cNvSpPr>
            <p:nvPr>
              <p:custDataLst>
                <p:tags r:id="rId43"/>
              </p:custDataLst>
            </p:nvPr>
          </p:nvSpPr>
          <p:spPr bwMode="gray">
            <a:xfrm>
              <a:off x="4976404" y="3398100"/>
              <a:ext cx="702094" cy="330997"/>
            </a:xfrm>
            <a:custGeom>
              <a:avLst/>
              <a:gdLst/>
              <a:ahLst/>
              <a:cxnLst/>
              <a:rect l="0" t="0" r="0" b="0"/>
              <a:pathLst>
                <a:path w="702094" h="330997">
                  <a:moveTo>
                    <a:pt x="616116" y="78285"/>
                  </a:moveTo>
                  <a:lnTo>
                    <a:pt x="666294" y="110061"/>
                  </a:lnTo>
                  <a:lnTo>
                    <a:pt x="655365" y="132095"/>
                  </a:lnTo>
                  <a:lnTo>
                    <a:pt x="645906" y="173102"/>
                  </a:lnTo>
                  <a:lnTo>
                    <a:pt x="666662" y="167160"/>
                  </a:lnTo>
                  <a:lnTo>
                    <a:pt x="702093" y="250267"/>
                  </a:lnTo>
                  <a:lnTo>
                    <a:pt x="696213" y="262998"/>
                  </a:lnTo>
                  <a:lnTo>
                    <a:pt x="645290" y="297143"/>
                  </a:lnTo>
                  <a:lnTo>
                    <a:pt x="641654" y="316540"/>
                  </a:lnTo>
                  <a:lnTo>
                    <a:pt x="609902" y="316798"/>
                  </a:lnTo>
                  <a:lnTo>
                    <a:pt x="596885" y="307681"/>
                  </a:lnTo>
                  <a:lnTo>
                    <a:pt x="569582" y="326662"/>
                  </a:lnTo>
                  <a:lnTo>
                    <a:pt x="546331" y="330996"/>
                  </a:lnTo>
                  <a:lnTo>
                    <a:pt x="511330" y="319171"/>
                  </a:lnTo>
                  <a:lnTo>
                    <a:pt x="507532" y="309584"/>
                  </a:lnTo>
                  <a:lnTo>
                    <a:pt x="451562" y="269132"/>
                  </a:lnTo>
                  <a:lnTo>
                    <a:pt x="397481" y="262144"/>
                  </a:lnTo>
                  <a:lnTo>
                    <a:pt x="376199" y="226069"/>
                  </a:lnTo>
                  <a:lnTo>
                    <a:pt x="352511" y="236399"/>
                  </a:lnTo>
                  <a:lnTo>
                    <a:pt x="346463" y="248030"/>
                  </a:lnTo>
                  <a:lnTo>
                    <a:pt x="303573" y="253548"/>
                  </a:lnTo>
                  <a:lnTo>
                    <a:pt x="293647" y="242476"/>
                  </a:lnTo>
                  <a:lnTo>
                    <a:pt x="248966" y="241919"/>
                  </a:lnTo>
                  <a:lnTo>
                    <a:pt x="195272" y="231967"/>
                  </a:lnTo>
                  <a:lnTo>
                    <a:pt x="179442" y="237654"/>
                  </a:lnTo>
                  <a:lnTo>
                    <a:pt x="110885" y="228443"/>
                  </a:lnTo>
                  <a:lnTo>
                    <a:pt x="60773" y="243142"/>
                  </a:lnTo>
                  <a:lnTo>
                    <a:pt x="33392" y="257716"/>
                  </a:lnTo>
                  <a:lnTo>
                    <a:pt x="20831" y="277069"/>
                  </a:lnTo>
                  <a:lnTo>
                    <a:pt x="7748" y="278114"/>
                  </a:lnTo>
                  <a:lnTo>
                    <a:pt x="58" y="258477"/>
                  </a:lnTo>
                  <a:lnTo>
                    <a:pt x="0" y="216399"/>
                  </a:lnTo>
                  <a:lnTo>
                    <a:pt x="7725" y="172078"/>
                  </a:lnTo>
                  <a:lnTo>
                    <a:pt x="41243" y="143055"/>
                  </a:lnTo>
                  <a:lnTo>
                    <a:pt x="41354" y="113178"/>
                  </a:lnTo>
                  <a:lnTo>
                    <a:pt x="71439" y="70153"/>
                  </a:lnTo>
                  <a:lnTo>
                    <a:pt x="98311" y="66215"/>
                  </a:lnTo>
                  <a:lnTo>
                    <a:pt x="147307" y="46894"/>
                  </a:lnTo>
                  <a:lnTo>
                    <a:pt x="165372" y="73692"/>
                  </a:lnTo>
                  <a:lnTo>
                    <a:pt x="207117" y="99644"/>
                  </a:lnTo>
                  <a:lnTo>
                    <a:pt x="218099" y="135295"/>
                  </a:lnTo>
                  <a:lnTo>
                    <a:pt x="255453" y="155130"/>
                  </a:lnTo>
                  <a:lnTo>
                    <a:pt x="285105" y="149312"/>
                  </a:lnTo>
                  <a:lnTo>
                    <a:pt x="311008" y="133846"/>
                  </a:lnTo>
                  <a:lnTo>
                    <a:pt x="331506" y="113362"/>
                  </a:lnTo>
                  <a:lnTo>
                    <a:pt x="325041" y="52851"/>
                  </a:lnTo>
                  <a:lnTo>
                    <a:pt x="325954" y="28231"/>
                  </a:lnTo>
                  <a:lnTo>
                    <a:pt x="348429" y="16250"/>
                  </a:lnTo>
                  <a:lnTo>
                    <a:pt x="372521" y="14745"/>
                  </a:lnTo>
                  <a:lnTo>
                    <a:pt x="398817" y="0"/>
                  </a:lnTo>
                  <a:lnTo>
                    <a:pt x="474511" y="32362"/>
                  </a:lnTo>
                  <a:lnTo>
                    <a:pt x="505244" y="50832"/>
                  </a:lnTo>
                  <a:lnTo>
                    <a:pt x="511797" y="67160"/>
                  </a:lnTo>
                  <a:lnTo>
                    <a:pt x="544807" y="76746"/>
                  </a:lnTo>
                  <a:lnTo>
                    <a:pt x="576832" y="66499"/>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8" name="ee4p_43_1_43215"/>
            <p:cNvSpPr>
              <a:spLocks noChangeAspect="1"/>
            </p:cNvSpPr>
            <p:nvPr>
              <p:custDataLst>
                <p:tags r:id="rId44"/>
              </p:custDataLst>
            </p:nvPr>
          </p:nvSpPr>
          <p:spPr bwMode="gray">
            <a:xfrm>
              <a:off x="4984152" y="3624169"/>
              <a:ext cx="558076" cy="343243"/>
            </a:xfrm>
            <a:custGeom>
              <a:avLst/>
              <a:gdLst/>
              <a:ahLst/>
              <a:cxnLst/>
              <a:rect l="0" t="0" r="0" b="0"/>
              <a:pathLst>
                <a:path w="558076" h="343243">
                  <a:moveTo>
                    <a:pt x="538583" y="104927"/>
                  </a:moveTo>
                  <a:lnTo>
                    <a:pt x="528324" y="128063"/>
                  </a:lnTo>
                  <a:lnTo>
                    <a:pt x="531183" y="144458"/>
                  </a:lnTo>
                  <a:lnTo>
                    <a:pt x="558075" y="155545"/>
                  </a:lnTo>
                  <a:lnTo>
                    <a:pt x="543049" y="175530"/>
                  </a:lnTo>
                  <a:lnTo>
                    <a:pt x="499779" y="182697"/>
                  </a:lnTo>
                  <a:lnTo>
                    <a:pt x="497778" y="197256"/>
                  </a:lnTo>
                  <a:lnTo>
                    <a:pt x="463856" y="206641"/>
                  </a:lnTo>
                  <a:lnTo>
                    <a:pt x="451823" y="223477"/>
                  </a:lnTo>
                  <a:lnTo>
                    <a:pt x="454619" y="253663"/>
                  </a:lnTo>
                  <a:lnTo>
                    <a:pt x="435268" y="281862"/>
                  </a:lnTo>
                  <a:lnTo>
                    <a:pt x="456869" y="299468"/>
                  </a:lnTo>
                  <a:lnTo>
                    <a:pt x="433885" y="310187"/>
                  </a:lnTo>
                  <a:lnTo>
                    <a:pt x="430303" y="290454"/>
                  </a:lnTo>
                  <a:lnTo>
                    <a:pt x="403523" y="295522"/>
                  </a:lnTo>
                  <a:lnTo>
                    <a:pt x="387683" y="312743"/>
                  </a:lnTo>
                  <a:lnTo>
                    <a:pt x="359447" y="317266"/>
                  </a:lnTo>
                  <a:lnTo>
                    <a:pt x="327395" y="343242"/>
                  </a:lnTo>
                  <a:lnTo>
                    <a:pt x="303576" y="334517"/>
                  </a:lnTo>
                  <a:lnTo>
                    <a:pt x="282408" y="340618"/>
                  </a:lnTo>
                  <a:lnTo>
                    <a:pt x="237104" y="336294"/>
                  </a:lnTo>
                  <a:lnTo>
                    <a:pt x="234320" y="310168"/>
                  </a:lnTo>
                  <a:lnTo>
                    <a:pt x="219972" y="297059"/>
                  </a:lnTo>
                  <a:lnTo>
                    <a:pt x="167189" y="282182"/>
                  </a:lnTo>
                  <a:lnTo>
                    <a:pt x="158434" y="270164"/>
                  </a:lnTo>
                  <a:lnTo>
                    <a:pt x="162492" y="232946"/>
                  </a:lnTo>
                  <a:lnTo>
                    <a:pt x="175454" y="225040"/>
                  </a:lnTo>
                  <a:lnTo>
                    <a:pt x="169918" y="208729"/>
                  </a:lnTo>
                  <a:lnTo>
                    <a:pt x="153420" y="201494"/>
                  </a:lnTo>
                  <a:lnTo>
                    <a:pt x="147534" y="187456"/>
                  </a:lnTo>
                  <a:lnTo>
                    <a:pt x="102292" y="193109"/>
                  </a:lnTo>
                  <a:lnTo>
                    <a:pt x="43742" y="171921"/>
                  </a:lnTo>
                  <a:lnTo>
                    <a:pt x="18087" y="149073"/>
                  </a:lnTo>
                  <a:lnTo>
                    <a:pt x="18252" y="134215"/>
                  </a:lnTo>
                  <a:lnTo>
                    <a:pt x="1747" y="98249"/>
                  </a:lnTo>
                  <a:lnTo>
                    <a:pt x="0" y="52045"/>
                  </a:lnTo>
                  <a:lnTo>
                    <a:pt x="13083" y="51000"/>
                  </a:lnTo>
                  <a:lnTo>
                    <a:pt x="25644" y="31647"/>
                  </a:lnTo>
                  <a:lnTo>
                    <a:pt x="53025" y="17073"/>
                  </a:lnTo>
                  <a:lnTo>
                    <a:pt x="103137" y="2374"/>
                  </a:lnTo>
                  <a:lnTo>
                    <a:pt x="171694" y="11585"/>
                  </a:lnTo>
                  <a:lnTo>
                    <a:pt x="187524" y="5898"/>
                  </a:lnTo>
                  <a:lnTo>
                    <a:pt x="241218" y="15850"/>
                  </a:lnTo>
                  <a:lnTo>
                    <a:pt x="285899" y="16407"/>
                  </a:lnTo>
                  <a:lnTo>
                    <a:pt x="295825" y="27479"/>
                  </a:lnTo>
                  <a:lnTo>
                    <a:pt x="338715" y="21961"/>
                  </a:lnTo>
                  <a:lnTo>
                    <a:pt x="344763" y="10330"/>
                  </a:lnTo>
                  <a:lnTo>
                    <a:pt x="368451" y="0"/>
                  </a:lnTo>
                  <a:lnTo>
                    <a:pt x="389733" y="36075"/>
                  </a:lnTo>
                  <a:lnTo>
                    <a:pt x="443814" y="43063"/>
                  </a:lnTo>
                  <a:lnTo>
                    <a:pt x="499784" y="83515"/>
                  </a:lnTo>
                  <a:lnTo>
                    <a:pt x="503582" y="93102"/>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29" name="ee4p_54_1_43215"/>
            <p:cNvSpPr>
              <a:spLocks noChangeAspect="1"/>
            </p:cNvSpPr>
            <p:nvPr>
              <p:custDataLst>
                <p:tags r:id="rId45"/>
              </p:custDataLst>
            </p:nvPr>
          </p:nvSpPr>
          <p:spPr bwMode="gray">
            <a:xfrm>
              <a:off x="5464909" y="5428115"/>
              <a:ext cx="1816266" cy="707513"/>
            </a:xfrm>
            <a:custGeom>
              <a:avLst/>
              <a:gdLst/>
              <a:ahLst/>
              <a:cxnLst/>
              <a:rect l="l" t="t" r="r" b="b"/>
              <a:pathLst>
                <a:path w="1816266" h="707513">
                  <a:moveTo>
                    <a:pt x="863206" y="822"/>
                  </a:moveTo>
                  <a:lnTo>
                    <a:pt x="878650" y="11835"/>
                  </a:lnTo>
                  <a:lnTo>
                    <a:pt x="876427" y="21277"/>
                  </a:lnTo>
                  <a:lnTo>
                    <a:pt x="894456" y="45104"/>
                  </a:lnTo>
                  <a:lnTo>
                    <a:pt x="922519" y="54937"/>
                  </a:lnTo>
                  <a:lnTo>
                    <a:pt x="960024" y="42884"/>
                  </a:lnTo>
                  <a:lnTo>
                    <a:pt x="975592" y="55570"/>
                  </a:lnTo>
                  <a:lnTo>
                    <a:pt x="977248" y="74555"/>
                  </a:lnTo>
                  <a:lnTo>
                    <a:pt x="1004815" y="99350"/>
                  </a:lnTo>
                  <a:lnTo>
                    <a:pt x="1019341" y="94615"/>
                  </a:lnTo>
                  <a:lnTo>
                    <a:pt x="1028479" y="83811"/>
                  </a:lnTo>
                  <a:lnTo>
                    <a:pt x="1060799" y="95027"/>
                  </a:lnTo>
                  <a:lnTo>
                    <a:pt x="1063859" y="105448"/>
                  </a:lnTo>
                  <a:lnTo>
                    <a:pt x="1089554" y="110999"/>
                  </a:lnTo>
                  <a:lnTo>
                    <a:pt x="1113229" y="125356"/>
                  </a:lnTo>
                  <a:lnTo>
                    <a:pt x="1126527" y="113016"/>
                  </a:lnTo>
                  <a:lnTo>
                    <a:pt x="1146152" y="129198"/>
                  </a:lnTo>
                  <a:lnTo>
                    <a:pt x="1193647" y="138164"/>
                  </a:lnTo>
                  <a:lnTo>
                    <a:pt x="1227156" y="133440"/>
                  </a:lnTo>
                  <a:lnTo>
                    <a:pt x="1246865" y="123250"/>
                  </a:lnTo>
                  <a:lnTo>
                    <a:pt x="1270539" y="118644"/>
                  </a:lnTo>
                  <a:lnTo>
                    <a:pt x="1279156" y="122328"/>
                  </a:lnTo>
                  <a:lnTo>
                    <a:pt x="1294183" y="115826"/>
                  </a:lnTo>
                  <a:lnTo>
                    <a:pt x="1319039" y="128362"/>
                  </a:lnTo>
                  <a:lnTo>
                    <a:pt x="1339214" y="133013"/>
                  </a:lnTo>
                  <a:lnTo>
                    <a:pt x="1373859" y="135990"/>
                  </a:lnTo>
                  <a:lnTo>
                    <a:pt x="1388438" y="124905"/>
                  </a:lnTo>
                  <a:lnTo>
                    <a:pt x="1404568" y="124468"/>
                  </a:lnTo>
                  <a:lnTo>
                    <a:pt x="1429077" y="109162"/>
                  </a:lnTo>
                  <a:lnTo>
                    <a:pt x="1454790" y="102388"/>
                  </a:lnTo>
                  <a:lnTo>
                    <a:pt x="1481482" y="84778"/>
                  </a:lnTo>
                  <a:lnTo>
                    <a:pt x="1501228" y="67713"/>
                  </a:lnTo>
                  <a:lnTo>
                    <a:pt x="1528111" y="77941"/>
                  </a:lnTo>
                  <a:lnTo>
                    <a:pt x="1540671" y="67448"/>
                  </a:lnTo>
                  <a:lnTo>
                    <a:pt x="1572714" y="70979"/>
                  </a:lnTo>
                  <a:lnTo>
                    <a:pt x="1590526" y="77572"/>
                  </a:lnTo>
                  <a:lnTo>
                    <a:pt x="1603216" y="60237"/>
                  </a:lnTo>
                  <a:lnTo>
                    <a:pt x="1620044" y="60977"/>
                  </a:lnTo>
                  <a:lnTo>
                    <a:pt x="1627690" y="73468"/>
                  </a:lnTo>
                  <a:lnTo>
                    <a:pt x="1662447" y="94387"/>
                  </a:lnTo>
                  <a:lnTo>
                    <a:pt x="1664646" y="107491"/>
                  </a:lnTo>
                  <a:lnTo>
                    <a:pt x="1685116" y="107361"/>
                  </a:lnTo>
                  <a:lnTo>
                    <a:pt x="1688663" y="125133"/>
                  </a:lnTo>
                  <a:lnTo>
                    <a:pt x="1706918" y="136209"/>
                  </a:lnTo>
                  <a:lnTo>
                    <a:pt x="1713588" y="166070"/>
                  </a:lnTo>
                  <a:lnTo>
                    <a:pt x="1699209" y="185058"/>
                  </a:lnTo>
                  <a:lnTo>
                    <a:pt x="1700581" y="200201"/>
                  </a:lnTo>
                  <a:lnTo>
                    <a:pt x="1711079" y="224413"/>
                  </a:lnTo>
                  <a:lnTo>
                    <a:pt x="1706513" y="230555"/>
                  </a:lnTo>
                  <a:lnTo>
                    <a:pt x="1730116" y="240220"/>
                  </a:lnTo>
                  <a:lnTo>
                    <a:pt x="1765984" y="237098"/>
                  </a:lnTo>
                  <a:lnTo>
                    <a:pt x="1785840" y="246606"/>
                  </a:lnTo>
                  <a:lnTo>
                    <a:pt x="1800710" y="264732"/>
                  </a:lnTo>
                  <a:lnTo>
                    <a:pt x="1784229" y="276674"/>
                  </a:lnTo>
                  <a:lnTo>
                    <a:pt x="1779852" y="306505"/>
                  </a:lnTo>
                  <a:lnTo>
                    <a:pt x="1768113" y="312086"/>
                  </a:lnTo>
                  <a:lnTo>
                    <a:pt x="1746077" y="309320"/>
                  </a:lnTo>
                  <a:lnTo>
                    <a:pt x="1745870" y="317895"/>
                  </a:lnTo>
                  <a:lnTo>
                    <a:pt x="1759592" y="340519"/>
                  </a:lnTo>
                  <a:lnTo>
                    <a:pt x="1754363" y="355383"/>
                  </a:lnTo>
                  <a:lnTo>
                    <a:pt x="1767993" y="377449"/>
                  </a:lnTo>
                  <a:lnTo>
                    <a:pt x="1763987" y="387125"/>
                  </a:lnTo>
                  <a:lnTo>
                    <a:pt x="1769353" y="399675"/>
                  </a:lnTo>
                  <a:lnTo>
                    <a:pt x="1769447" y="425697"/>
                  </a:lnTo>
                  <a:lnTo>
                    <a:pt x="1784458" y="433044"/>
                  </a:lnTo>
                  <a:lnTo>
                    <a:pt x="1761781" y="473083"/>
                  </a:lnTo>
                  <a:lnTo>
                    <a:pt x="1760338" y="479936"/>
                  </a:lnTo>
                  <a:lnTo>
                    <a:pt x="1794492" y="494765"/>
                  </a:lnTo>
                  <a:lnTo>
                    <a:pt x="1795665" y="530965"/>
                  </a:lnTo>
                  <a:lnTo>
                    <a:pt x="1816266" y="544521"/>
                  </a:lnTo>
                  <a:lnTo>
                    <a:pt x="1815444" y="560733"/>
                  </a:lnTo>
                  <a:lnTo>
                    <a:pt x="1800834" y="559375"/>
                  </a:lnTo>
                  <a:lnTo>
                    <a:pt x="1763556" y="581956"/>
                  </a:lnTo>
                  <a:lnTo>
                    <a:pt x="1757638" y="569634"/>
                  </a:lnTo>
                  <a:lnTo>
                    <a:pt x="1764088" y="562160"/>
                  </a:lnTo>
                  <a:lnTo>
                    <a:pt x="1760985" y="549587"/>
                  </a:lnTo>
                  <a:lnTo>
                    <a:pt x="1739539" y="544954"/>
                  </a:lnTo>
                  <a:lnTo>
                    <a:pt x="1730245" y="555123"/>
                  </a:lnTo>
                  <a:lnTo>
                    <a:pt x="1689302" y="552373"/>
                  </a:lnTo>
                  <a:lnTo>
                    <a:pt x="1657065" y="538691"/>
                  </a:lnTo>
                  <a:lnTo>
                    <a:pt x="1638064" y="544309"/>
                  </a:lnTo>
                  <a:lnTo>
                    <a:pt x="1621240" y="537597"/>
                  </a:lnTo>
                  <a:lnTo>
                    <a:pt x="1601179" y="563248"/>
                  </a:lnTo>
                  <a:lnTo>
                    <a:pt x="1581573" y="567279"/>
                  </a:lnTo>
                  <a:lnTo>
                    <a:pt x="1579113" y="554610"/>
                  </a:lnTo>
                  <a:lnTo>
                    <a:pt x="1562591" y="547989"/>
                  </a:lnTo>
                  <a:lnTo>
                    <a:pt x="1550601" y="558890"/>
                  </a:lnTo>
                  <a:lnTo>
                    <a:pt x="1529632" y="565885"/>
                  </a:lnTo>
                  <a:lnTo>
                    <a:pt x="1501365" y="570866"/>
                  </a:lnTo>
                  <a:lnTo>
                    <a:pt x="1469252" y="572289"/>
                  </a:lnTo>
                  <a:lnTo>
                    <a:pt x="1441535" y="565915"/>
                  </a:lnTo>
                  <a:lnTo>
                    <a:pt x="1426131" y="567214"/>
                  </a:lnTo>
                  <a:lnTo>
                    <a:pt x="1394867" y="578658"/>
                  </a:lnTo>
                  <a:lnTo>
                    <a:pt x="1372287" y="591946"/>
                  </a:lnTo>
                  <a:lnTo>
                    <a:pt x="1333928" y="607750"/>
                  </a:lnTo>
                  <a:lnTo>
                    <a:pt x="1276199" y="617550"/>
                  </a:lnTo>
                  <a:lnTo>
                    <a:pt x="1258968" y="612793"/>
                  </a:lnTo>
                  <a:lnTo>
                    <a:pt x="1228175" y="613302"/>
                  </a:lnTo>
                  <a:lnTo>
                    <a:pt x="1210353" y="597672"/>
                  </a:lnTo>
                  <a:lnTo>
                    <a:pt x="1195380" y="591666"/>
                  </a:lnTo>
                  <a:lnTo>
                    <a:pt x="1175516" y="590832"/>
                  </a:lnTo>
                  <a:lnTo>
                    <a:pt x="1160252" y="599221"/>
                  </a:lnTo>
                  <a:lnTo>
                    <a:pt x="1112832" y="616169"/>
                  </a:lnTo>
                  <a:lnTo>
                    <a:pt x="1073560" y="618235"/>
                  </a:lnTo>
                  <a:lnTo>
                    <a:pt x="1060092" y="607325"/>
                  </a:lnTo>
                  <a:lnTo>
                    <a:pt x="1028569" y="600913"/>
                  </a:lnTo>
                  <a:lnTo>
                    <a:pt x="1017637" y="637243"/>
                  </a:lnTo>
                  <a:lnTo>
                    <a:pt x="1030611" y="665035"/>
                  </a:lnTo>
                  <a:lnTo>
                    <a:pt x="1002410" y="667630"/>
                  </a:lnTo>
                  <a:lnTo>
                    <a:pt x="1000741" y="691435"/>
                  </a:lnTo>
                  <a:lnTo>
                    <a:pt x="986094" y="695375"/>
                  </a:lnTo>
                  <a:lnTo>
                    <a:pt x="976848" y="707513"/>
                  </a:lnTo>
                  <a:lnTo>
                    <a:pt x="956517" y="699075"/>
                  </a:lnTo>
                  <a:lnTo>
                    <a:pt x="962403" y="689057"/>
                  </a:lnTo>
                  <a:lnTo>
                    <a:pt x="943131" y="655986"/>
                  </a:lnTo>
                  <a:lnTo>
                    <a:pt x="954964" y="642737"/>
                  </a:lnTo>
                  <a:lnTo>
                    <a:pt x="980185" y="625345"/>
                  </a:lnTo>
                  <a:lnTo>
                    <a:pt x="984373" y="604513"/>
                  </a:lnTo>
                  <a:lnTo>
                    <a:pt x="964953" y="588171"/>
                  </a:lnTo>
                  <a:lnTo>
                    <a:pt x="944344" y="606048"/>
                  </a:lnTo>
                  <a:lnTo>
                    <a:pt x="932280" y="606266"/>
                  </a:lnTo>
                  <a:lnTo>
                    <a:pt x="927502" y="624529"/>
                  </a:lnTo>
                  <a:lnTo>
                    <a:pt x="899092" y="629381"/>
                  </a:lnTo>
                  <a:lnTo>
                    <a:pt x="851611" y="603697"/>
                  </a:lnTo>
                  <a:lnTo>
                    <a:pt x="834394" y="601996"/>
                  </a:lnTo>
                  <a:lnTo>
                    <a:pt x="798188" y="626174"/>
                  </a:lnTo>
                  <a:lnTo>
                    <a:pt x="778581" y="645928"/>
                  </a:lnTo>
                  <a:lnTo>
                    <a:pt x="775073" y="658596"/>
                  </a:lnTo>
                  <a:lnTo>
                    <a:pt x="759412" y="656073"/>
                  </a:lnTo>
                  <a:lnTo>
                    <a:pt x="741757" y="672011"/>
                  </a:lnTo>
                  <a:lnTo>
                    <a:pt x="669368" y="679738"/>
                  </a:lnTo>
                  <a:lnTo>
                    <a:pt x="655332" y="688650"/>
                  </a:lnTo>
                  <a:lnTo>
                    <a:pt x="641966" y="686332"/>
                  </a:lnTo>
                  <a:lnTo>
                    <a:pt x="615087" y="673193"/>
                  </a:lnTo>
                  <a:lnTo>
                    <a:pt x="605967" y="665232"/>
                  </a:lnTo>
                  <a:lnTo>
                    <a:pt x="581989" y="632860"/>
                  </a:lnTo>
                  <a:lnTo>
                    <a:pt x="544951" y="619336"/>
                  </a:lnTo>
                  <a:lnTo>
                    <a:pt x="510110" y="600944"/>
                  </a:lnTo>
                  <a:lnTo>
                    <a:pt x="481234" y="596158"/>
                  </a:lnTo>
                  <a:lnTo>
                    <a:pt x="456999" y="597362"/>
                  </a:lnTo>
                  <a:lnTo>
                    <a:pt x="439508" y="603203"/>
                  </a:lnTo>
                  <a:lnTo>
                    <a:pt x="440803" y="627125"/>
                  </a:lnTo>
                  <a:lnTo>
                    <a:pt x="422466" y="663782"/>
                  </a:lnTo>
                  <a:lnTo>
                    <a:pt x="410515" y="656312"/>
                  </a:lnTo>
                  <a:lnTo>
                    <a:pt x="395030" y="663918"/>
                  </a:lnTo>
                  <a:lnTo>
                    <a:pt x="361599" y="674302"/>
                  </a:lnTo>
                  <a:lnTo>
                    <a:pt x="321790" y="665709"/>
                  </a:lnTo>
                  <a:lnTo>
                    <a:pt x="300454" y="651327"/>
                  </a:lnTo>
                  <a:lnTo>
                    <a:pt x="291623" y="629448"/>
                  </a:lnTo>
                  <a:lnTo>
                    <a:pt x="296002" y="616077"/>
                  </a:lnTo>
                  <a:lnTo>
                    <a:pt x="282213" y="609632"/>
                  </a:lnTo>
                  <a:lnTo>
                    <a:pt x="255562" y="613088"/>
                  </a:lnTo>
                  <a:lnTo>
                    <a:pt x="247210" y="600917"/>
                  </a:lnTo>
                  <a:lnTo>
                    <a:pt x="229718" y="603940"/>
                  </a:lnTo>
                  <a:lnTo>
                    <a:pt x="199616" y="619811"/>
                  </a:lnTo>
                  <a:lnTo>
                    <a:pt x="187185" y="607924"/>
                  </a:lnTo>
                  <a:lnTo>
                    <a:pt x="166132" y="606447"/>
                  </a:lnTo>
                  <a:lnTo>
                    <a:pt x="158745" y="616800"/>
                  </a:lnTo>
                  <a:lnTo>
                    <a:pt x="135064" y="608339"/>
                  </a:lnTo>
                  <a:lnTo>
                    <a:pt x="173521" y="601146"/>
                  </a:lnTo>
                  <a:lnTo>
                    <a:pt x="189591" y="602645"/>
                  </a:lnTo>
                  <a:lnTo>
                    <a:pt x="197348" y="586986"/>
                  </a:lnTo>
                  <a:lnTo>
                    <a:pt x="183177" y="576923"/>
                  </a:lnTo>
                  <a:lnTo>
                    <a:pt x="170765" y="580738"/>
                  </a:lnTo>
                  <a:lnTo>
                    <a:pt x="118334" y="583033"/>
                  </a:lnTo>
                  <a:lnTo>
                    <a:pt x="115388" y="573887"/>
                  </a:lnTo>
                  <a:lnTo>
                    <a:pt x="128869" y="562869"/>
                  </a:lnTo>
                  <a:lnTo>
                    <a:pt x="137900" y="571205"/>
                  </a:lnTo>
                  <a:lnTo>
                    <a:pt x="153234" y="549848"/>
                  </a:lnTo>
                  <a:lnTo>
                    <a:pt x="118155" y="542946"/>
                  </a:lnTo>
                  <a:lnTo>
                    <a:pt x="113267" y="513310"/>
                  </a:lnTo>
                  <a:lnTo>
                    <a:pt x="120201" y="474867"/>
                  </a:lnTo>
                  <a:lnTo>
                    <a:pt x="83744" y="461750"/>
                  </a:lnTo>
                  <a:lnTo>
                    <a:pt x="71262" y="444627"/>
                  </a:lnTo>
                  <a:lnTo>
                    <a:pt x="46704" y="449506"/>
                  </a:lnTo>
                  <a:lnTo>
                    <a:pt x="21801" y="438363"/>
                  </a:lnTo>
                  <a:lnTo>
                    <a:pt x="40490" y="429564"/>
                  </a:lnTo>
                  <a:lnTo>
                    <a:pt x="46716" y="420174"/>
                  </a:lnTo>
                  <a:lnTo>
                    <a:pt x="32790" y="409017"/>
                  </a:lnTo>
                  <a:lnTo>
                    <a:pt x="30989" y="396905"/>
                  </a:lnTo>
                  <a:lnTo>
                    <a:pt x="46449" y="395792"/>
                  </a:lnTo>
                  <a:lnTo>
                    <a:pt x="75063" y="428719"/>
                  </a:lnTo>
                  <a:lnTo>
                    <a:pt x="88853" y="418734"/>
                  </a:lnTo>
                  <a:lnTo>
                    <a:pt x="70114" y="399406"/>
                  </a:lnTo>
                  <a:lnTo>
                    <a:pt x="67144" y="387492"/>
                  </a:lnTo>
                  <a:lnTo>
                    <a:pt x="95575" y="370764"/>
                  </a:lnTo>
                  <a:lnTo>
                    <a:pt x="73883" y="360149"/>
                  </a:lnTo>
                  <a:lnTo>
                    <a:pt x="82609" y="348253"/>
                  </a:lnTo>
                  <a:lnTo>
                    <a:pt x="57425" y="320620"/>
                  </a:lnTo>
                  <a:lnTo>
                    <a:pt x="86985" y="300929"/>
                  </a:lnTo>
                  <a:lnTo>
                    <a:pt x="67222" y="291665"/>
                  </a:lnTo>
                  <a:lnTo>
                    <a:pt x="32524" y="300946"/>
                  </a:lnTo>
                  <a:lnTo>
                    <a:pt x="2892" y="301620"/>
                  </a:lnTo>
                  <a:lnTo>
                    <a:pt x="12653" y="281163"/>
                  </a:lnTo>
                  <a:lnTo>
                    <a:pt x="11422" y="252893"/>
                  </a:lnTo>
                  <a:lnTo>
                    <a:pt x="16042" y="241255"/>
                  </a:lnTo>
                  <a:lnTo>
                    <a:pt x="27917" y="240372"/>
                  </a:lnTo>
                  <a:lnTo>
                    <a:pt x="36447" y="228861"/>
                  </a:lnTo>
                  <a:lnTo>
                    <a:pt x="70064" y="196211"/>
                  </a:lnTo>
                  <a:lnTo>
                    <a:pt x="96801" y="197838"/>
                  </a:lnTo>
                  <a:lnTo>
                    <a:pt x="121276" y="188577"/>
                  </a:lnTo>
                  <a:lnTo>
                    <a:pt x="126399" y="200804"/>
                  </a:lnTo>
                  <a:lnTo>
                    <a:pt x="142580" y="207556"/>
                  </a:lnTo>
                  <a:lnTo>
                    <a:pt x="169292" y="206657"/>
                  </a:lnTo>
                  <a:lnTo>
                    <a:pt x="178420" y="198869"/>
                  </a:lnTo>
                  <a:lnTo>
                    <a:pt x="177810" y="183254"/>
                  </a:lnTo>
                  <a:lnTo>
                    <a:pt x="208454" y="196779"/>
                  </a:lnTo>
                  <a:lnTo>
                    <a:pt x="239515" y="197178"/>
                  </a:lnTo>
                  <a:lnTo>
                    <a:pt x="254341" y="201257"/>
                  </a:lnTo>
                  <a:lnTo>
                    <a:pt x="283814" y="189628"/>
                  </a:lnTo>
                  <a:lnTo>
                    <a:pt x="265951" y="183137"/>
                  </a:lnTo>
                  <a:lnTo>
                    <a:pt x="286754" y="168461"/>
                  </a:lnTo>
                  <a:lnTo>
                    <a:pt x="341000" y="163817"/>
                  </a:lnTo>
                  <a:lnTo>
                    <a:pt x="334460" y="153064"/>
                  </a:lnTo>
                  <a:lnTo>
                    <a:pt x="321362" y="155888"/>
                  </a:lnTo>
                  <a:lnTo>
                    <a:pt x="314676" y="144442"/>
                  </a:lnTo>
                  <a:lnTo>
                    <a:pt x="290782" y="130155"/>
                  </a:lnTo>
                  <a:lnTo>
                    <a:pt x="295417" y="107876"/>
                  </a:lnTo>
                  <a:lnTo>
                    <a:pt x="295835" y="107086"/>
                  </a:lnTo>
                  <a:lnTo>
                    <a:pt x="311936" y="100659"/>
                  </a:lnTo>
                  <a:lnTo>
                    <a:pt x="369328" y="111922"/>
                  </a:lnTo>
                  <a:lnTo>
                    <a:pt x="398699" y="111900"/>
                  </a:lnTo>
                  <a:lnTo>
                    <a:pt x="410833" y="104078"/>
                  </a:lnTo>
                  <a:lnTo>
                    <a:pt x="457029" y="117833"/>
                  </a:lnTo>
                  <a:lnTo>
                    <a:pt x="481841" y="119390"/>
                  </a:lnTo>
                  <a:lnTo>
                    <a:pt x="509244" y="114366"/>
                  </a:lnTo>
                  <a:lnTo>
                    <a:pt x="519492" y="104317"/>
                  </a:lnTo>
                  <a:lnTo>
                    <a:pt x="518538" y="92567"/>
                  </a:lnTo>
                  <a:lnTo>
                    <a:pt x="565481" y="68580"/>
                  </a:lnTo>
                  <a:lnTo>
                    <a:pt x="591796" y="57773"/>
                  </a:lnTo>
                  <a:lnTo>
                    <a:pt x="604887" y="44633"/>
                  </a:lnTo>
                  <a:lnTo>
                    <a:pt x="627021" y="34632"/>
                  </a:lnTo>
                  <a:lnTo>
                    <a:pt x="659984" y="28377"/>
                  </a:lnTo>
                  <a:lnTo>
                    <a:pt x="706995" y="9783"/>
                  </a:lnTo>
                  <a:lnTo>
                    <a:pt x="730776" y="13481"/>
                  </a:lnTo>
                  <a:lnTo>
                    <a:pt x="780158" y="14566"/>
                  </a:lnTo>
                  <a:lnTo>
                    <a:pt x="799023" y="18875"/>
                  </a:lnTo>
                  <a:lnTo>
                    <a:pt x="848110" y="17396"/>
                  </a:lnTo>
                  <a:close/>
                  <a:moveTo>
                    <a:pt x="119781" y="0"/>
                  </a:moveTo>
                  <a:lnTo>
                    <a:pt x="145929" y="21885"/>
                  </a:lnTo>
                  <a:lnTo>
                    <a:pt x="160906" y="14696"/>
                  </a:lnTo>
                  <a:lnTo>
                    <a:pt x="193789" y="14090"/>
                  </a:lnTo>
                  <a:lnTo>
                    <a:pt x="188820" y="33185"/>
                  </a:lnTo>
                  <a:lnTo>
                    <a:pt x="200265" y="55354"/>
                  </a:lnTo>
                  <a:lnTo>
                    <a:pt x="216734" y="70556"/>
                  </a:lnTo>
                  <a:lnTo>
                    <a:pt x="251405" y="87396"/>
                  </a:lnTo>
                  <a:lnTo>
                    <a:pt x="297673" y="103609"/>
                  </a:lnTo>
                  <a:lnTo>
                    <a:pt x="295835" y="107086"/>
                  </a:lnTo>
                  <a:lnTo>
                    <a:pt x="295558" y="107196"/>
                  </a:lnTo>
                  <a:lnTo>
                    <a:pt x="295417" y="107876"/>
                  </a:lnTo>
                  <a:lnTo>
                    <a:pt x="284934" y="127699"/>
                  </a:lnTo>
                  <a:lnTo>
                    <a:pt x="250336" y="132296"/>
                  </a:lnTo>
                  <a:lnTo>
                    <a:pt x="223259" y="121031"/>
                  </a:lnTo>
                  <a:lnTo>
                    <a:pt x="206821" y="119344"/>
                  </a:lnTo>
                  <a:lnTo>
                    <a:pt x="186044" y="131929"/>
                  </a:lnTo>
                  <a:lnTo>
                    <a:pt x="167437" y="126165"/>
                  </a:lnTo>
                  <a:lnTo>
                    <a:pt x="143216" y="130671"/>
                  </a:lnTo>
                  <a:lnTo>
                    <a:pt x="137591" y="145616"/>
                  </a:lnTo>
                  <a:lnTo>
                    <a:pt x="123544" y="161973"/>
                  </a:lnTo>
                  <a:lnTo>
                    <a:pt x="107585" y="172066"/>
                  </a:lnTo>
                  <a:lnTo>
                    <a:pt x="68501" y="187806"/>
                  </a:lnTo>
                  <a:lnTo>
                    <a:pt x="54140" y="205552"/>
                  </a:lnTo>
                  <a:lnTo>
                    <a:pt x="37914" y="217157"/>
                  </a:lnTo>
                  <a:lnTo>
                    <a:pt x="25584" y="232683"/>
                  </a:lnTo>
                  <a:lnTo>
                    <a:pt x="20174" y="206413"/>
                  </a:lnTo>
                  <a:lnTo>
                    <a:pt x="50027" y="187478"/>
                  </a:lnTo>
                  <a:lnTo>
                    <a:pt x="77935" y="175352"/>
                  </a:lnTo>
                  <a:lnTo>
                    <a:pt x="72716" y="167109"/>
                  </a:lnTo>
                  <a:lnTo>
                    <a:pt x="26217" y="174819"/>
                  </a:lnTo>
                  <a:lnTo>
                    <a:pt x="7334" y="173914"/>
                  </a:lnTo>
                  <a:lnTo>
                    <a:pt x="0" y="158777"/>
                  </a:lnTo>
                  <a:lnTo>
                    <a:pt x="31606" y="133599"/>
                  </a:lnTo>
                  <a:lnTo>
                    <a:pt x="29609" y="97967"/>
                  </a:lnTo>
                  <a:lnTo>
                    <a:pt x="58294" y="83317"/>
                  </a:lnTo>
                  <a:lnTo>
                    <a:pt x="54908" y="58638"/>
                  </a:lnTo>
                  <a:lnTo>
                    <a:pt x="31459" y="45641"/>
                  </a:lnTo>
                  <a:lnTo>
                    <a:pt x="32541" y="32938"/>
                  </a:lnTo>
                  <a:lnTo>
                    <a:pt x="48947" y="32614"/>
                  </a:lnTo>
                  <a:lnTo>
                    <a:pt x="58427" y="15259"/>
                  </a:lnTo>
                  <a:lnTo>
                    <a:pt x="90341" y="11871"/>
                  </a:lnTo>
                  <a:lnTo>
                    <a:pt x="100084" y="1295"/>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0" name="ee4p_57_1_43215"/>
            <p:cNvSpPr>
              <a:spLocks noChangeAspect="1"/>
            </p:cNvSpPr>
            <p:nvPr>
              <p:custDataLst>
                <p:tags r:id="rId46"/>
              </p:custDataLst>
            </p:nvPr>
          </p:nvSpPr>
          <p:spPr bwMode="gray">
            <a:xfrm>
              <a:off x="4256514" y="4900217"/>
              <a:ext cx="568363" cy="430418"/>
            </a:xfrm>
            <a:custGeom>
              <a:avLst/>
              <a:gdLst/>
              <a:ahLst/>
              <a:cxnLst/>
              <a:rect l="l" t="t" r="r" b="b"/>
              <a:pathLst>
                <a:path w="568363" h="430418">
                  <a:moveTo>
                    <a:pt x="286793" y="378161"/>
                  </a:moveTo>
                  <a:lnTo>
                    <a:pt x="316136" y="381959"/>
                  </a:lnTo>
                  <a:lnTo>
                    <a:pt x="320321" y="391454"/>
                  </a:lnTo>
                  <a:lnTo>
                    <a:pt x="289040" y="391622"/>
                  </a:lnTo>
                  <a:close/>
                  <a:moveTo>
                    <a:pt x="129569" y="237453"/>
                  </a:moveTo>
                  <a:lnTo>
                    <a:pt x="164764" y="263991"/>
                  </a:lnTo>
                  <a:lnTo>
                    <a:pt x="151172" y="265036"/>
                  </a:lnTo>
                  <a:lnTo>
                    <a:pt x="131902" y="248040"/>
                  </a:lnTo>
                  <a:close/>
                  <a:moveTo>
                    <a:pt x="75770" y="166342"/>
                  </a:moveTo>
                  <a:lnTo>
                    <a:pt x="85171" y="188439"/>
                  </a:lnTo>
                  <a:lnTo>
                    <a:pt x="94484" y="229320"/>
                  </a:lnTo>
                  <a:lnTo>
                    <a:pt x="81968" y="223076"/>
                  </a:lnTo>
                  <a:lnTo>
                    <a:pt x="80941" y="187922"/>
                  </a:lnTo>
                  <a:close/>
                  <a:moveTo>
                    <a:pt x="101763" y="158688"/>
                  </a:moveTo>
                  <a:lnTo>
                    <a:pt x="112502" y="193412"/>
                  </a:lnTo>
                  <a:lnTo>
                    <a:pt x="92349" y="183875"/>
                  </a:lnTo>
                  <a:close/>
                  <a:moveTo>
                    <a:pt x="273022" y="0"/>
                  </a:moveTo>
                  <a:lnTo>
                    <a:pt x="295366" y="8595"/>
                  </a:lnTo>
                  <a:lnTo>
                    <a:pt x="321406" y="23345"/>
                  </a:lnTo>
                  <a:lnTo>
                    <a:pt x="331783" y="39059"/>
                  </a:lnTo>
                  <a:lnTo>
                    <a:pt x="351774" y="48000"/>
                  </a:lnTo>
                  <a:lnTo>
                    <a:pt x="359404" y="64494"/>
                  </a:lnTo>
                  <a:lnTo>
                    <a:pt x="388650" y="73756"/>
                  </a:lnTo>
                  <a:lnTo>
                    <a:pt x="399439" y="86207"/>
                  </a:lnTo>
                  <a:lnTo>
                    <a:pt x="419090" y="92929"/>
                  </a:lnTo>
                  <a:lnTo>
                    <a:pt x="443123" y="91672"/>
                  </a:lnTo>
                  <a:lnTo>
                    <a:pt x="474381" y="97978"/>
                  </a:lnTo>
                  <a:lnTo>
                    <a:pt x="499396" y="76135"/>
                  </a:lnTo>
                  <a:lnTo>
                    <a:pt x="517232" y="75767"/>
                  </a:lnTo>
                  <a:lnTo>
                    <a:pt x="525820" y="97628"/>
                  </a:lnTo>
                  <a:lnTo>
                    <a:pt x="522684" y="122383"/>
                  </a:lnTo>
                  <a:lnTo>
                    <a:pt x="528407" y="143669"/>
                  </a:lnTo>
                  <a:lnTo>
                    <a:pt x="568363" y="166564"/>
                  </a:lnTo>
                  <a:lnTo>
                    <a:pt x="545995" y="166599"/>
                  </a:lnTo>
                  <a:lnTo>
                    <a:pt x="538157" y="176985"/>
                  </a:lnTo>
                  <a:lnTo>
                    <a:pt x="541810" y="193509"/>
                  </a:lnTo>
                  <a:lnTo>
                    <a:pt x="513365" y="203848"/>
                  </a:lnTo>
                  <a:lnTo>
                    <a:pt x="508153" y="187367"/>
                  </a:lnTo>
                  <a:lnTo>
                    <a:pt x="495749" y="179073"/>
                  </a:lnTo>
                  <a:lnTo>
                    <a:pt x="477369" y="179030"/>
                  </a:lnTo>
                  <a:lnTo>
                    <a:pt x="453988" y="170173"/>
                  </a:lnTo>
                  <a:lnTo>
                    <a:pt x="442752" y="176865"/>
                  </a:lnTo>
                  <a:lnTo>
                    <a:pt x="430577" y="168672"/>
                  </a:lnTo>
                  <a:lnTo>
                    <a:pt x="414993" y="180677"/>
                  </a:lnTo>
                  <a:lnTo>
                    <a:pt x="391655" y="173671"/>
                  </a:lnTo>
                  <a:lnTo>
                    <a:pt x="351581" y="168841"/>
                  </a:lnTo>
                  <a:lnTo>
                    <a:pt x="333474" y="159823"/>
                  </a:lnTo>
                  <a:lnTo>
                    <a:pt x="285124" y="161625"/>
                  </a:lnTo>
                  <a:lnTo>
                    <a:pt x="265560" y="186979"/>
                  </a:lnTo>
                  <a:lnTo>
                    <a:pt x="248208" y="175388"/>
                  </a:lnTo>
                  <a:lnTo>
                    <a:pt x="239725" y="162325"/>
                  </a:lnTo>
                  <a:lnTo>
                    <a:pt x="214845" y="166831"/>
                  </a:lnTo>
                  <a:lnTo>
                    <a:pt x="216678" y="189488"/>
                  </a:lnTo>
                  <a:lnTo>
                    <a:pt x="211371" y="207339"/>
                  </a:lnTo>
                  <a:lnTo>
                    <a:pt x="216484" y="216336"/>
                  </a:lnTo>
                  <a:lnTo>
                    <a:pt x="240689" y="227856"/>
                  </a:lnTo>
                  <a:lnTo>
                    <a:pt x="251258" y="248506"/>
                  </a:lnTo>
                  <a:lnTo>
                    <a:pt x="258174" y="279754"/>
                  </a:lnTo>
                  <a:lnTo>
                    <a:pt x="280402" y="302058"/>
                  </a:lnTo>
                  <a:lnTo>
                    <a:pt x="306342" y="322645"/>
                  </a:lnTo>
                  <a:lnTo>
                    <a:pt x="335152" y="355543"/>
                  </a:lnTo>
                  <a:lnTo>
                    <a:pt x="361715" y="368328"/>
                  </a:lnTo>
                  <a:lnTo>
                    <a:pt x="360062" y="379510"/>
                  </a:lnTo>
                  <a:lnTo>
                    <a:pt x="375697" y="401183"/>
                  </a:lnTo>
                  <a:lnTo>
                    <a:pt x="396424" y="412845"/>
                  </a:lnTo>
                  <a:lnTo>
                    <a:pt x="402631" y="425728"/>
                  </a:lnTo>
                  <a:lnTo>
                    <a:pt x="387049" y="430418"/>
                  </a:lnTo>
                  <a:lnTo>
                    <a:pt x="366856" y="410155"/>
                  </a:lnTo>
                  <a:lnTo>
                    <a:pt x="341862" y="395864"/>
                  </a:lnTo>
                  <a:lnTo>
                    <a:pt x="321665" y="376624"/>
                  </a:lnTo>
                  <a:lnTo>
                    <a:pt x="299679" y="371836"/>
                  </a:lnTo>
                  <a:lnTo>
                    <a:pt x="277283" y="359265"/>
                  </a:lnTo>
                  <a:lnTo>
                    <a:pt x="248611" y="367970"/>
                  </a:lnTo>
                  <a:lnTo>
                    <a:pt x="229513" y="355800"/>
                  </a:lnTo>
                  <a:lnTo>
                    <a:pt x="227348" y="340970"/>
                  </a:lnTo>
                  <a:lnTo>
                    <a:pt x="208219" y="332595"/>
                  </a:lnTo>
                  <a:lnTo>
                    <a:pt x="186207" y="315548"/>
                  </a:lnTo>
                  <a:lnTo>
                    <a:pt x="155949" y="284076"/>
                  </a:lnTo>
                  <a:lnTo>
                    <a:pt x="168343" y="262536"/>
                  </a:lnTo>
                  <a:lnTo>
                    <a:pt x="139744" y="237314"/>
                  </a:lnTo>
                  <a:lnTo>
                    <a:pt x="129182" y="211368"/>
                  </a:lnTo>
                  <a:lnTo>
                    <a:pt x="133873" y="192212"/>
                  </a:lnTo>
                  <a:lnTo>
                    <a:pt x="124824" y="173532"/>
                  </a:lnTo>
                  <a:lnTo>
                    <a:pt x="96542" y="153192"/>
                  </a:lnTo>
                  <a:lnTo>
                    <a:pt x="75663" y="143931"/>
                  </a:lnTo>
                  <a:lnTo>
                    <a:pt x="65838" y="169913"/>
                  </a:lnTo>
                  <a:lnTo>
                    <a:pt x="42067" y="205469"/>
                  </a:lnTo>
                  <a:lnTo>
                    <a:pt x="31908" y="209820"/>
                  </a:lnTo>
                  <a:lnTo>
                    <a:pt x="20970" y="188488"/>
                  </a:lnTo>
                  <a:lnTo>
                    <a:pt x="5082" y="169655"/>
                  </a:lnTo>
                  <a:lnTo>
                    <a:pt x="0" y="146532"/>
                  </a:lnTo>
                  <a:lnTo>
                    <a:pt x="3755" y="129226"/>
                  </a:lnTo>
                  <a:lnTo>
                    <a:pt x="26248" y="134402"/>
                  </a:lnTo>
                  <a:lnTo>
                    <a:pt x="91477" y="122029"/>
                  </a:lnTo>
                  <a:lnTo>
                    <a:pt x="98872" y="108206"/>
                  </a:lnTo>
                  <a:lnTo>
                    <a:pt x="123767" y="131232"/>
                  </a:lnTo>
                  <a:lnTo>
                    <a:pt x="139592" y="126910"/>
                  </a:lnTo>
                  <a:lnTo>
                    <a:pt x="158059" y="135950"/>
                  </a:lnTo>
                  <a:lnTo>
                    <a:pt x="167352" y="130596"/>
                  </a:lnTo>
                  <a:lnTo>
                    <a:pt x="169882" y="95900"/>
                  </a:lnTo>
                  <a:lnTo>
                    <a:pt x="202063" y="86694"/>
                  </a:lnTo>
                  <a:lnTo>
                    <a:pt x="211734" y="60865"/>
                  </a:lnTo>
                  <a:lnTo>
                    <a:pt x="199354" y="52675"/>
                  </a:lnTo>
                  <a:lnTo>
                    <a:pt x="206157" y="38768"/>
                  </a:lnTo>
                  <a:lnTo>
                    <a:pt x="237974" y="29039"/>
                  </a:lnTo>
                  <a:lnTo>
                    <a:pt x="260999" y="5868"/>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1" name="ee4p_58_1_43215"/>
            <p:cNvSpPr>
              <a:spLocks noChangeAspect="1"/>
            </p:cNvSpPr>
            <p:nvPr>
              <p:custDataLst>
                <p:tags r:id="rId47"/>
              </p:custDataLst>
            </p:nvPr>
          </p:nvSpPr>
          <p:spPr bwMode="gray">
            <a:xfrm>
              <a:off x="4467804" y="5060361"/>
              <a:ext cx="375872" cy="313920"/>
            </a:xfrm>
            <a:custGeom>
              <a:avLst/>
              <a:gdLst/>
              <a:ahLst/>
              <a:cxnLst/>
              <a:rect l="0" t="0" r="0" b="0"/>
              <a:pathLst>
                <a:path w="375872" h="313920">
                  <a:moveTo>
                    <a:pt x="334577" y="200244"/>
                  </a:moveTo>
                  <a:lnTo>
                    <a:pt x="324207" y="201846"/>
                  </a:lnTo>
                  <a:lnTo>
                    <a:pt x="308465" y="219912"/>
                  </a:lnTo>
                  <a:lnTo>
                    <a:pt x="287152" y="231857"/>
                  </a:lnTo>
                  <a:lnTo>
                    <a:pt x="283348" y="247080"/>
                  </a:lnTo>
                  <a:lnTo>
                    <a:pt x="267484" y="266074"/>
                  </a:lnTo>
                  <a:lnTo>
                    <a:pt x="267252" y="290971"/>
                  </a:lnTo>
                  <a:lnTo>
                    <a:pt x="275030" y="296729"/>
                  </a:lnTo>
                  <a:lnTo>
                    <a:pt x="266900" y="313919"/>
                  </a:lnTo>
                  <a:lnTo>
                    <a:pt x="245983" y="307559"/>
                  </a:lnTo>
                  <a:lnTo>
                    <a:pt x="200663" y="275760"/>
                  </a:lnTo>
                  <a:lnTo>
                    <a:pt x="187581" y="254119"/>
                  </a:lnTo>
                  <a:lnTo>
                    <a:pt x="156614" y="231776"/>
                  </a:lnTo>
                  <a:lnTo>
                    <a:pt x="152722" y="207629"/>
                  </a:lnTo>
                  <a:lnTo>
                    <a:pt x="126647" y="195980"/>
                  </a:lnTo>
                  <a:lnTo>
                    <a:pt x="95407" y="160198"/>
                  </a:lnTo>
                  <a:lnTo>
                    <a:pt x="71254" y="142563"/>
                  </a:lnTo>
                  <a:lnTo>
                    <a:pt x="50007" y="121859"/>
                  </a:lnTo>
                  <a:lnTo>
                    <a:pt x="39276" y="98361"/>
                  </a:lnTo>
                  <a:lnTo>
                    <a:pt x="31077" y="67857"/>
                  </a:lnTo>
                  <a:lnTo>
                    <a:pt x="8831" y="57552"/>
                  </a:lnTo>
                  <a:lnTo>
                    <a:pt x="0" y="30672"/>
                  </a:lnTo>
                  <a:lnTo>
                    <a:pt x="2914" y="6293"/>
                  </a:lnTo>
                  <a:lnTo>
                    <a:pt x="28730" y="0"/>
                  </a:lnTo>
                  <a:lnTo>
                    <a:pt x="34565" y="13482"/>
                  </a:lnTo>
                  <a:lnTo>
                    <a:pt x="58026" y="24732"/>
                  </a:lnTo>
                  <a:lnTo>
                    <a:pt x="74885" y="188"/>
                  </a:lnTo>
                  <a:lnTo>
                    <a:pt x="103848" y="3708"/>
                  </a:lnTo>
                  <a:lnTo>
                    <a:pt x="126870" y="1041"/>
                  </a:lnTo>
                  <a:lnTo>
                    <a:pt x="140340" y="8114"/>
                  </a:lnTo>
                  <a:lnTo>
                    <a:pt x="172965" y="13660"/>
                  </a:lnTo>
                  <a:lnTo>
                    <a:pt x="187713" y="10217"/>
                  </a:lnTo>
                  <a:lnTo>
                    <a:pt x="205882" y="19700"/>
                  </a:lnTo>
                  <a:lnTo>
                    <a:pt x="217024" y="7802"/>
                  </a:lnTo>
                  <a:lnTo>
                    <a:pt x="277996" y="14961"/>
                  </a:lnTo>
                  <a:lnTo>
                    <a:pt x="290166" y="22548"/>
                  </a:lnTo>
                  <a:lnTo>
                    <a:pt x="303270" y="42415"/>
                  </a:lnTo>
                  <a:lnTo>
                    <a:pt x="319820" y="41852"/>
                  </a:lnTo>
                  <a:lnTo>
                    <a:pt x="332989" y="34472"/>
                  </a:lnTo>
                  <a:lnTo>
                    <a:pt x="352021" y="38634"/>
                  </a:lnTo>
                  <a:lnTo>
                    <a:pt x="348577" y="55117"/>
                  </a:lnTo>
                  <a:lnTo>
                    <a:pt x="328431" y="82810"/>
                  </a:lnTo>
                  <a:lnTo>
                    <a:pt x="331490" y="110390"/>
                  </a:lnTo>
                  <a:lnTo>
                    <a:pt x="346924" y="112242"/>
                  </a:lnTo>
                  <a:lnTo>
                    <a:pt x="375871" y="142485"/>
                  </a:lnTo>
                  <a:lnTo>
                    <a:pt x="343594" y="154570"/>
                  </a:lnTo>
                  <a:lnTo>
                    <a:pt x="366006" y="178448"/>
                  </a:lnTo>
                  <a:lnTo>
                    <a:pt x="363064" y="193302"/>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2" name="ee4p_65_1_43215"/>
            <p:cNvSpPr>
              <a:spLocks noChangeAspect="1"/>
            </p:cNvSpPr>
            <p:nvPr>
              <p:custDataLst>
                <p:tags r:id="rId48"/>
              </p:custDataLst>
            </p:nvPr>
          </p:nvSpPr>
          <p:spPr bwMode="gray">
            <a:xfrm>
              <a:off x="5109254" y="5180121"/>
              <a:ext cx="604788" cy="347274"/>
            </a:xfrm>
            <a:custGeom>
              <a:avLst/>
              <a:gdLst/>
              <a:ahLst/>
              <a:cxnLst/>
              <a:rect l="0" t="0" r="0" b="0"/>
              <a:pathLst>
                <a:path w="604788" h="347274">
                  <a:moveTo>
                    <a:pt x="602022" y="56462"/>
                  </a:moveTo>
                  <a:lnTo>
                    <a:pt x="604787" y="79986"/>
                  </a:lnTo>
                  <a:lnTo>
                    <a:pt x="591491" y="98413"/>
                  </a:lnTo>
                  <a:lnTo>
                    <a:pt x="575886" y="94263"/>
                  </a:lnTo>
                  <a:lnTo>
                    <a:pt x="554947" y="99204"/>
                  </a:lnTo>
                  <a:lnTo>
                    <a:pt x="535367" y="138460"/>
                  </a:lnTo>
                  <a:lnTo>
                    <a:pt x="536242" y="178504"/>
                  </a:lnTo>
                  <a:lnTo>
                    <a:pt x="518944" y="178304"/>
                  </a:lnTo>
                  <a:lnTo>
                    <a:pt x="510555" y="192761"/>
                  </a:lnTo>
                  <a:lnTo>
                    <a:pt x="521917" y="230298"/>
                  </a:lnTo>
                  <a:lnTo>
                    <a:pt x="549445" y="262084"/>
                  </a:lnTo>
                  <a:lnTo>
                    <a:pt x="516562" y="262690"/>
                  </a:lnTo>
                  <a:lnTo>
                    <a:pt x="501585" y="269879"/>
                  </a:lnTo>
                  <a:lnTo>
                    <a:pt x="475437" y="247994"/>
                  </a:lnTo>
                  <a:lnTo>
                    <a:pt x="455740" y="249289"/>
                  </a:lnTo>
                  <a:lnTo>
                    <a:pt x="445997" y="259865"/>
                  </a:lnTo>
                  <a:lnTo>
                    <a:pt x="414083" y="263253"/>
                  </a:lnTo>
                  <a:lnTo>
                    <a:pt x="404603" y="280608"/>
                  </a:lnTo>
                  <a:lnTo>
                    <a:pt x="388197" y="280932"/>
                  </a:lnTo>
                  <a:lnTo>
                    <a:pt x="387115" y="293635"/>
                  </a:lnTo>
                  <a:lnTo>
                    <a:pt x="368880" y="289279"/>
                  </a:lnTo>
                  <a:lnTo>
                    <a:pt x="365870" y="304921"/>
                  </a:lnTo>
                  <a:lnTo>
                    <a:pt x="369199" y="325893"/>
                  </a:lnTo>
                  <a:lnTo>
                    <a:pt x="365301" y="334831"/>
                  </a:lnTo>
                  <a:lnTo>
                    <a:pt x="341297" y="340680"/>
                  </a:lnTo>
                  <a:lnTo>
                    <a:pt x="311281" y="339015"/>
                  </a:lnTo>
                  <a:lnTo>
                    <a:pt x="278264" y="347273"/>
                  </a:lnTo>
                  <a:lnTo>
                    <a:pt x="261905" y="334218"/>
                  </a:lnTo>
                  <a:lnTo>
                    <a:pt x="216793" y="324895"/>
                  </a:lnTo>
                  <a:lnTo>
                    <a:pt x="203782" y="314729"/>
                  </a:lnTo>
                  <a:lnTo>
                    <a:pt x="175920" y="316283"/>
                  </a:lnTo>
                  <a:lnTo>
                    <a:pt x="155652" y="325060"/>
                  </a:lnTo>
                  <a:lnTo>
                    <a:pt x="123784" y="332458"/>
                  </a:lnTo>
                  <a:lnTo>
                    <a:pt x="93382" y="329666"/>
                  </a:lnTo>
                  <a:lnTo>
                    <a:pt x="81621" y="338418"/>
                  </a:lnTo>
                  <a:lnTo>
                    <a:pt x="55198" y="336727"/>
                  </a:lnTo>
                  <a:lnTo>
                    <a:pt x="60042" y="324771"/>
                  </a:lnTo>
                  <a:lnTo>
                    <a:pt x="57550" y="301544"/>
                  </a:lnTo>
                  <a:lnTo>
                    <a:pt x="65506" y="293827"/>
                  </a:lnTo>
                  <a:lnTo>
                    <a:pt x="50550" y="268713"/>
                  </a:lnTo>
                  <a:lnTo>
                    <a:pt x="49356" y="257539"/>
                  </a:lnTo>
                  <a:lnTo>
                    <a:pt x="16605" y="243929"/>
                  </a:lnTo>
                  <a:lnTo>
                    <a:pt x="297" y="223919"/>
                  </a:lnTo>
                  <a:lnTo>
                    <a:pt x="15782" y="213846"/>
                  </a:lnTo>
                  <a:lnTo>
                    <a:pt x="18306" y="200939"/>
                  </a:lnTo>
                  <a:lnTo>
                    <a:pt x="7935" y="194138"/>
                  </a:lnTo>
                  <a:lnTo>
                    <a:pt x="13912" y="173951"/>
                  </a:lnTo>
                  <a:lnTo>
                    <a:pt x="7963" y="164253"/>
                  </a:lnTo>
                  <a:lnTo>
                    <a:pt x="41291" y="145558"/>
                  </a:lnTo>
                  <a:lnTo>
                    <a:pt x="60584" y="130323"/>
                  </a:lnTo>
                  <a:lnTo>
                    <a:pt x="45388" y="104594"/>
                  </a:lnTo>
                  <a:lnTo>
                    <a:pt x="17049" y="87995"/>
                  </a:lnTo>
                  <a:lnTo>
                    <a:pt x="13036" y="68216"/>
                  </a:lnTo>
                  <a:lnTo>
                    <a:pt x="0" y="48103"/>
                  </a:lnTo>
                  <a:lnTo>
                    <a:pt x="5071" y="25062"/>
                  </a:lnTo>
                  <a:lnTo>
                    <a:pt x="25552" y="18057"/>
                  </a:lnTo>
                  <a:lnTo>
                    <a:pt x="30773" y="0"/>
                  </a:lnTo>
                  <a:lnTo>
                    <a:pt x="54993" y="13464"/>
                  </a:lnTo>
                  <a:lnTo>
                    <a:pt x="49288" y="44695"/>
                  </a:lnTo>
                  <a:lnTo>
                    <a:pt x="67701" y="49719"/>
                  </a:lnTo>
                  <a:lnTo>
                    <a:pt x="101451" y="43084"/>
                  </a:lnTo>
                  <a:lnTo>
                    <a:pt x="131319" y="48804"/>
                  </a:lnTo>
                  <a:lnTo>
                    <a:pt x="175738" y="63088"/>
                  </a:lnTo>
                  <a:lnTo>
                    <a:pt x="207444" y="53667"/>
                  </a:lnTo>
                  <a:lnTo>
                    <a:pt x="229575" y="62703"/>
                  </a:lnTo>
                  <a:lnTo>
                    <a:pt x="256257" y="58071"/>
                  </a:lnTo>
                  <a:lnTo>
                    <a:pt x="292813" y="70536"/>
                  </a:lnTo>
                  <a:lnTo>
                    <a:pt x="326763" y="61906"/>
                  </a:lnTo>
                  <a:lnTo>
                    <a:pt x="363607" y="28632"/>
                  </a:lnTo>
                  <a:lnTo>
                    <a:pt x="389253" y="20477"/>
                  </a:lnTo>
                  <a:lnTo>
                    <a:pt x="427251" y="15992"/>
                  </a:lnTo>
                  <a:lnTo>
                    <a:pt x="440218" y="9766"/>
                  </a:lnTo>
                  <a:lnTo>
                    <a:pt x="475350" y="10585"/>
                  </a:lnTo>
                  <a:lnTo>
                    <a:pt x="487894" y="24100"/>
                  </a:lnTo>
                  <a:lnTo>
                    <a:pt x="508469" y="24118"/>
                  </a:lnTo>
                  <a:lnTo>
                    <a:pt x="517947" y="30380"/>
                  </a:lnTo>
                  <a:lnTo>
                    <a:pt x="540620" y="27366"/>
                  </a:lnTo>
                  <a:lnTo>
                    <a:pt x="545453" y="44145"/>
                  </a:lnTo>
                  <a:lnTo>
                    <a:pt x="568858" y="54125"/>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3" name="ee4p_13_1_43215"/>
            <p:cNvSpPr>
              <a:spLocks noChangeAspect="1"/>
            </p:cNvSpPr>
            <p:nvPr>
              <p:custDataLst>
                <p:tags r:id="rId49"/>
              </p:custDataLst>
            </p:nvPr>
          </p:nvSpPr>
          <p:spPr bwMode="gray">
            <a:xfrm>
              <a:off x="3526436" y="4102291"/>
              <a:ext cx="305091" cy="499653"/>
            </a:xfrm>
            <a:custGeom>
              <a:avLst/>
              <a:gdLst/>
              <a:ahLst/>
              <a:cxnLst/>
              <a:rect l="0" t="0" r="0" b="0"/>
              <a:pathLst>
                <a:path w="305091" h="499653">
                  <a:moveTo>
                    <a:pt x="293325" y="364379"/>
                  </a:moveTo>
                  <a:lnTo>
                    <a:pt x="294458" y="364812"/>
                  </a:lnTo>
                  <a:lnTo>
                    <a:pt x="293989" y="376551"/>
                  </a:lnTo>
                  <a:lnTo>
                    <a:pt x="293547" y="376932"/>
                  </a:lnTo>
                  <a:lnTo>
                    <a:pt x="305090" y="403209"/>
                  </a:lnTo>
                  <a:lnTo>
                    <a:pt x="300913" y="422701"/>
                  </a:lnTo>
                  <a:lnTo>
                    <a:pt x="294909" y="432437"/>
                  </a:lnTo>
                  <a:lnTo>
                    <a:pt x="262454" y="428132"/>
                  </a:lnTo>
                  <a:lnTo>
                    <a:pt x="263665" y="411533"/>
                  </a:lnTo>
                  <a:lnTo>
                    <a:pt x="239416" y="419478"/>
                  </a:lnTo>
                  <a:lnTo>
                    <a:pt x="241156" y="458055"/>
                  </a:lnTo>
                  <a:lnTo>
                    <a:pt x="216431" y="499652"/>
                  </a:lnTo>
                  <a:lnTo>
                    <a:pt x="186551" y="489523"/>
                  </a:lnTo>
                  <a:lnTo>
                    <a:pt x="158477" y="488061"/>
                  </a:lnTo>
                  <a:lnTo>
                    <a:pt x="138119" y="472240"/>
                  </a:lnTo>
                  <a:lnTo>
                    <a:pt x="126345" y="479647"/>
                  </a:lnTo>
                  <a:lnTo>
                    <a:pt x="104193" y="478859"/>
                  </a:lnTo>
                  <a:lnTo>
                    <a:pt x="92305" y="468665"/>
                  </a:lnTo>
                  <a:lnTo>
                    <a:pt x="71711" y="474008"/>
                  </a:lnTo>
                  <a:lnTo>
                    <a:pt x="36543" y="421547"/>
                  </a:lnTo>
                  <a:lnTo>
                    <a:pt x="49241" y="394667"/>
                  </a:lnTo>
                  <a:lnTo>
                    <a:pt x="23012" y="383743"/>
                  </a:lnTo>
                  <a:lnTo>
                    <a:pt x="10819" y="362567"/>
                  </a:lnTo>
                  <a:lnTo>
                    <a:pt x="16576" y="340274"/>
                  </a:lnTo>
                  <a:lnTo>
                    <a:pt x="26760" y="336576"/>
                  </a:lnTo>
                  <a:lnTo>
                    <a:pt x="36343" y="313680"/>
                  </a:lnTo>
                  <a:lnTo>
                    <a:pt x="24431" y="295106"/>
                  </a:lnTo>
                  <a:lnTo>
                    <a:pt x="0" y="271395"/>
                  </a:lnTo>
                  <a:lnTo>
                    <a:pt x="8577" y="258559"/>
                  </a:lnTo>
                  <a:lnTo>
                    <a:pt x="3838" y="230862"/>
                  </a:lnTo>
                  <a:lnTo>
                    <a:pt x="7654" y="211769"/>
                  </a:lnTo>
                  <a:lnTo>
                    <a:pt x="22535" y="196211"/>
                  </a:lnTo>
                  <a:lnTo>
                    <a:pt x="21411" y="177811"/>
                  </a:lnTo>
                  <a:lnTo>
                    <a:pt x="3517" y="155454"/>
                  </a:lnTo>
                  <a:lnTo>
                    <a:pt x="5991" y="133678"/>
                  </a:lnTo>
                  <a:lnTo>
                    <a:pt x="46567" y="133287"/>
                  </a:lnTo>
                  <a:lnTo>
                    <a:pt x="80919" y="115071"/>
                  </a:lnTo>
                  <a:lnTo>
                    <a:pt x="67645" y="109300"/>
                  </a:lnTo>
                  <a:lnTo>
                    <a:pt x="95731" y="85290"/>
                  </a:lnTo>
                  <a:lnTo>
                    <a:pt x="104635" y="68166"/>
                  </a:lnTo>
                  <a:lnTo>
                    <a:pt x="69140" y="51623"/>
                  </a:lnTo>
                  <a:lnTo>
                    <a:pt x="69686" y="32708"/>
                  </a:lnTo>
                  <a:lnTo>
                    <a:pt x="102952" y="30412"/>
                  </a:lnTo>
                  <a:lnTo>
                    <a:pt x="110633" y="0"/>
                  </a:lnTo>
                  <a:lnTo>
                    <a:pt x="135852" y="6937"/>
                  </a:lnTo>
                  <a:lnTo>
                    <a:pt x="133628" y="31974"/>
                  </a:lnTo>
                  <a:lnTo>
                    <a:pt x="155535" y="36115"/>
                  </a:lnTo>
                  <a:lnTo>
                    <a:pt x="180420" y="22511"/>
                  </a:lnTo>
                  <a:lnTo>
                    <a:pt x="197771" y="37984"/>
                  </a:lnTo>
                  <a:lnTo>
                    <a:pt x="197807" y="39007"/>
                  </a:lnTo>
                  <a:lnTo>
                    <a:pt x="210029" y="41791"/>
                  </a:lnTo>
                  <a:lnTo>
                    <a:pt x="223654" y="25476"/>
                  </a:lnTo>
                  <a:lnTo>
                    <a:pt x="246216" y="14877"/>
                  </a:lnTo>
                  <a:lnTo>
                    <a:pt x="257680" y="22252"/>
                  </a:lnTo>
                  <a:lnTo>
                    <a:pt x="255269" y="38548"/>
                  </a:lnTo>
                  <a:lnTo>
                    <a:pt x="266325" y="45855"/>
                  </a:lnTo>
                  <a:lnTo>
                    <a:pt x="266315" y="45616"/>
                  </a:lnTo>
                  <a:lnTo>
                    <a:pt x="265039" y="83156"/>
                  </a:lnTo>
                  <a:lnTo>
                    <a:pt x="264819" y="82985"/>
                  </a:lnTo>
                  <a:lnTo>
                    <a:pt x="239471" y="80665"/>
                  </a:lnTo>
                  <a:lnTo>
                    <a:pt x="239220" y="101444"/>
                  </a:lnTo>
                  <a:lnTo>
                    <a:pt x="230486" y="117667"/>
                  </a:lnTo>
                  <a:lnTo>
                    <a:pt x="230077" y="118029"/>
                  </a:lnTo>
                  <a:lnTo>
                    <a:pt x="260216" y="125066"/>
                  </a:lnTo>
                  <a:lnTo>
                    <a:pt x="233769" y="146779"/>
                  </a:lnTo>
                  <a:lnTo>
                    <a:pt x="251050" y="163239"/>
                  </a:lnTo>
                  <a:lnTo>
                    <a:pt x="274995" y="163187"/>
                  </a:lnTo>
                  <a:lnTo>
                    <a:pt x="286267" y="193477"/>
                  </a:lnTo>
                  <a:lnTo>
                    <a:pt x="254814" y="200044"/>
                  </a:lnTo>
                  <a:lnTo>
                    <a:pt x="267903" y="221262"/>
                  </a:lnTo>
                  <a:lnTo>
                    <a:pt x="229243" y="260643"/>
                  </a:lnTo>
                  <a:lnTo>
                    <a:pt x="210918" y="267763"/>
                  </a:lnTo>
                  <a:lnTo>
                    <a:pt x="205101" y="284466"/>
                  </a:lnTo>
                  <a:lnTo>
                    <a:pt x="225813" y="304677"/>
                  </a:lnTo>
                  <a:lnTo>
                    <a:pt x="230795" y="322436"/>
                  </a:lnTo>
                  <a:lnTo>
                    <a:pt x="231212" y="322060"/>
                  </a:lnTo>
                  <a:lnTo>
                    <a:pt x="246651" y="311752"/>
                  </a:lnTo>
                  <a:lnTo>
                    <a:pt x="247058" y="312672"/>
                  </a:lnTo>
                  <a:lnTo>
                    <a:pt x="262063" y="338608"/>
                  </a:lnTo>
                  <a:lnTo>
                    <a:pt x="252197" y="366484"/>
                  </a:lnTo>
                  <a:lnTo>
                    <a:pt x="281161" y="354445"/>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4" name="ee4p_13_2_43215"/>
            <p:cNvSpPr>
              <a:spLocks noChangeAspect="1"/>
            </p:cNvSpPr>
            <p:nvPr>
              <p:custDataLst>
                <p:tags r:id="rId50"/>
              </p:custDataLst>
            </p:nvPr>
          </p:nvSpPr>
          <p:spPr bwMode="gray">
            <a:xfrm>
              <a:off x="3871433" y="4613128"/>
              <a:ext cx="155300" cy="194842"/>
            </a:xfrm>
            <a:custGeom>
              <a:avLst/>
              <a:gdLst/>
              <a:ahLst/>
              <a:cxnLst/>
              <a:rect l="0" t="0" r="0" b="0"/>
              <a:pathLst>
                <a:path w="155300" h="194842">
                  <a:moveTo>
                    <a:pt x="0" y="166022"/>
                  </a:moveTo>
                  <a:lnTo>
                    <a:pt x="28632" y="148601"/>
                  </a:lnTo>
                  <a:lnTo>
                    <a:pt x="54573" y="148866"/>
                  </a:lnTo>
                  <a:lnTo>
                    <a:pt x="58384" y="129357"/>
                  </a:lnTo>
                  <a:lnTo>
                    <a:pt x="58272" y="129455"/>
                  </a:lnTo>
                  <a:lnTo>
                    <a:pt x="48748" y="73749"/>
                  </a:lnTo>
                  <a:lnTo>
                    <a:pt x="39394" y="61522"/>
                  </a:lnTo>
                  <a:lnTo>
                    <a:pt x="59928" y="53953"/>
                  </a:lnTo>
                  <a:lnTo>
                    <a:pt x="59938" y="55021"/>
                  </a:lnTo>
                  <a:lnTo>
                    <a:pt x="74387" y="57147"/>
                  </a:lnTo>
                  <a:lnTo>
                    <a:pt x="88002" y="25528"/>
                  </a:lnTo>
                  <a:lnTo>
                    <a:pt x="88827" y="24844"/>
                  </a:lnTo>
                  <a:lnTo>
                    <a:pt x="94291" y="15712"/>
                  </a:lnTo>
                  <a:lnTo>
                    <a:pt x="125597" y="21134"/>
                  </a:lnTo>
                  <a:lnTo>
                    <a:pt x="117958" y="1042"/>
                  </a:lnTo>
                  <a:lnTo>
                    <a:pt x="117855" y="645"/>
                  </a:lnTo>
                  <a:lnTo>
                    <a:pt x="130697" y="0"/>
                  </a:lnTo>
                  <a:lnTo>
                    <a:pt x="151282" y="17005"/>
                  </a:lnTo>
                  <a:lnTo>
                    <a:pt x="143039" y="30085"/>
                  </a:lnTo>
                  <a:lnTo>
                    <a:pt x="142826" y="30082"/>
                  </a:lnTo>
                  <a:lnTo>
                    <a:pt x="138707" y="34634"/>
                  </a:lnTo>
                  <a:lnTo>
                    <a:pt x="138633" y="34633"/>
                  </a:lnTo>
                  <a:lnTo>
                    <a:pt x="138145" y="41522"/>
                  </a:lnTo>
                  <a:lnTo>
                    <a:pt x="137885" y="41520"/>
                  </a:lnTo>
                  <a:lnTo>
                    <a:pt x="155299" y="66221"/>
                  </a:lnTo>
                  <a:lnTo>
                    <a:pt x="155297" y="66501"/>
                  </a:lnTo>
                  <a:lnTo>
                    <a:pt x="130503" y="78133"/>
                  </a:lnTo>
                  <a:lnTo>
                    <a:pt x="130456" y="78251"/>
                  </a:lnTo>
                  <a:lnTo>
                    <a:pt x="136298" y="88947"/>
                  </a:lnTo>
                  <a:lnTo>
                    <a:pt x="140367" y="120780"/>
                  </a:lnTo>
                  <a:lnTo>
                    <a:pt x="139535" y="120771"/>
                  </a:lnTo>
                  <a:lnTo>
                    <a:pt x="130302" y="144111"/>
                  </a:lnTo>
                  <a:lnTo>
                    <a:pt x="119871" y="146268"/>
                  </a:lnTo>
                  <a:lnTo>
                    <a:pt x="109604" y="165016"/>
                  </a:lnTo>
                  <a:lnTo>
                    <a:pt x="83844" y="169797"/>
                  </a:lnTo>
                  <a:lnTo>
                    <a:pt x="87764" y="178843"/>
                  </a:lnTo>
                  <a:lnTo>
                    <a:pt x="73412" y="194841"/>
                  </a:lnTo>
                  <a:lnTo>
                    <a:pt x="37787" y="166090"/>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5" name="ee4p_12_1_43215"/>
            <p:cNvSpPr>
              <a:spLocks noChangeAspect="1"/>
            </p:cNvSpPr>
            <p:nvPr>
              <p:custDataLst>
                <p:tags r:id="rId51"/>
              </p:custDataLst>
            </p:nvPr>
          </p:nvSpPr>
          <p:spPr bwMode="gray">
            <a:xfrm>
              <a:off x="3673946" y="4499249"/>
              <a:ext cx="323085" cy="279902"/>
            </a:xfrm>
            <a:custGeom>
              <a:avLst/>
              <a:gdLst/>
              <a:ahLst/>
              <a:cxnLst/>
              <a:rect l="0" t="0" r="0" b="0"/>
              <a:pathLst>
                <a:path w="323085" h="279902">
                  <a:moveTo>
                    <a:pt x="212090" y="7977"/>
                  </a:moveTo>
                  <a:lnTo>
                    <a:pt x="233196" y="29216"/>
                  </a:lnTo>
                  <a:lnTo>
                    <a:pt x="247674" y="34626"/>
                  </a:lnTo>
                  <a:lnTo>
                    <a:pt x="256308" y="49785"/>
                  </a:lnTo>
                  <a:lnTo>
                    <a:pt x="253462" y="73770"/>
                  </a:lnTo>
                  <a:lnTo>
                    <a:pt x="268156" y="94212"/>
                  </a:lnTo>
                  <a:lnTo>
                    <a:pt x="290236" y="97787"/>
                  </a:lnTo>
                  <a:lnTo>
                    <a:pt x="315344" y="114532"/>
                  </a:lnTo>
                  <a:lnTo>
                    <a:pt x="315445" y="114921"/>
                  </a:lnTo>
                  <a:lnTo>
                    <a:pt x="323084" y="135013"/>
                  </a:lnTo>
                  <a:lnTo>
                    <a:pt x="291778" y="129591"/>
                  </a:lnTo>
                  <a:lnTo>
                    <a:pt x="286314" y="138723"/>
                  </a:lnTo>
                  <a:lnTo>
                    <a:pt x="285489" y="139407"/>
                  </a:lnTo>
                  <a:lnTo>
                    <a:pt x="271874" y="171026"/>
                  </a:lnTo>
                  <a:lnTo>
                    <a:pt x="257425" y="168900"/>
                  </a:lnTo>
                  <a:lnTo>
                    <a:pt x="257415" y="167832"/>
                  </a:lnTo>
                  <a:lnTo>
                    <a:pt x="236881" y="175401"/>
                  </a:lnTo>
                  <a:lnTo>
                    <a:pt x="246235" y="187628"/>
                  </a:lnTo>
                  <a:lnTo>
                    <a:pt x="255759" y="243334"/>
                  </a:lnTo>
                  <a:lnTo>
                    <a:pt x="255871" y="243236"/>
                  </a:lnTo>
                  <a:lnTo>
                    <a:pt x="252060" y="262745"/>
                  </a:lnTo>
                  <a:lnTo>
                    <a:pt x="226119" y="262480"/>
                  </a:lnTo>
                  <a:lnTo>
                    <a:pt x="197487" y="279901"/>
                  </a:lnTo>
                  <a:lnTo>
                    <a:pt x="168661" y="264565"/>
                  </a:lnTo>
                  <a:lnTo>
                    <a:pt x="132048" y="265264"/>
                  </a:lnTo>
                  <a:lnTo>
                    <a:pt x="101842" y="246883"/>
                  </a:lnTo>
                  <a:lnTo>
                    <a:pt x="73439" y="270203"/>
                  </a:lnTo>
                  <a:lnTo>
                    <a:pt x="37754" y="278341"/>
                  </a:lnTo>
                  <a:lnTo>
                    <a:pt x="9476" y="274596"/>
                  </a:lnTo>
                  <a:lnTo>
                    <a:pt x="0" y="264837"/>
                  </a:lnTo>
                  <a:lnTo>
                    <a:pt x="4715" y="212704"/>
                  </a:lnTo>
                  <a:lnTo>
                    <a:pt x="14422" y="194980"/>
                  </a:lnTo>
                  <a:lnTo>
                    <a:pt x="27320" y="150449"/>
                  </a:lnTo>
                  <a:lnTo>
                    <a:pt x="43463" y="128534"/>
                  </a:lnTo>
                  <a:lnTo>
                    <a:pt x="55854" y="122120"/>
                  </a:lnTo>
                  <a:lnTo>
                    <a:pt x="68921" y="102694"/>
                  </a:lnTo>
                  <a:lnTo>
                    <a:pt x="93646" y="61097"/>
                  </a:lnTo>
                  <a:lnTo>
                    <a:pt x="91906" y="22520"/>
                  </a:lnTo>
                  <a:lnTo>
                    <a:pt x="116155" y="14575"/>
                  </a:lnTo>
                  <a:lnTo>
                    <a:pt x="114944" y="31174"/>
                  </a:lnTo>
                  <a:lnTo>
                    <a:pt x="147399" y="35479"/>
                  </a:lnTo>
                  <a:lnTo>
                    <a:pt x="153403" y="25743"/>
                  </a:lnTo>
                  <a:lnTo>
                    <a:pt x="181107" y="18379"/>
                  </a:lnTo>
                  <a:lnTo>
                    <a:pt x="174166" y="2522"/>
                  </a:lnTo>
                  <a:lnTo>
                    <a:pt x="206304" y="0"/>
                  </a:lnTo>
                  <a:lnTo>
                    <a:pt x="211046" y="8897"/>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6" name="ee4p_14_1_43215"/>
            <p:cNvSpPr>
              <a:spLocks noChangeAspect="1"/>
            </p:cNvSpPr>
            <p:nvPr>
              <p:custDataLst>
                <p:tags r:id="rId52"/>
              </p:custDataLst>
            </p:nvPr>
          </p:nvSpPr>
          <p:spPr bwMode="gray">
            <a:xfrm>
              <a:off x="3892883" y="3863417"/>
              <a:ext cx="507766" cy="582811"/>
            </a:xfrm>
            <a:custGeom>
              <a:avLst/>
              <a:gdLst/>
              <a:ahLst/>
              <a:cxnLst/>
              <a:rect l="l" t="t" r="r" b="b"/>
              <a:pathLst>
                <a:path w="507766" h="582811">
                  <a:moveTo>
                    <a:pt x="38022" y="124660"/>
                  </a:moveTo>
                  <a:lnTo>
                    <a:pt x="36956" y="152936"/>
                  </a:lnTo>
                  <a:lnTo>
                    <a:pt x="44691" y="169990"/>
                  </a:lnTo>
                  <a:lnTo>
                    <a:pt x="7212" y="164451"/>
                  </a:lnTo>
                  <a:lnTo>
                    <a:pt x="0" y="141467"/>
                  </a:lnTo>
                  <a:close/>
                  <a:moveTo>
                    <a:pt x="263635" y="26976"/>
                  </a:moveTo>
                  <a:lnTo>
                    <a:pt x="296050" y="44549"/>
                  </a:lnTo>
                  <a:lnTo>
                    <a:pt x="310887" y="33208"/>
                  </a:lnTo>
                  <a:lnTo>
                    <a:pt x="321799" y="50770"/>
                  </a:lnTo>
                  <a:lnTo>
                    <a:pt x="357063" y="75617"/>
                  </a:lnTo>
                  <a:lnTo>
                    <a:pt x="378350" y="71480"/>
                  </a:lnTo>
                  <a:lnTo>
                    <a:pt x="384479" y="89271"/>
                  </a:lnTo>
                  <a:lnTo>
                    <a:pt x="410927" y="108172"/>
                  </a:lnTo>
                  <a:lnTo>
                    <a:pt x="405067" y="121489"/>
                  </a:lnTo>
                  <a:lnTo>
                    <a:pt x="434096" y="125826"/>
                  </a:lnTo>
                  <a:lnTo>
                    <a:pt x="438517" y="154428"/>
                  </a:lnTo>
                  <a:lnTo>
                    <a:pt x="450988" y="189490"/>
                  </a:lnTo>
                  <a:lnTo>
                    <a:pt x="440635" y="216855"/>
                  </a:lnTo>
                  <a:lnTo>
                    <a:pt x="421512" y="228253"/>
                  </a:lnTo>
                  <a:lnTo>
                    <a:pt x="428442" y="246665"/>
                  </a:lnTo>
                  <a:lnTo>
                    <a:pt x="466388" y="274720"/>
                  </a:lnTo>
                  <a:lnTo>
                    <a:pt x="458906" y="301947"/>
                  </a:lnTo>
                  <a:lnTo>
                    <a:pt x="475419" y="322124"/>
                  </a:lnTo>
                  <a:lnTo>
                    <a:pt x="479429" y="344349"/>
                  </a:lnTo>
                  <a:lnTo>
                    <a:pt x="466328" y="373129"/>
                  </a:lnTo>
                  <a:lnTo>
                    <a:pt x="477285" y="393033"/>
                  </a:lnTo>
                  <a:lnTo>
                    <a:pt x="478494" y="414234"/>
                  </a:lnTo>
                  <a:lnTo>
                    <a:pt x="495815" y="418740"/>
                  </a:lnTo>
                  <a:lnTo>
                    <a:pt x="507766" y="444183"/>
                  </a:lnTo>
                  <a:lnTo>
                    <a:pt x="502296" y="471811"/>
                  </a:lnTo>
                  <a:lnTo>
                    <a:pt x="483032" y="504359"/>
                  </a:lnTo>
                  <a:lnTo>
                    <a:pt x="469889" y="501457"/>
                  </a:lnTo>
                  <a:lnTo>
                    <a:pt x="451155" y="478044"/>
                  </a:lnTo>
                  <a:lnTo>
                    <a:pt x="443749" y="496201"/>
                  </a:lnTo>
                  <a:lnTo>
                    <a:pt x="397614" y="509611"/>
                  </a:lnTo>
                  <a:lnTo>
                    <a:pt x="393874" y="517480"/>
                  </a:lnTo>
                  <a:lnTo>
                    <a:pt x="364087" y="518564"/>
                  </a:lnTo>
                  <a:lnTo>
                    <a:pt x="329932" y="545614"/>
                  </a:lnTo>
                  <a:lnTo>
                    <a:pt x="308747" y="556576"/>
                  </a:lnTo>
                  <a:lnTo>
                    <a:pt x="295821" y="551394"/>
                  </a:lnTo>
                  <a:lnTo>
                    <a:pt x="264146" y="558376"/>
                  </a:lnTo>
                  <a:lnTo>
                    <a:pt x="240671" y="579316"/>
                  </a:lnTo>
                  <a:lnTo>
                    <a:pt x="226304" y="569403"/>
                  </a:lnTo>
                  <a:lnTo>
                    <a:pt x="197477" y="559287"/>
                  </a:lnTo>
                  <a:lnTo>
                    <a:pt x="169105" y="560796"/>
                  </a:lnTo>
                  <a:lnTo>
                    <a:pt x="157845" y="551856"/>
                  </a:lnTo>
                  <a:lnTo>
                    <a:pt x="144181" y="560877"/>
                  </a:lnTo>
                  <a:lnTo>
                    <a:pt x="101130" y="560132"/>
                  </a:lnTo>
                  <a:lnTo>
                    <a:pt x="91764" y="582811"/>
                  </a:lnTo>
                  <a:lnTo>
                    <a:pt x="61035" y="559226"/>
                  </a:lnTo>
                  <a:lnTo>
                    <a:pt x="40455" y="538851"/>
                  </a:lnTo>
                  <a:lnTo>
                    <a:pt x="25051" y="536496"/>
                  </a:lnTo>
                  <a:lnTo>
                    <a:pt x="14779" y="515480"/>
                  </a:lnTo>
                  <a:lnTo>
                    <a:pt x="26763" y="495711"/>
                  </a:lnTo>
                  <a:lnTo>
                    <a:pt x="24838" y="480059"/>
                  </a:lnTo>
                  <a:lnTo>
                    <a:pt x="36266" y="469710"/>
                  </a:lnTo>
                  <a:lnTo>
                    <a:pt x="36691" y="469358"/>
                  </a:lnTo>
                  <a:lnTo>
                    <a:pt x="13415" y="434332"/>
                  </a:lnTo>
                  <a:lnTo>
                    <a:pt x="37449" y="424960"/>
                  </a:lnTo>
                  <a:lnTo>
                    <a:pt x="63629" y="406464"/>
                  </a:lnTo>
                  <a:lnTo>
                    <a:pt x="88914" y="399388"/>
                  </a:lnTo>
                  <a:lnTo>
                    <a:pt x="76541" y="378006"/>
                  </a:lnTo>
                  <a:lnTo>
                    <a:pt x="83542" y="367638"/>
                  </a:lnTo>
                  <a:lnTo>
                    <a:pt x="75784" y="351132"/>
                  </a:lnTo>
                  <a:lnTo>
                    <a:pt x="112538" y="339719"/>
                  </a:lnTo>
                  <a:lnTo>
                    <a:pt x="126315" y="323642"/>
                  </a:lnTo>
                  <a:lnTo>
                    <a:pt x="120984" y="313548"/>
                  </a:lnTo>
                  <a:lnTo>
                    <a:pt x="120372" y="312804"/>
                  </a:lnTo>
                  <a:lnTo>
                    <a:pt x="123333" y="308263"/>
                  </a:lnTo>
                  <a:lnTo>
                    <a:pt x="124482" y="307331"/>
                  </a:lnTo>
                  <a:lnTo>
                    <a:pt x="128131" y="295328"/>
                  </a:lnTo>
                  <a:lnTo>
                    <a:pt x="113538" y="284710"/>
                  </a:lnTo>
                  <a:lnTo>
                    <a:pt x="97128" y="257101"/>
                  </a:lnTo>
                  <a:lnTo>
                    <a:pt x="95403" y="242213"/>
                  </a:lnTo>
                  <a:lnTo>
                    <a:pt x="117297" y="234949"/>
                  </a:lnTo>
                  <a:lnTo>
                    <a:pt x="148549" y="239695"/>
                  </a:lnTo>
                  <a:lnTo>
                    <a:pt x="163574" y="231566"/>
                  </a:lnTo>
                  <a:lnTo>
                    <a:pt x="116869" y="179200"/>
                  </a:lnTo>
                  <a:lnTo>
                    <a:pt x="97644" y="180931"/>
                  </a:lnTo>
                  <a:lnTo>
                    <a:pt x="87921" y="162122"/>
                  </a:lnTo>
                  <a:lnTo>
                    <a:pt x="112971" y="137447"/>
                  </a:lnTo>
                  <a:lnTo>
                    <a:pt x="95183" y="123734"/>
                  </a:lnTo>
                  <a:lnTo>
                    <a:pt x="95566" y="107062"/>
                  </a:lnTo>
                  <a:lnTo>
                    <a:pt x="107259" y="97123"/>
                  </a:lnTo>
                  <a:lnTo>
                    <a:pt x="134944" y="89234"/>
                  </a:lnTo>
                  <a:lnTo>
                    <a:pt x="172089" y="87428"/>
                  </a:lnTo>
                  <a:lnTo>
                    <a:pt x="183485" y="70926"/>
                  </a:lnTo>
                  <a:lnTo>
                    <a:pt x="227619" y="65716"/>
                  </a:lnTo>
                  <a:lnTo>
                    <a:pt x="247025" y="51659"/>
                  </a:lnTo>
                  <a:close/>
                  <a:moveTo>
                    <a:pt x="352494" y="0"/>
                  </a:moveTo>
                  <a:lnTo>
                    <a:pt x="355182" y="15392"/>
                  </a:lnTo>
                  <a:lnTo>
                    <a:pt x="376147" y="44624"/>
                  </a:lnTo>
                  <a:lnTo>
                    <a:pt x="360181" y="45512"/>
                  </a:lnTo>
                  <a:lnTo>
                    <a:pt x="348731" y="61722"/>
                  </a:lnTo>
                  <a:lnTo>
                    <a:pt x="324487" y="51844"/>
                  </a:lnTo>
                  <a:lnTo>
                    <a:pt x="326745" y="18661"/>
                  </a:lnTo>
                  <a:lnTo>
                    <a:pt x="338517" y="1600"/>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7" name="ee4p_11_1_43215"/>
            <p:cNvSpPr>
              <a:spLocks noChangeAspect="1"/>
            </p:cNvSpPr>
            <p:nvPr>
              <p:custDataLst>
                <p:tags r:id="rId53"/>
              </p:custDataLst>
            </p:nvPr>
          </p:nvSpPr>
          <p:spPr bwMode="gray">
            <a:xfrm>
              <a:off x="3625678" y="3834445"/>
              <a:ext cx="659060" cy="962107"/>
            </a:xfrm>
            <a:custGeom>
              <a:avLst/>
              <a:gdLst/>
              <a:ahLst/>
              <a:cxnLst/>
              <a:rect l="l" t="t" r="r" b="b"/>
              <a:pathLst>
                <a:path w="659060" h="962107">
                  <a:moveTo>
                    <a:pt x="305227" y="153633"/>
                  </a:moveTo>
                  <a:lnTo>
                    <a:pt x="267205" y="170440"/>
                  </a:lnTo>
                  <a:lnTo>
                    <a:pt x="274417" y="193424"/>
                  </a:lnTo>
                  <a:lnTo>
                    <a:pt x="311896" y="198963"/>
                  </a:lnTo>
                  <a:lnTo>
                    <a:pt x="304161" y="181909"/>
                  </a:lnTo>
                  <a:close/>
                  <a:moveTo>
                    <a:pt x="188716" y="0"/>
                  </a:moveTo>
                  <a:lnTo>
                    <a:pt x="218473" y="13202"/>
                  </a:lnTo>
                  <a:lnTo>
                    <a:pt x="251471" y="9271"/>
                  </a:lnTo>
                  <a:lnTo>
                    <a:pt x="291035" y="32247"/>
                  </a:lnTo>
                  <a:lnTo>
                    <a:pt x="301033" y="55800"/>
                  </a:lnTo>
                  <a:lnTo>
                    <a:pt x="363982" y="78892"/>
                  </a:lnTo>
                  <a:lnTo>
                    <a:pt x="391666" y="74412"/>
                  </a:lnTo>
                  <a:lnTo>
                    <a:pt x="393709" y="93690"/>
                  </a:lnTo>
                  <a:lnTo>
                    <a:pt x="360757" y="115921"/>
                  </a:lnTo>
                  <a:lnTo>
                    <a:pt x="374464" y="126096"/>
                  </a:lnTo>
                  <a:lnTo>
                    <a:pt x="362771" y="136035"/>
                  </a:lnTo>
                  <a:lnTo>
                    <a:pt x="362388" y="152707"/>
                  </a:lnTo>
                  <a:lnTo>
                    <a:pt x="380176" y="166420"/>
                  </a:lnTo>
                  <a:lnTo>
                    <a:pt x="355126" y="191095"/>
                  </a:lnTo>
                  <a:lnTo>
                    <a:pt x="364849" y="209904"/>
                  </a:lnTo>
                  <a:lnTo>
                    <a:pt x="384074" y="208173"/>
                  </a:lnTo>
                  <a:lnTo>
                    <a:pt x="430779" y="260539"/>
                  </a:lnTo>
                  <a:lnTo>
                    <a:pt x="415754" y="268668"/>
                  </a:lnTo>
                  <a:lnTo>
                    <a:pt x="384502" y="263922"/>
                  </a:lnTo>
                  <a:lnTo>
                    <a:pt x="362608" y="271186"/>
                  </a:lnTo>
                  <a:lnTo>
                    <a:pt x="364333" y="286074"/>
                  </a:lnTo>
                  <a:lnTo>
                    <a:pt x="380743" y="313683"/>
                  </a:lnTo>
                  <a:lnTo>
                    <a:pt x="395336" y="324301"/>
                  </a:lnTo>
                  <a:lnTo>
                    <a:pt x="391687" y="336304"/>
                  </a:lnTo>
                  <a:lnTo>
                    <a:pt x="390538" y="337236"/>
                  </a:lnTo>
                  <a:lnTo>
                    <a:pt x="387577" y="341777"/>
                  </a:lnTo>
                  <a:lnTo>
                    <a:pt x="388189" y="342521"/>
                  </a:lnTo>
                  <a:lnTo>
                    <a:pt x="393520" y="352615"/>
                  </a:lnTo>
                  <a:lnTo>
                    <a:pt x="379743" y="368692"/>
                  </a:lnTo>
                  <a:lnTo>
                    <a:pt x="342989" y="380105"/>
                  </a:lnTo>
                  <a:lnTo>
                    <a:pt x="350747" y="396611"/>
                  </a:lnTo>
                  <a:lnTo>
                    <a:pt x="343746" y="406979"/>
                  </a:lnTo>
                  <a:lnTo>
                    <a:pt x="356119" y="428361"/>
                  </a:lnTo>
                  <a:lnTo>
                    <a:pt x="330834" y="435437"/>
                  </a:lnTo>
                  <a:lnTo>
                    <a:pt x="304654" y="453933"/>
                  </a:lnTo>
                  <a:lnTo>
                    <a:pt x="280620" y="463305"/>
                  </a:lnTo>
                  <a:lnTo>
                    <a:pt x="303896" y="498331"/>
                  </a:lnTo>
                  <a:lnTo>
                    <a:pt x="303471" y="498683"/>
                  </a:lnTo>
                  <a:lnTo>
                    <a:pt x="292043" y="509032"/>
                  </a:lnTo>
                  <a:lnTo>
                    <a:pt x="293968" y="524684"/>
                  </a:lnTo>
                  <a:lnTo>
                    <a:pt x="281984" y="544453"/>
                  </a:lnTo>
                  <a:lnTo>
                    <a:pt x="292256" y="565469"/>
                  </a:lnTo>
                  <a:lnTo>
                    <a:pt x="307660" y="567824"/>
                  </a:lnTo>
                  <a:lnTo>
                    <a:pt x="328240" y="588199"/>
                  </a:lnTo>
                  <a:lnTo>
                    <a:pt x="358969" y="611784"/>
                  </a:lnTo>
                  <a:lnTo>
                    <a:pt x="368335" y="589105"/>
                  </a:lnTo>
                  <a:lnTo>
                    <a:pt x="411386" y="589850"/>
                  </a:lnTo>
                  <a:lnTo>
                    <a:pt x="425050" y="580829"/>
                  </a:lnTo>
                  <a:lnTo>
                    <a:pt x="436310" y="589769"/>
                  </a:lnTo>
                  <a:lnTo>
                    <a:pt x="464682" y="588260"/>
                  </a:lnTo>
                  <a:lnTo>
                    <a:pt x="493509" y="598376"/>
                  </a:lnTo>
                  <a:lnTo>
                    <a:pt x="500673" y="623871"/>
                  </a:lnTo>
                  <a:lnTo>
                    <a:pt x="526726" y="638525"/>
                  </a:lnTo>
                  <a:lnTo>
                    <a:pt x="534231" y="651223"/>
                  </a:lnTo>
                  <a:lnTo>
                    <a:pt x="526493" y="665091"/>
                  </a:lnTo>
                  <a:lnTo>
                    <a:pt x="545378" y="709491"/>
                  </a:lnTo>
                  <a:lnTo>
                    <a:pt x="573614" y="720014"/>
                  </a:lnTo>
                  <a:lnTo>
                    <a:pt x="589545" y="739049"/>
                  </a:lnTo>
                  <a:lnTo>
                    <a:pt x="635117" y="767506"/>
                  </a:lnTo>
                  <a:lnTo>
                    <a:pt x="659060" y="791638"/>
                  </a:lnTo>
                  <a:lnTo>
                    <a:pt x="655789" y="816290"/>
                  </a:lnTo>
                  <a:lnTo>
                    <a:pt x="647946" y="823755"/>
                  </a:lnTo>
                  <a:lnTo>
                    <a:pt x="628439" y="813894"/>
                  </a:lnTo>
                  <a:lnTo>
                    <a:pt x="617904" y="841010"/>
                  </a:lnTo>
                  <a:lnTo>
                    <a:pt x="607006" y="849417"/>
                  </a:lnTo>
                  <a:lnTo>
                    <a:pt x="580194" y="855543"/>
                  </a:lnTo>
                  <a:lnTo>
                    <a:pt x="554275" y="873255"/>
                  </a:lnTo>
                  <a:lnTo>
                    <a:pt x="578284" y="905976"/>
                  </a:lnTo>
                  <a:lnTo>
                    <a:pt x="588389" y="932205"/>
                  </a:lnTo>
                  <a:lnTo>
                    <a:pt x="578619" y="953148"/>
                  </a:lnTo>
                  <a:lnTo>
                    <a:pt x="557012" y="939293"/>
                  </a:lnTo>
                  <a:lnTo>
                    <a:pt x="552695" y="926915"/>
                  </a:lnTo>
                  <a:lnTo>
                    <a:pt x="530379" y="933477"/>
                  </a:lnTo>
                  <a:lnTo>
                    <a:pt x="522005" y="924877"/>
                  </a:lnTo>
                  <a:lnTo>
                    <a:pt x="502786" y="935807"/>
                  </a:lnTo>
                  <a:lnTo>
                    <a:pt x="449257" y="938712"/>
                  </a:lnTo>
                  <a:lnTo>
                    <a:pt x="413089" y="957878"/>
                  </a:lnTo>
                  <a:lnTo>
                    <a:pt x="394061" y="962107"/>
                  </a:lnTo>
                  <a:lnTo>
                    <a:pt x="355359" y="943700"/>
                  </a:lnTo>
                  <a:lnTo>
                    <a:pt x="365626" y="924952"/>
                  </a:lnTo>
                  <a:lnTo>
                    <a:pt x="376057" y="922795"/>
                  </a:lnTo>
                  <a:lnTo>
                    <a:pt x="385290" y="899455"/>
                  </a:lnTo>
                  <a:lnTo>
                    <a:pt x="386122" y="899464"/>
                  </a:lnTo>
                  <a:lnTo>
                    <a:pt x="382053" y="867631"/>
                  </a:lnTo>
                  <a:lnTo>
                    <a:pt x="376211" y="856935"/>
                  </a:lnTo>
                  <a:lnTo>
                    <a:pt x="376258" y="856817"/>
                  </a:lnTo>
                  <a:lnTo>
                    <a:pt x="401052" y="845185"/>
                  </a:lnTo>
                  <a:lnTo>
                    <a:pt x="401054" y="844905"/>
                  </a:lnTo>
                  <a:lnTo>
                    <a:pt x="383640" y="820204"/>
                  </a:lnTo>
                  <a:lnTo>
                    <a:pt x="383900" y="820206"/>
                  </a:lnTo>
                  <a:lnTo>
                    <a:pt x="384388" y="813317"/>
                  </a:lnTo>
                  <a:lnTo>
                    <a:pt x="384462" y="813318"/>
                  </a:lnTo>
                  <a:lnTo>
                    <a:pt x="388581" y="808766"/>
                  </a:lnTo>
                  <a:lnTo>
                    <a:pt x="388794" y="808769"/>
                  </a:lnTo>
                  <a:lnTo>
                    <a:pt x="397037" y="795689"/>
                  </a:lnTo>
                  <a:lnTo>
                    <a:pt x="376452" y="778684"/>
                  </a:lnTo>
                  <a:lnTo>
                    <a:pt x="363610" y="779329"/>
                  </a:lnTo>
                  <a:lnTo>
                    <a:pt x="363612" y="779337"/>
                  </a:lnTo>
                  <a:lnTo>
                    <a:pt x="338504" y="762592"/>
                  </a:lnTo>
                  <a:lnTo>
                    <a:pt x="316424" y="759017"/>
                  </a:lnTo>
                  <a:lnTo>
                    <a:pt x="301730" y="738575"/>
                  </a:lnTo>
                  <a:lnTo>
                    <a:pt x="304576" y="714590"/>
                  </a:lnTo>
                  <a:lnTo>
                    <a:pt x="295942" y="699431"/>
                  </a:lnTo>
                  <a:lnTo>
                    <a:pt x="281464" y="694021"/>
                  </a:lnTo>
                  <a:lnTo>
                    <a:pt x="260358" y="672782"/>
                  </a:lnTo>
                  <a:lnTo>
                    <a:pt x="259314" y="673702"/>
                  </a:lnTo>
                  <a:lnTo>
                    <a:pt x="254572" y="664805"/>
                  </a:lnTo>
                  <a:lnTo>
                    <a:pt x="222434" y="667327"/>
                  </a:lnTo>
                  <a:lnTo>
                    <a:pt x="229375" y="683184"/>
                  </a:lnTo>
                  <a:lnTo>
                    <a:pt x="201671" y="690548"/>
                  </a:lnTo>
                  <a:lnTo>
                    <a:pt x="205848" y="671056"/>
                  </a:lnTo>
                  <a:lnTo>
                    <a:pt x="194305" y="644779"/>
                  </a:lnTo>
                  <a:lnTo>
                    <a:pt x="194747" y="644398"/>
                  </a:lnTo>
                  <a:lnTo>
                    <a:pt x="195216" y="632659"/>
                  </a:lnTo>
                  <a:lnTo>
                    <a:pt x="194083" y="632226"/>
                  </a:lnTo>
                  <a:lnTo>
                    <a:pt x="181919" y="622292"/>
                  </a:lnTo>
                  <a:lnTo>
                    <a:pt x="152955" y="634331"/>
                  </a:lnTo>
                  <a:lnTo>
                    <a:pt x="162821" y="606455"/>
                  </a:lnTo>
                  <a:lnTo>
                    <a:pt x="147816" y="580519"/>
                  </a:lnTo>
                  <a:lnTo>
                    <a:pt x="147409" y="579599"/>
                  </a:lnTo>
                  <a:lnTo>
                    <a:pt x="131970" y="589907"/>
                  </a:lnTo>
                  <a:lnTo>
                    <a:pt x="131553" y="590283"/>
                  </a:lnTo>
                  <a:lnTo>
                    <a:pt x="126571" y="572524"/>
                  </a:lnTo>
                  <a:lnTo>
                    <a:pt x="105859" y="552313"/>
                  </a:lnTo>
                  <a:lnTo>
                    <a:pt x="111676" y="535610"/>
                  </a:lnTo>
                  <a:lnTo>
                    <a:pt x="130001" y="528490"/>
                  </a:lnTo>
                  <a:lnTo>
                    <a:pt x="168661" y="489109"/>
                  </a:lnTo>
                  <a:lnTo>
                    <a:pt x="155572" y="467891"/>
                  </a:lnTo>
                  <a:lnTo>
                    <a:pt x="187025" y="461324"/>
                  </a:lnTo>
                  <a:lnTo>
                    <a:pt x="175753" y="431034"/>
                  </a:lnTo>
                  <a:lnTo>
                    <a:pt x="151808" y="431086"/>
                  </a:lnTo>
                  <a:lnTo>
                    <a:pt x="134527" y="414626"/>
                  </a:lnTo>
                  <a:lnTo>
                    <a:pt x="160974" y="392913"/>
                  </a:lnTo>
                  <a:lnTo>
                    <a:pt x="130835" y="385876"/>
                  </a:lnTo>
                  <a:lnTo>
                    <a:pt x="131244" y="385514"/>
                  </a:lnTo>
                  <a:lnTo>
                    <a:pt x="139978" y="369291"/>
                  </a:lnTo>
                  <a:lnTo>
                    <a:pt x="140229" y="348512"/>
                  </a:lnTo>
                  <a:lnTo>
                    <a:pt x="165577" y="350832"/>
                  </a:lnTo>
                  <a:lnTo>
                    <a:pt x="165797" y="351003"/>
                  </a:lnTo>
                  <a:lnTo>
                    <a:pt x="167065" y="313690"/>
                  </a:lnTo>
                  <a:lnTo>
                    <a:pt x="167083" y="313702"/>
                  </a:lnTo>
                  <a:lnTo>
                    <a:pt x="167073" y="313463"/>
                  </a:lnTo>
                  <a:lnTo>
                    <a:pt x="167065" y="313690"/>
                  </a:lnTo>
                  <a:lnTo>
                    <a:pt x="156027" y="306395"/>
                  </a:lnTo>
                  <a:lnTo>
                    <a:pt x="158438" y="290099"/>
                  </a:lnTo>
                  <a:lnTo>
                    <a:pt x="146974" y="282724"/>
                  </a:lnTo>
                  <a:lnTo>
                    <a:pt x="124412" y="293323"/>
                  </a:lnTo>
                  <a:lnTo>
                    <a:pt x="110787" y="309638"/>
                  </a:lnTo>
                  <a:lnTo>
                    <a:pt x="98565" y="306854"/>
                  </a:lnTo>
                  <a:lnTo>
                    <a:pt x="98529" y="305831"/>
                  </a:lnTo>
                  <a:lnTo>
                    <a:pt x="81178" y="290358"/>
                  </a:lnTo>
                  <a:lnTo>
                    <a:pt x="56293" y="303962"/>
                  </a:lnTo>
                  <a:lnTo>
                    <a:pt x="34386" y="299821"/>
                  </a:lnTo>
                  <a:lnTo>
                    <a:pt x="36610" y="274784"/>
                  </a:lnTo>
                  <a:lnTo>
                    <a:pt x="11391" y="267847"/>
                  </a:lnTo>
                  <a:lnTo>
                    <a:pt x="22268" y="251985"/>
                  </a:lnTo>
                  <a:lnTo>
                    <a:pt x="21610" y="208782"/>
                  </a:lnTo>
                  <a:lnTo>
                    <a:pt x="0" y="207941"/>
                  </a:lnTo>
                  <a:lnTo>
                    <a:pt x="54" y="188586"/>
                  </a:lnTo>
                  <a:lnTo>
                    <a:pt x="26341" y="162549"/>
                  </a:lnTo>
                  <a:lnTo>
                    <a:pt x="52143" y="163320"/>
                  </a:lnTo>
                  <a:lnTo>
                    <a:pt x="94449" y="158289"/>
                  </a:lnTo>
                  <a:lnTo>
                    <a:pt x="117887" y="175539"/>
                  </a:lnTo>
                  <a:lnTo>
                    <a:pt x="141163" y="165853"/>
                  </a:lnTo>
                  <a:lnTo>
                    <a:pt x="147990" y="143033"/>
                  </a:lnTo>
                  <a:lnTo>
                    <a:pt x="192715" y="142003"/>
                  </a:lnTo>
                  <a:lnTo>
                    <a:pt x="174385" y="116843"/>
                  </a:lnTo>
                  <a:lnTo>
                    <a:pt x="176266" y="85036"/>
                  </a:lnTo>
                  <a:lnTo>
                    <a:pt x="150463" y="79262"/>
                  </a:lnTo>
                  <a:lnTo>
                    <a:pt x="159279" y="66926"/>
                  </a:lnTo>
                  <a:lnTo>
                    <a:pt x="183146" y="63775"/>
                  </a:lnTo>
                  <a:lnTo>
                    <a:pt x="179921" y="42024"/>
                  </a:lnTo>
                  <a:lnTo>
                    <a:pt x="160193" y="15420"/>
                  </a:lnTo>
                  <a:lnTo>
                    <a:pt x="144066" y="2409"/>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8" name="ee4p_51_1_43215"/>
            <p:cNvSpPr>
              <a:spLocks noChangeAspect="1"/>
            </p:cNvSpPr>
            <p:nvPr>
              <p:custDataLst>
                <p:tags r:id="rId54"/>
              </p:custDataLst>
            </p:nvPr>
          </p:nvSpPr>
          <p:spPr bwMode="gray">
            <a:xfrm>
              <a:off x="4849551" y="5469400"/>
              <a:ext cx="828083" cy="768289"/>
            </a:xfrm>
            <a:custGeom>
              <a:avLst/>
              <a:gdLst/>
              <a:ahLst/>
              <a:cxnLst/>
              <a:rect l="l" t="t" r="r" b="b"/>
              <a:pathLst>
                <a:path w="828083" h="768289">
                  <a:moveTo>
                    <a:pt x="435536" y="695427"/>
                  </a:moveTo>
                  <a:lnTo>
                    <a:pt x="444120" y="720130"/>
                  </a:lnTo>
                  <a:lnTo>
                    <a:pt x="475071" y="717939"/>
                  </a:lnTo>
                  <a:lnTo>
                    <a:pt x="486270" y="713016"/>
                  </a:lnTo>
                  <a:lnTo>
                    <a:pt x="514430" y="714512"/>
                  </a:lnTo>
                  <a:lnTo>
                    <a:pt x="519991" y="722134"/>
                  </a:lnTo>
                  <a:lnTo>
                    <a:pt x="552918" y="722825"/>
                  </a:lnTo>
                  <a:lnTo>
                    <a:pt x="559063" y="727853"/>
                  </a:lnTo>
                  <a:lnTo>
                    <a:pt x="579424" y="721722"/>
                  </a:lnTo>
                  <a:lnTo>
                    <a:pt x="584335" y="741811"/>
                  </a:lnTo>
                  <a:lnTo>
                    <a:pt x="594109" y="747901"/>
                  </a:lnTo>
                  <a:lnTo>
                    <a:pt x="615583" y="734547"/>
                  </a:lnTo>
                  <a:lnTo>
                    <a:pt x="639394" y="747685"/>
                  </a:lnTo>
                  <a:lnTo>
                    <a:pt x="622789" y="760355"/>
                  </a:lnTo>
                  <a:lnTo>
                    <a:pt x="609984" y="755636"/>
                  </a:lnTo>
                  <a:lnTo>
                    <a:pt x="594255" y="759950"/>
                  </a:lnTo>
                  <a:lnTo>
                    <a:pt x="551898" y="760114"/>
                  </a:lnTo>
                  <a:lnTo>
                    <a:pt x="495436" y="768289"/>
                  </a:lnTo>
                  <a:lnTo>
                    <a:pt x="488579" y="749773"/>
                  </a:lnTo>
                  <a:lnTo>
                    <a:pt x="475628" y="749253"/>
                  </a:lnTo>
                  <a:lnTo>
                    <a:pt x="455522" y="738514"/>
                  </a:lnTo>
                  <a:lnTo>
                    <a:pt x="420288" y="737769"/>
                  </a:lnTo>
                  <a:lnTo>
                    <a:pt x="400713" y="732647"/>
                  </a:lnTo>
                  <a:lnTo>
                    <a:pt x="378974" y="734546"/>
                  </a:lnTo>
                  <a:lnTo>
                    <a:pt x="374409" y="725064"/>
                  </a:lnTo>
                  <a:lnTo>
                    <a:pt x="377840" y="706570"/>
                  </a:lnTo>
                  <a:lnTo>
                    <a:pt x="397351" y="700017"/>
                  </a:lnTo>
                  <a:lnTo>
                    <a:pt x="413382" y="703417"/>
                  </a:lnTo>
                  <a:close/>
                  <a:moveTo>
                    <a:pt x="317191" y="607318"/>
                  </a:moveTo>
                  <a:lnTo>
                    <a:pt x="331643" y="622337"/>
                  </a:lnTo>
                  <a:lnTo>
                    <a:pt x="316124" y="632502"/>
                  </a:lnTo>
                  <a:lnTo>
                    <a:pt x="311294" y="614522"/>
                  </a:lnTo>
                  <a:close/>
                  <a:moveTo>
                    <a:pt x="828083" y="603448"/>
                  </a:moveTo>
                  <a:lnTo>
                    <a:pt x="812260" y="637967"/>
                  </a:lnTo>
                  <a:lnTo>
                    <a:pt x="786037" y="662116"/>
                  </a:lnTo>
                  <a:lnTo>
                    <a:pt x="778470" y="656516"/>
                  </a:lnTo>
                  <a:lnTo>
                    <a:pt x="783232" y="629087"/>
                  </a:lnTo>
                  <a:lnTo>
                    <a:pt x="793921" y="614209"/>
                  </a:lnTo>
                  <a:lnTo>
                    <a:pt x="817113" y="603531"/>
                  </a:lnTo>
                  <a:close/>
                  <a:moveTo>
                    <a:pt x="568869" y="518954"/>
                  </a:moveTo>
                  <a:lnTo>
                    <a:pt x="573363" y="526947"/>
                  </a:lnTo>
                  <a:lnTo>
                    <a:pt x="568650" y="543728"/>
                  </a:lnTo>
                  <a:lnTo>
                    <a:pt x="558950" y="548379"/>
                  </a:lnTo>
                  <a:lnTo>
                    <a:pt x="547653" y="530586"/>
                  </a:lnTo>
                  <a:close/>
                  <a:moveTo>
                    <a:pt x="106074" y="445085"/>
                  </a:moveTo>
                  <a:lnTo>
                    <a:pt x="119193" y="449250"/>
                  </a:lnTo>
                  <a:lnTo>
                    <a:pt x="109711" y="466052"/>
                  </a:lnTo>
                  <a:lnTo>
                    <a:pt x="92153" y="447438"/>
                  </a:lnTo>
                  <a:close/>
                  <a:moveTo>
                    <a:pt x="212673" y="389756"/>
                  </a:moveTo>
                  <a:lnTo>
                    <a:pt x="226107" y="392100"/>
                  </a:lnTo>
                  <a:lnTo>
                    <a:pt x="242127" y="404831"/>
                  </a:lnTo>
                  <a:lnTo>
                    <a:pt x="272630" y="412053"/>
                  </a:lnTo>
                  <a:lnTo>
                    <a:pt x="302442" y="431207"/>
                  </a:lnTo>
                  <a:lnTo>
                    <a:pt x="322816" y="436764"/>
                  </a:lnTo>
                  <a:lnTo>
                    <a:pt x="339173" y="449357"/>
                  </a:lnTo>
                  <a:lnTo>
                    <a:pt x="336999" y="469513"/>
                  </a:lnTo>
                  <a:lnTo>
                    <a:pt x="369885" y="491992"/>
                  </a:lnTo>
                  <a:lnTo>
                    <a:pt x="347854" y="493774"/>
                  </a:lnTo>
                  <a:lnTo>
                    <a:pt x="319651" y="481406"/>
                  </a:lnTo>
                  <a:lnTo>
                    <a:pt x="295563" y="484853"/>
                  </a:lnTo>
                  <a:lnTo>
                    <a:pt x="320421" y="530940"/>
                  </a:lnTo>
                  <a:lnTo>
                    <a:pt x="325689" y="554812"/>
                  </a:lnTo>
                  <a:lnTo>
                    <a:pt x="324848" y="579597"/>
                  </a:lnTo>
                  <a:lnTo>
                    <a:pt x="318841" y="592438"/>
                  </a:lnTo>
                  <a:lnTo>
                    <a:pt x="300446" y="561211"/>
                  </a:lnTo>
                  <a:lnTo>
                    <a:pt x="279637" y="564634"/>
                  </a:lnTo>
                  <a:lnTo>
                    <a:pt x="260826" y="597111"/>
                  </a:lnTo>
                  <a:lnTo>
                    <a:pt x="260585" y="574807"/>
                  </a:lnTo>
                  <a:lnTo>
                    <a:pt x="253827" y="559759"/>
                  </a:lnTo>
                  <a:lnTo>
                    <a:pt x="239316" y="545191"/>
                  </a:lnTo>
                  <a:lnTo>
                    <a:pt x="218387" y="541166"/>
                  </a:lnTo>
                  <a:lnTo>
                    <a:pt x="218782" y="565696"/>
                  </a:lnTo>
                  <a:lnTo>
                    <a:pt x="198813" y="561331"/>
                  </a:lnTo>
                  <a:lnTo>
                    <a:pt x="197123" y="545567"/>
                  </a:lnTo>
                  <a:lnTo>
                    <a:pt x="184684" y="532962"/>
                  </a:lnTo>
                  <a:lnTo>
                    <a:pt x="184257" y="517611"/>
                  </a:lnTo>
                  <a:lnTo>
                    <a:pt x="195950" y="504322"/>
                  </a:lnTo>
                  <a:lnTo>
                    <a:pt x="181856" y="477467"/>
                  </a:lnTo>
                  <a:lnTo>
                    <a:pt x="164958" y="465704"/>
                  </a:lnTo>
                  <a:lnTo>
                    <a:pt x="157760" y="454487"/>
                  </a:lnTo>
                  <a:lnTo>
                    <a:pt x="138569" y="444276"/>
                  </a:lnTo>
                  <a:lnTo>
                    <a:pt x="157910" y="424200"/>
                  </a:lnTo>
                  <a:lnTo>
                    <a:pt x="164192" y="403712"/>
                  </a:lnTo>
                  <a:lnTo>
                    <a:pt x="186947" y="411298"/>
                  </a:lnTo>
                  <a:lnTo>
                    <a:pt x="200492" y="395642"/>
                  </a:lnTo>
                  <a:close/>
                  <a:moveTo>
                    <a:pt x="86172" y="373941"/>
                  </a:moveTo>
                  <a:lnTo>
                    <a:pt x="108305" y="412661"/>
                  </a:lnTo>
                  <a:lnTo>
                    <a:pt x="85166" y="417010"/>
                  </a:lnTo>
                  <a:lnTo>
                    <a:pt x="64289" y="406100"/>
                  </a:lnTo>
                  <a:lnTo>
                    <a:pt x="70408" y="390082"/>
                  </a:lnTo>
                  <a:lnTo>
                    <a:pt x="83279" y="389005"/>
                  </a:lnTo>
                  <a:close/>
                  <a:moveTo>
                    <a:pt x="614730" y="360166"/>
                  </a:moveTo>
                  <a:lnTo>
                    <a:pt x="627649" y="365148"/>
                  </a:lnTo>
                  <a:lnTo>
                    <a:pt x="627547" y="392524"/>
                  </a:lnTo>
                  <a:lnTo>
                    <a:pt x="613174" y="409990"/>
                  </a:lnTo>
                  <a:lnTo>
                    <a:pt x="599042" y="399930"/>
                  </a:lnTo>
                  <a:lnTo>
                    <a:pt x="611751" y="388914"/>
                  </a:lnTo>
                  <a:lnTo>
                    <a:pt x="597825" y="362465"/>
                  </a:lnTo>
                  <a:close/>
                  <a:moveTo>
                    <a:pt x="98753" y="331440"/>
                  </a:moveTo>
                  <a:lnTo>
                    <a:pt x="101643" y="354527"/>
                  </a:lnTo>
                  <a:lnTo>
                    <a:pt x="85464" y="350735"/>
                  </a:lnTo>
                  <a:close/>
                  <a:moveTo>
                    <a:pt x="352665" y="310331"/>
                  </a:moveTo>
                  <a:lnTo>
                    <a:pt x="363489" y="319869"/>
                  </a:lnTo>
                  <a:lnTo>
                    <a:pt x="367481" y="333339"/>
                  </a:lnTo>
                  <a:lnTo>
                    <a:pt x="394945" y="347831"/>
                  </a:lnTo>
                  <a:lnTo>
                    <a:pt x="430683" y="352313"/>
                  </a:lnTo>
                  <a:lnTo>
                    <a:pt x="441121" y="368364"/>
                  </a:lnTo>
                  <a:lnTo>
                    <a:pt x="436264" y="382981"/>
                  </a:lnTo>
                  <a:lnTo>
                    <a:pt x="445022" y="405095"/>
                  </a:lnTo>
                  <a:lnTo>
                    <a:pt x="475835" y="411736"/>
                  </a:lnTo>
                  <a:lnTo>
                    <a:pt x="475173" y="424620"/>
                  </a:lnTo>
                  <a:lnTo>
                    <a:pt x="452422" y="429755"/>
                  </a:lnTo>
                  <a:lnTo>
                    <a:pt x="432082" y="395699"/>
                  </a:lnTo>
                  <a:lnTo>
                    <a:pt x="418313" y="381892"/>
                  </a:lnTo>
                  <a:lnTo>
                    <a:pt x="383706" y="381604"/>
                  </a:lnTo>
                  <a:lnTo>
                    <a:pt x="379459" y="362828"/>
                  </a:lnTo>
                  <a:lnTo>
                    <a:pt x="353203" y="341529"/>
                  </a:lnTo>
                  <a:lnTo>
                    <a:pt x="322706" y="324900"/>
                  </a:lnTo>
                  <a:lnTo>
                    <a:pt x="334412" y="313823"/>
                  </a:lnTo>
                  <a:close/>
                  <a:moveTo>
                    <a:pt x="646587" y="271921"/>
                  </a:moveTo>
                  <a:lnTo>
                    <a:pt x="648954" y="282642"/>
                  </a:lnTo>
                  <a:lnTo>
                    <a:pt x="664046" y="295392"/>
                  </a:lnTo>
                  <a:lnTo>
                    <a:pt x="671752" y="311934"/>
                  </a:lnTo>
                  <a:lnTo>
                    <a:pt x="652556" y="319009"/>
                  </a:lnTo>
                  <a:lnTo>
                    <a:pt x="628377" y="313246"/>
                  </a:lnTo>
                  <a:lnTo>
                    <a:pt x="621586" y="305432"/>
                  </a:lnTo>
                  <a:lnTo>
                    <a:pt x="600033" y="297520"/>
                  </a:lnTo>
                  <a:lnTo>
                    <a:pt x="598218" y="285805"/>
                  </a:lnTo>
                  <a:close/>
                  <a:moveTo>
                    <a:pt x="54" y="224295"/>
                  </a:moveTo>
                  <a:lnTo>
                    <a:pt x="23452" y="224797"/>
                  </a:lnTo>
                  <a:lnTo>
                    <a:pt x="15954" y="235758"/>
                  </a:lnTo>
                  <a:lnTo>
                    <a:pt x="0" y="237472"/>
                  </a:lnTo>
                  <a:close/>
                  <a:moveTo>
                    <a:pt x="557712" y="200479"/>
                  </a:moveTo>
                  <a:lnTo>
                    <a:pt x="548389" y="214936"/>
                  </a:lnTo>
                  <a:lnTo>
                    <a:pt x="521006" y="215945"/>
                  </a:lnTo>
                  <a:lnTo>
                    <a:pt x="520315" y="202914"/>
                  </a:lnTo>
                  <a:close/>
                  <a:moveTo>
                    <a:pt x="357313" y="184580"/>
                  </a:moveTo>
                  <a:lnTo>
                    <a:pt x="373171" y="199068"/>
                  </a:lnTo>
                  <a:lnTo>
                    <a:pt x="364797" y="204448"/>
                  </a:lnTo>
                  <a:lnTo>
                    <a:pt x="352177" y="192070"/>
                  </a:lnTo>
                  <a:close/>
                  <a:moveTo>
                    <a:pt x="483344" y="111376"/>
                  </a:moveTo>
                  <a:lnTo>
                    <a:pt x="493862" y="130185"/>
                  </a:lnTo>
                  <a:lnTo>
                    <a:pt x="480617" y="134433"/>
                  </a:lnTo>
                  <a:lnTo>
                    <a:pt x="468228" y="128172"/>
                  </a:lnTo>
                  <a:close/>
                  <a:moveTo>
                    <a:pt x="628583" y="0"/>
                  </a:moveTo>
                  <a:lnTo>
                    <a:pt x="646818" y="4356"/>
                  </a:lnTo>
                  <a:lnTo>
                    <a:pt x="670267" y="17353"/>
                  </a:lnTo>
                  <a:lnTo>
                    <a:pt x="673653" y="42032"/>
                  </a:lnTo>
                  <a:lnTo>
                    <a:pt x="644968" y="56682"/>
                  </a:lnTo>
                  <a:lnTo>
                    <a:pt x="646965" y="92314"/>
                  </a:lnTo>
                  <a:lnTo>
                    <a:pt x="615359" y="117492"/>
                  </a:lnTo>
                  <a:lnTo>
                    <a:pt x="603674" y="103996"/>
                  </a:lnTo>
                  <a:lnTo>
                    <a:pt x="569803" y="102904"/>
                  </a:lnTo>
                  <a:lnTo>
                    <a:pt x="528014" y="91580"/>
                  </a:lnTo>
                  <a:lnTo>
                    <a:pt x="522129" y="85907"/>
                  </a:lnTo>
                  <a:lnTo>
                    <a:pt x="495949" y="104230"/>
                  </a:lnTo>
                  <a:lnTo>
                    <a:pt x="479409" y="102289"/>
                  </a:lnTo>
                  <a:lnTo>
                    <a:pt x="471782" y="91747"/>
                  </a:lnTo>
                  <a:lnTo>
                    <a:pt x="456832" y="94134"/>
                  </a:lnTo>
                  <a:lnTo>
                    <a:pt x="448887" y="106666"/>
                  </a:lnTo>
                  <a:lnTo>
                    <a:pt x="423122" y="118888"/>
                  </a:lnTo>
                  <a:lnTo>
                    <a:pt x="403676" y="111320"/>
                  </a:lnTo>
                  <a:lnTo>
                    <a:pt x="393761" y="126018"/>
                  </a:lnTo>
                  <a:lnTo>
                    <a:pt x="402579" y="137364"/>
                  </a:lnTo>
                  <a:lnTo>
                    <a:pt x="402163" y="159400"/>
                  </a:lnTo>
                  <a:lnTo>
                    <a:pt x="389533" y="164462"/>
                  </a:lnTo>
                  <a:lnTo>
                    <a:pt x="397438" y="179479"/>
                  </a:lnTo>
                  <a:lnTo>
                    <a:pt x="416437" y="186677"/>
                  </a:lnTo>
                  <a:lnTo>
                    <a:pt x="420707" y="200077"/>
                  </a:lnTo>
                  <a:lnTo>
                    <a:pt x="413562" y="208151"/>
                  </a:lnTo>
                  <a:lnTo>
                    <a:pt x="385027" y="175427"/>
                  </a:lnTo>
                  <a:lnTo>
                    <a:pt x="359584" y="169684"/>
                  </a:lnTo>
                  <a:lnTo>
                    <a:pt x="350953" y="174552"/>
                  </a:lnTo>
                  <a:lnTo>
                    <a:pt x="313923" y="157568"/>
                  </a:lnTo>
                  <a:lnTo>
                    <a:pt x="296895" y="137119"/>
                  </a:lnTo>
                  <a:lnTo>
                    <a:pt x="282734" y="146841"/>
                  </a:lnTo>
                  <a:lnTo>
                    <a:pt x="289151" y="159289"/>
                  </a:lnTo>
                  <a:lnTo>
                    <a:pt x="278161" y="184473"/>
                  </a:lnTo>
                  <a:lnTo>
                    <a:pt x="282650" y="199669"/>
                  </a:lnTo>
                  <a:lnTo>
                    <a:pt x="307652" y="223831"/>
                  </a:lnTo>
                  <a:lnTo>
                    <a:pt x="315643" y="249605"/>
                  </a:lnTo>
                  <a:lnTo>
                    <a:pt x="331175" y="258014"/>
                  </a:lnTo>
                  <a:lnTo>
                    <a:pt x="348518" y="279067"/>
                  </a:lnTo>
                  <a:lnTo>
                    <a:pt x="316441" y="275853"/>
                  </a:lnTo>
                  <a:lnTo>
                    <a:pt x="304762" y="291224"/>
                  </a:lnTo>
                  <a:lnTo>
                    <a:pt x="318445" y="301106"/>
                  </a:lnTo>
                  <a:lnTo>
                    <a:pt x="322905" y="317442"/>
                  </a:lnTo>
                  <a:lnTo>
                    <a:pt x="292778" y="332468"/>
                  </a:lnTo>
                  <a:lnTo>
                    <a:pt x="298658" y="339019"/>
                  </a:lnTo>
                  <a:lnTo>
                    <a:pt x="325257" y="342221"/>
                  </a:lnTo>
                  <a:lnTo>
                    <a:pt x="330525" y="354134"/>
                  </a:lnTo>
                  <a:lnTo>
                    <a:pt x="352974" y="355549"/>
                  </a:lnTo>
                  <a:lnTo>
                    <a:pt x="354352" y="367523"/>
                  </a:lnTo>
                  <a:lnTo>
                    <a:pt x="379109" y="374011"/>
                  </a:lnTo>
                  <a:lnTo>
                    <a:pt x="387490" y="389181"/>
                  </a:lnTo>
                  <a:lnTo>
                    <a:pt x="414509" y="395502"/>
                  </a:lnTo>
                  <a:lnTo>
                    <a:pt x="423339" y="404013"/>
                  </a:lnTo>
                  <a:lnTo>
                    <a:pt x="416872" y="415254"/>
                  </a:lnTo>
                  <a:lnTo>
                    <a:pt x="426905" y="451853"/>
                  </a:lnTo>
                  <a:lnTo>
                    <a:pt x="413314" y="464438"/>
                  </a:lnTo>
                  <a:lnTo>
                    <a:pt x="406081" y="449829"/>
                  </a:lnTo>
                  <a:lnTo>
                    <a:pt x="388099" y="435369"/>
                  </a:lnTo>
                  <a:lnTo>
                    <a:pt x="365561" y="424685"/>
                  </a:lnTo>
                  <a:lnTo>
                    <a:pt x="322810" y="436661"/>
                  </a:lnTo>
                  <a:lnTo>
                    <a:pt x="318253" y="418367"/>
                  </a:lnTo>
                  <a:lnTo>
                    <a:pt x="338348" y="419053"/>
                  </a:lnTo>
                  <a:lnTo>
                    <a:pt x="332231" y="404315"/>
                  </a:lnTo>
                  <a:lnTo>
                    <a:pt x="316067" y="406778"/>
                  </a:lnTo>
                  <a:lnTo>
                    <a:pt x="302314" y="396430"/>
                  </a:lnTo>
                  <a:lnTo>
                    <a:pt x="265754" y="378818"/>
                  </a:lnTo>
                  <a:lnTo>
                    <a:pt x="263313" y="388346"/>
                  </a:lnTo>
                  <a:lnTo>
                    <a:pt x="243928" y="389331"/>
                  </a:lnTo>
                  <a:lnTo>
                    <a:pt x="230112" y="382964"/>
                  </a:lnTo>
                  <a:lnTo>
                    <a:pt x="208880" y="383233"/>
                  </a:lnTo>
                  <a:lnTo>
                    <a:pt x="202533" y="390665"/>
                  </a:lnTo>
                  <a:lnTo>
                    <a:pt x="175565" y="393718"/>
                  </a:lnTo>
                  <a:lnTo>
                    <a:pt x="168230" y="383063"/>
                  </a:lnTo>
                  <a:lnTo>
                    <a:pt x="145072" y="393783"/>
                  </a:lnTo>
                  <a:lnTo>
                    <a:pt x="141243" y="380644"/>
                  </a:lnTo>
                  <a:lnTo>
                    <a:pt x="120813" y="351980"/>
                  </a:lnTo>
                  <a:lnTo>
                    <a:pt x="115992" y="337865"/>
                  </a:lnTo>
                  <a:lnTo>
                    <a:pt x="102220" y="337997"/>
                  </a:lnTo>
                  <a:lnTo>
                    <a:pt x="105178" y="322337"/>
                  </a:lnTo>
                  <a:lnTo>
                    <a:pt x="141882" y="323438"/>
                  </a:lnTo>
                  <a:lnTo>
                    <a:pt x="109039" y="302879"/>
                  </a:lnTo>
                  <a:lnTo>
                    <a:pt x="97832" y="306833"/>
                  </a:lnTo>
                  <a:lnTo>
                    <a:pt x="59446" y="277588"/>
                  </a:lnTo>
                  <a:lnTo>
                    <a:pt x="50374" y="241554"/>
                  </a:lnTo>
                  <a:lnTo>
                    <a:pt x="71981" y="219216"/>
                  </a:lnTo>
                  <a:lnTo>
                    <a:pt x="61837" y="202105"/>
                  </a:lnTo>
                  <a:lnTo>
                    <a:pt x="72263" y="194081"/>
                  </a:lnTo>
                  <a:lnTo>
                    <a:pt x="97353" y="188541"/>
                  </a:lnTo>
                  <a:lnTo>
                    <a:pt x="100668" y="168802"/>
                  </a:lnTo>
                  <a:lnTo>
                    <a:pt x="113195" y="146252"/>
                  </a:lnTo>
                  <a:lnTo>
                    <a:pt x="125324" y="145246"/>
                  </a:lnTo>
                  <a:lnTo>
                    <a:pt x="133918" y="124669"/>
                  </a:lnTo>
                  <a:lnTo>
                    <a:pt x="126470" y="103082"/>
                  </a:lnTo>
                  <a:lnTo>
                    <a:pt x="153492" y="102641"/>
                  </a:lnTo>
                  <a:lnTo>
                    <a:pt x="168759" y="95949"/>
                  </a:lnTo>
                  <a:lnTo>
                    <a:pt x="183203" y="101846"/>
                  </a:lnTo>
                  <a:lnTo>
                    <a:pt x="205776" y="89306"/>
                  </a:lnTo>
                  <a:lnTo>
                    <a:pt x="216331" y="76015"/>
                  </a:lnTo>
                  <a:lnTo>
                    <a:pt x="231634" y="68444"/>
                  </a:lnTo>
                  <a:lnTo>
                    <a:pt x="250330" y="67333"/>
                  </a:lnTo>
                  <a:lnTo>
                    <a:pt x="270182" y="73029"/>
                  </a:lnTo>
                  <a:lnTo>
                    <a:pt x="297465" y="67697"/>
                  </a:lnTo>
                  <a:lnTo>
                    <a:pt x="299466" y="48955"/>
                  </a:lnTo>
                  <a:lnTo>
                    <a:pt x="314901" y="47448"/>
                  </a:lnTo>
                  <a:lnTo>
                    <a:pt x="341324" y="49139"/>
                  </a:lnTo>
                  <a:lnTo>
                    <a:pt x="353085" y="40387"/>
                  </a:lnTo>
                  <a:lnTo>
                    <a:pt x="383487" y="43179"/>
                  </a:lnTo>
                  <a:lnTo>
                    <a:pt x="415355" y="35781"/>
                  </a:lnTo>
                  <a:lnTo>
                    <a:pt x="435623" y="27004"/>
                  </a:lnTo>
                  <a:lnTo>
                    <a:pt x="463485" y="25450"/>
                  </a:lnTo>
                  <a:lnTo>
                    <a:pt x="476496" y="35616"/>
                  </a:lnTo>
                  <a:lnTo>
                    <a:pt x="521608" y="44939"/>
                  </a:lnTo>
                  <a:lnTo>
                    <a:pt x="537967" y="57994"/>
                  </a:lnTo>
                  <a:lnTo>
                    <a:pt x="570984" y="49736"/>
                  </a:lnTo>
                  <a:lnTo>
                    <a:pt x="601000" y="51401"/>
                  </a:lnTo>
                  <a:lnTo>
                    <a:pt x="625004" y="45552"/>
                  </a:lnTo>
                  <a:lnTo>
                    <a:pt x="628902" y="36614"/>
                  </a:lnTo>
                  <a:lnTo>
                    <a:pt x="625573" y="15642"/>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39" name="ee4p_53_1_43215"/>
            <p:cNvSpPr>
              <a:spLocks noChangeAspect="1"/>
            </p:cNvSpPr>
            <p:nvPr>
              <p:custDataLst>
                <p:tags r:id="rId55"/>
              </p:custDataLst>
            </p:nvPr>
          </p:nvSpPr>
          <p:spPr bwMode="gray">
            <a:xfrm>
              <a:off x="2156217" y="3033496"/>
              <a:ext cx="960080" cy="1441913"/>
            </a:xfrm>
            <a:custGeom>
              <a:avLst/>
              <a:gdLst/>
              <a:ahLst/>
              <a:cxnLst/>
              <a:rect l="l" t="t" r="r" b="b"/>
              <a:pathLst>
                <a:path w="960080" h="1441913">
                  <a:moveTo>
                    <a:pt x="363356" y="997573"/>
                  </a:moveTo>
                  <a:lnTo>
                    <a:pt x="374365" y="998989"/>
                  </a:lnTo>
                  <a:lnTo>
                    <a:pt x="394261" y="1018517"/>
                  </a:lnTo>
                  <a:lnTo>
                    <a:pt x="383999" y="1025292"/>
                  </a:lnTo>
                  <a:lnTo>
                    <a:pt x="383362" y="1025496"/>
                  </a:lnTo>
                  <a:lnTo>
                    <a:pt x="383122" y="1025870"/>
                  </a:lnTo>
                  <a:lnTo>
                    <a:pt x="368022" y="1035838"/>
                  </a:lnTo>
                  <a:lnTo>
                    <a:pt x="345893" y="1014807"/>
                  </a:lnTo>
                  <a:lnTo>
                    <a:pt x="346993" y="1000551"/>
                  </a:lnTo>
                  <a:close/>
                  <a:moveTo>
                    <a:pt x="160424" y="754316"/>
                  </a:moveTo>
                  <a:lnTo>
                    <a:pt x="195658" y="756999"/>
                  </a:lnTo>
                  <a:lnTo>
                    <a:pt x="205025" y="780387"/>
                  </a:lnTo>
                  <a:lnTo>
                    <a:pt x="254705" y="835807"/>
                  </a:lnTo>
                  <a:lnTo>
                    <a:pt x="238513" y="848345"/>
                  </a:lnTo>
                  <a:lnTo>
                    <a:pt x="253868" y="879601"/>
                  </a:lnTo>
                  <a:lnTo>
                    <a:pt x="220357" y="892753"/>
                  </a:lnTo>
                  <a:lnTo>
                    <a:pt x="219172" y="907265"/>
                  </a:lnTo>
                  <a:lnTo>
                    <a:pt x="199900" y="912829"/>
                  </a:lnTo>
                  <a:lnTo>
                    <a:pt x="183245" y="907609"/>
                  </a:lnTo>
                  <a:lnTo>
                    <a:pt x="148821" y="916349"/>
                  </a:lnTo>
                  <a:lnTo>
                    <a:pt x="148215" y="900830"/>
                  </a:lnTo>
                  <a:lnTo>
                    <a:pt x="130281" y="891520"/>
                  </a:lnTo>
                  <a:lnTo>
                    <a:pt x="124389" y="875071"/>
                  </a:lnTo>
                  <a:lnTo>
                    <a:pt x="107209" y="866357"/>
                  </a:lnTo>
                  <a:lnTo>
                    <a:pt x="79551" y="901771"/>
                  </a:lnTo>
                  <a:lnTo>
                    <a:pt x="57655" y="904395"/>
                  </a:lnTo>
                  <a:lnTo>
                    <a:pt x="29248" y="892297"/>
                  </a:lnTo>
                  <a:lnTo>
                    <a:pt x="0" y="862359"/>
                  </a:lnTo>
                  <a:lnTo>
                    <a:pt x="15076" y="848472"/>
                  </a:lnTo>
                  <a:lnTo>
                    <a:pt x="39607" y="841486"/>
                  </a:lnTo>
                  <a:lnTo>
                    <a:pt x="40229" y="827265"/>
                  </a:lnTo>
                  <a:lnTo>
                    <a:pt x="69631" y="803848"/>
                  </a:lnTo>
                  <a:lnTo>
                    <a:pt x="73160" y="787107"/>
                  </a:lnTo>
                  <a:lnTo>
                    <a:pt x="87640" y="778562"/>
                  </a:lnTo>
                  <a:lnTo>
                    <a:pt x="105442" y="781367"/>
                  </a:lnTo>
                  <a:lnTo>
                    <a:pt x="120486" y="763913"/>
                  </a:lnTo>
                  <a:lnTo>
                    <a:pt x="138550" y="764505"/>
                  </a:lnTo>
                  <a:close/>
                  <a:moveTo>
                    <a:pt x="290560" y="696246"/>
                  </a:moveTo>
                  <a:lnTo>
                    <a:pt x="297847" y="726243"/>
                  </a:lnTo>
                  <a:lnTo>
                    <a:pt x="282020" y="728399"/>
                  </a:lnTo>
                  <a:lnTo>
                    <a:pt x="267693" y="705008"/>
                  </a:lnTo>
                  <a:close/>
                  <a:moveTo>
                    <a:pt x="197547" y="661065"/>
                  </a:moveTo>
                  <a:lnTo>
                    <a:pt x="206450" y="696100"/>
                  </a:lnTo>
                  <a:lnTo>
                    <a:pt x="183356" y="709275"/>
                  </a:lnTo>
                  <a:lnTo>
                    <a:pt x="165072" y="672219"/>
                  </a:lnTo>
                  <a:close/>
                  <a:moveTo>
                    <a:pt x="214009" y="647015"/>
                  </a:moveTo>
                  <a:lnTo>
                    <a:pt x="229185" y="650415"/>
                  </a:lnTo>
                  <a:lnTo>
                    <a:pt x="215313" y="670322"/>
                  </a:lnTo>
                  <a:lnTo>
                    <a:pt x="200145" y="667040"/>
                  </a:lnTo>
                  <a:close/>
                  <a:moveTo>
                    <a:pt x="198274" y="563930"/>
                  </a:moveTo>
                  <a:lnTo>
                    <a:pt x="212665" y="579589"/>
                  </a:lnTo>
                  <a:lnTo>
                    <a:pt x="243351" y="590570"/>
                  </a:lnTo>
                  <a:lnTo>
                    <a:pt x="225175" y="609710"/>
                  </a:lnTo>
                  <a:lnTo>
                    <a:pt x="185439" y="612726"/>
                  </a:lnTo>
                  <a:lnTo>
                    <a:pt x="197385" y="587542"/>
                  </a:lnTo>
                  <a:lnTo>
                    <a:pt x="177993" y="570567"/>
                  </a:lnTo>
                  <a:close/>
                  <a:moveTo>
                    <a:pt x="65629" y="422664"/>
                  </a:moveTo>
                  <a:lnTo>
                    <a:pt x="94972" y="424825"/>
                  </a:lnTo>
                  <a:lnTo>
                    <a:pt x="88635" y="444428"/>
                  </a:lnTo>
                  <a:lnTo>
                    <a:pt x="59282" y="431086"/>
                  </a:lnTo>
                  <a:close/>
                  <a:moveTo>
                    <a:pt x="180468" y="416474"/>
                  </a:moveTo>
                  <a:lnTo>
                    <a:pt x="194602" y="433348"/>
                  </a:lnTo>
                  <a:lnTo>
                    <a:pt x="195141" y="463363"/>
                  </a:lnTo>
                  <a:lnTo>
                    <a:pt x="218377" y="479760"/>
                  </a:lnTo>
                  <a:lnTo>
                    <a:pt x="217390" y="491870"/>
                  </a:lnTo>
                  <a:lnTo>
                    <a:pt x="174026" y="488172"/>
                  </a:lnTo>
                  <a:lnTo>
                    <a:pt x="162395" y="471724"/>
                  </a:lnTo>
                  <a:lnTo>
                    <a:pt x="139568" y="463261"/>
                  </a:lnTo>
                  <a:lnTo>
                    <a:pt x="133139" y="451875"/>
                  </a:lnTo>
                  <a:lnTo>
                    <a:pt x="146112" y="437871"/>
                  </a:lnTo>
                  <a:close/>
                  <a:moveTo>
                    <a:pt x="179990" y="307835"/>
                  </a:moveTo>
                  <a:lnTo>
                    <a:pt x="193018" y="326750"/>
                  </a:lnTo>
                  <a:lnTo>
                    <a:pt x="172071" y="350092"/>
                  </a:lnTo>
                  <a:lnTo>
                    <a:pt x="173779" y="372970"/>
                  </a:lnTo>
                  <a:lnTo>
                    <a:pt x="163784" y="384026"/>
                  </a:lnTo>
                  <a:lnTo>
                    <a:pt x="113687" y="411593"/>
                  </a:lnTo>
                  <a:lnTo>
                    <a:pt x="105111" y="400434"/>
                  </a:lnTo>
                  <a:lnTo>
                    <a:pt x="99318" y="357683"/>
                  </a:lnTo>
                  <a:lnTo>
                    <a:pt x="107647" y="342840"/>
                  </a:lnTo>
                  <a:lnTo>
                    <a:pt x="128995" y="335585"/>
                  </a:lnTo>
                  <a:close/>
                  <a:moveTo>
                    <a:pt x="466190" y="284363"/>
                  </a:moveTo>
                  <a:lnTo>
                    <a:pt x="497095" y="284702"/>
                  </a:lnTo>
                  <a:lnTo>
                    <a:pt x="494646" y="311912"/>
                  </a:lnTo>
                  <a:lnTo>
                    <a:pt x="479158" y="331927"/>
                  </a:lnTo>
                  <a:lnTo>
                    <a:pt x="413224" y="377180"/>
                  </a:lnTo>
                  <a:lnTo>
                    <a:pt x="399145" y="394075"/>
                  </a:lnTo>
                  <a:lnTo>
                    <a:pt x="410799" y="410164"/>
                  </a:lnTo>
                  <a:lnTo>
                    <a:pt x="397082" y="432736"/>
                  </a:lnTo>
                  <a:lnTo>
                    <a:pt x="418911" y="431856"/>
                  </a:lnTo>
                  <a:lnTo>
                    <a:pt x="465814" y="414115"/>
                  </a:lnTo>
                  <a:lnTo>
                    <a:pt x="496828" y="422593"/>
                  </a:lnTo>
                  <a:lnTo>
                    <a:pt x="513209" y="416607"/>
                  </a:lnTo>
                  <a:lnTo>
                    <a:pt x="543850" y="421835"/>
                  </a:lnTo>
                  <a:lnTo>
                    <a:pt x="584955" y="417446"/>
                  </a:lnTo>
                  <a:lnTo>
                    <a:pt x="613311" y="429779"/>
                  </a:lnTo>
                  <a:lnTo>
                    <a:pt x="615980" y="451779"/>
                  </a:lnTo>
                  <a:lnTo>
                    <a:pt x="596701" y="471543"/>
                  </a:lnTo>
                  <a:lnTo>
                    <a:pt x="591349" y="497061"/>
                  </a:lnTo>
                  <a:lnTo>
                    <a:pt x="575456" y="531118"/>
                  </a:lnTo>
                  <a:lnTo>
                    <a:pt x="557173" y="546191"/>
                  </a:lnTo>
                  <a:lnTo>
                    <a:pt x="544102" y="574654"/>
                  </a:lnTo>
                  <a:lnTo>
                    <a:pt x="517929" y="591403"/>
                  </a:lnTo>
                  <a:lnTo>
                    <a:pt x="520888" y="606593"/>
                  </a:lnTo>
                  <a:lnTo>
                    <a:pt x="503787" y="623404"/>
                  </a:lnTo>
                  <a:lnTo>
                    <a:pt x="471975" y="644461"/>
                  </a:lnTo>
                  <a:lnTo>
                    <a:pt x="491947" y="659389"/>
                  </a:lnTo>
                  <a:lnTo>
                    <a:pt x="517294" y="643637"/>
                  </a:lnTo>
                  <a:lnTo>
                    <a:pt x="588441" y="669032"/>
                  </a:lnTo>
                  <a:lnTo>
                    <a:pt x="600023" y="688444"/>
                  </a:lnTo>
                  <a:lnTo>
                    <a:pt x="626001" y="705680"/>
                  </a:lnTo>
                  <a:lnTo>
                    <a:pt x="645134" y="773790"/>
                  </a:lnTo>
                  <a:lnTo>
                    <a:pt x="658812" y="793280"/>
                  </a:lnTo>
                  <a:lnTo>
                    <a:pt x="663032" y="816859"/>
                  </a:lnTo>
                  <a:lnTo>
                    <a:pt x="675198" y="833250"/>
                  </a:lnTo>
                  <a:lnTo>
                    <a:pt x="732700" y="856174"/>
                  </a:lnTo>
                  <a:lnTo>
                    <a:pt x="754515" y="888592"/>
                  </a:lnTo>
                  <a:lnTo>
                    <a:pt x="767221" y="899694"/>
                  </a:lnTo>
                  <a:lnTo>
                    <a:pt x="774852" y="934319"/>
                  </a:lnTo>
                  <a:lnTo>
                    <a:pt x="801181" y="966099"/>
                  </a:lnTo>
                  <a:lnTo>
                    <a:pt x="784546" y="970325"/>
                  </a:lnTo>
                  <a:lnTo>
                    <a:pt x="806552" y="991330"/>
                  </a:lnTo>
                  <a:lnTo>
                    <a:pt x="822377" y="1021537"/>
                  </a:lnTo>
                  <a:lnTo>
                    <a:pt x="822919" y="1039526"/>
                  </a:lnTo>
                  <a:lnTo>
                    <a:pt x="795363" y="1065998"/>
                  </a:lnTo>
                  <a:lnTo>
                    <a:pt x="811172" y="1076834"/>
                  </a:lnTo>
                  <a:lnTo>
                    <a:pt x="832785" y="1073364"/>
                  </a:lnTo>
                  <a:lnTo>
                    <a:pt x="841758" y="1056418"/>
                  </a:lnTo>
                  <a:lnTo>
                    <a:pt x="873753" y="1055764"/>
                  </a:lnTo>
                  <a:lnTo>
                    <a:pt x="910816" y="1060704"/>
                  </a:lnTo>
                  <a:lnTo>
                    <a:pt x="928423" y="1068596"/>
                  </a:lnTo>
                  <a:lnTo>
                    <a:pt x="954182" y="1089809"/>
                  </a:lnTo>
                  <a:lnTo>
                    <a:pt x="960080" y="1119694"/>
                  </a:lnTo>
                  <a:lnTo>
                    <a:pt x="941213" y="1170339"/>
                  </a:lnTo>
                  <a:lnTo>
                    <a:pt x="911571" y="1194107"/>
                  </a:lnTo>
                  <a:lnTo>
                    <a:pt x="909617" y="1206397"/>
                  </a:lnTo>
                  <a:lnTo>
                    <a:pt x="881729" y="1219157"/>
                  </a:lnTo>
                  <a:lnTo>
                    <a:pt x="879461" y="1236026"/>
                  </a:lnTo>
                  <a:lnTo>
                    <a:pt x="846428" y="1249787"/>
                  </a:lnTo>
                  <a:lnTo>
                    <a:pt x="876516" y="1268155"/>
                  </a:lnTo>
                  <a:lnTo>
                    <a:pt x="921904" y="1270283"/>
                  </a:lnTo>
                  <a:lnTo>
                    <a:pt x="923237" y="1293703"/>
                  </a:lnTo>
                  <a:lnTo>
                    <a:pt x="885951" y="1309003"/>
                  </a:lnTo>
                  <a:lnTo>
                    <a:pt x="882133" y="1323252"/>
                  </a:lnTo>
                  <a:lnTo>
                    <a:pt x="823609" y="1336173"/>
                  </a:lnTo>
                  <a:lnTo>
                    <a:pt x="814706" y="1345384"/>
                  </a:lnTo>
                  <a:lnTo>
                    <a:pt x="768841" y="1333908"/>
                  </a:lnTo>
                  <a:lnTo>
                    <a:pt x="720416" y="1340678"/>
                  </a:lnTo>
                  <a:lnTo>
                    <a:pt x="713541" y="1347308"/>
                  </a:lnTo>
                  <a:lnTo>
                    <a:pt x="688719" y="1333363"/>
                  </a:lnTo>
                  <a:lnTo>
                    <a:pt x="637134" y="1348123"/>
                  </a:lnTo>
                  <a:lnTo>
                    <a:pt x="608202" y="1348211"/>
                  </a:lnTo>
                  <a:lnTo>
                    <a:pt x="600117" y="1364033"/>
                  </a:lnTo>
                  <a:lnTo>
                    <a:pt x="555256" y="1358329"/>
                  </a:lnTo>
                  <a:lnTo>
                    <a:pt x="550730" y="1364887"/>
                  </a:lnTo>
                  <a:lnTo>
                    <a:pt x="521957" y="1348743"/>
                  </a:lnTo>
                  <a:lnTo>
                    <a:pt x="507602" y="1346052"/>
                  </a:lnTo>
                  <a:lnTo>
                    <a:pt x="459220" y="1359134"/>
                  </a:lnTo>
                  <a:lnTo>
                    <a:pt x="440300" y="1398644"/>
                  </a:lnTo>
                  <a:lnTo>
                    <a:pt x="429434" y="1413468"/>
                  </a:lnTo>
                  <a:lnTo>
                    <a:pt x="411404" y="1401705"/>
                  </a:lnTo>
                  <a:lnTo>
                    <a:pt x="365265" y="1392766"/>
                  </a:lnTo>
                  <a:lnTo>
                    <a:pt x="329897" y="1396962"/>
                  </a:lnTo>
                  <a:lnTo>
                    <a:pt x="301438" y="1417632"/>
                  </a:lnTo>
                  <a:lnTo>
                    <a:pt x="300368" y="1432288"/>
                  </a:lnTo>
                  <a:lnTo>
                    <a:pt x="281975" y="1441913"/>
                  </a:lnTo>
                  <a:lnTo>
                    <a:pt x="274144" y="1427876"/>
                  </a:lnTo>
                  <a:lnTo>
                    <a:pt x="254777" y="1423184"/>
                  </a:lnTo>
                  <a:lnTo>
                    <a:pt x="300494" y="1385075"/>
                  </a:lnTo>
                  <a:lnTo>
                    <a:pt x="303955" y="1369777"/>
                  </a:lnTo>
                  <a:lnTo>
                    <a:pt x="320396" y="1363033"/>
                  </a:lnTo>
                  <a:lnTo>
                    <a:pt x="346950" y="1340993"/>
                  </a:lnTo>
                  <a:lnTo>
                    <a:pt x="351792" y="1309092"/>
                  </a:lnTo>
                  <a:lnTo>
                    <a:pt x="373382" y="1312186"/>
                  </a:lnTo>
                  <a:lnTo>
                    <a:pt x="381964" y="1288551"/>
                  </a:lnTo>
                  <a:lnTo>
                    <a:pt x="424979" y="1281467"/>
                  </a:lnTo>
                  <a:lnTo>
                    <a:pt x="459610" y="1288354"/>
                  </a:lnTo>
                  <a:lnTo>
                    <a:pt x="492101" y="1286121"/>
                  </a:lnTo>
                  <a:lnTo>
                    <a:pt x="503093" y="1262916"/>
                  </a:lnTo>
                  <a:lnTo>
                    <a:pt x="531004" y="1242090"/>
                  </a:lnTo>
                  <a:lnTo>
                    <a:pt x="487723" y="1249005"/>
                  </a:lnTo>
                  <a:lnTo>
                    <a:pt x="480864" y="1260682"/>
                  </a:lnTo>
                  <a:lnTo>
                    <a:pt x="445375" y="1260467"/>
                  </a:lnTo>
                  <a:lnTo>
                    <a:pt x="417135" y="1233039"/>
                  </a:lnTo>
                  <a:lnTo>
                    <a:pt x="379855" y="1242402"/>
                  </a:lnTo>
                  <a:lnTo>
                    <a:pt x="366568" y="1220030"/>
                  </a:lnTo>
                  <a:lnTo>
                    <a:pt x="338729" y="1217952"/>
                  </a:lnTo>
                  <a:lnTo>
                    <a:pt x="333425" y="1227616"/>
                  </a:lnTo>
                  <a:lnTo>
                    <a:pt x="305294" y="1233813"/>
                  </a:lnTo>
                  <a:lnTo>
                    <a:pt x="292396" y="1200892"/>
                  </a:lnTo>
                  <a:lnTo>
                    <a:pt x="278091" y="1194343"/>
                  </a:lnTo>
                  <a:lnTo>
                    <a:pt x="321909" y="1180064"/>
                  </a:lnTo>
                  <a:lnTo>
                    <a:pt x="332089" y="1168036"/>
                  </a:lnTo>
                  <a:lnTo>
                    <a:pt x="353779" y="1165166"/>
                  </a:lnTo>
                  <a:lnTo>
                    <a:pt x="382621" y="1149094"/>
                  </a:lnTo>
                  <a:lnTo>
                    <a:pt x="397675" y="1120798"/>
                  </a:lnTo>
                  <a:lnTo>
                    <a:pt x="390248" y="1103693"/>
                  </a:lnTo>
                  <a:lnTo>
                    <a:pt x="397743" y="1091818"/>
                  </a:lnTo>
                  <a:lnTo>
                    <a:pt x="388006" y="1065338"/>
                  </a:lnTo>
                  <a:lnTo>
                    <a:pt x="332409" y="1072313"/>
                  </a:lnTo>
                  <a:lnTo>
                    <a:pt x="368494" y="1048687"/>
                  </a:lnTo>
                  <a:lnTo>
                    <a:pt x="383122" y="1025870"/>
                  </a:lnTo>
                  <a:lnTo>
                    <a:pt x="383999" y="1025292"/>
                  </a:lnTo>
                  <a:lnTo>
                    <a:pt x="418358" y="1014254"/>
                  </a:lnTo>
                  <a:lnTo>
                    <a:pt x="440472" y="1014945"/>
                  </a:lnTo>
                  <a:lnTo>
                    <a:pt x="495560" y="994878"/>
                  </a:lnTo>
                  <a:lnTo>
                    <a:pt x="489546" y="978720"/>
                  </a:lnTo>
                  <a:lnTo>
                    <a:pt x="506316" y="956773"/>
                  </a:lnTo>
                  <a:lnTo>
                    <a:pt x="493773" y="949823"/>
                  </a:lnTo>
                  <a:lnTo>
                    <a:pt x="494607" y="931914"/>
                  </a:lnTo>
                  <a:lnTo>
                    <a:pt x="513635" y="925746"/>
                  </a:lnTo>
                  <a:lnTo>
                    <a:pt x="516810" y="904858"/>
                  </a:lnTo>
                  <a:lnTo>
                    <a:pt x="508580" y="895367"/>
                  </a:lnTo>
                  <a:lnTo>
                    <a:pt x="483516" y="910142"/>
                  </a:lnTo>
                  <a:lnTo>
                    <a:pt x="467527" y="895100"/>
                  </a:lnTo>
                  <a:lnTo>
                    <a:pt x="458496" y="876206"/>
                  </a:lnTo>
                  <a:lnTo>
                    <a:pt x="437555" y="852667"/>
                  </a:lnTo>
                  <a:lnTo>
                    <a:pt x="456363" y="820855"/>
                  </a:lnTo>
                  <a:lnTo>
                    <a:pt x="467569" y="790417"/>
                  </a:lnTo>
                  <a:lnTo>
                    <a:pt x="443716" y="790174"/>
                  </a:lnTo>
                  <a:lnTo>
                    <a:pt x="406159" y="818251"/>
                  </a:lnTo>
                  <a:lnTo>
                    <a:pt x="387313" y="817117"/>
                  </a:lnTo>
                  <a:lnTo>
                    <a:pt x="367735" y="805905"/>
                  </a:lnTo>
                  <a:lnTo>
                    <a:pt x="363469" y="830869"/>
                  </a:lnTo>
                  <a:lnTo>
                    <a:pt x="323743" y="805766"/>
                  </a:lnTo>
                  <a:lnTo>
                    <a:pt x="305824" y="818080"/>
                  </a:lnTo>
                  <a:lnTo>
                    <a:pt x="291554" y="806297"/>
                  </a:lnTo>
                  <a:lnTo>
                    <a:pt x="306920" y="768102"/>
                  </a:lnTo>
                  <a:lnTo>
                    <a:pt x="318971" y="757711"/>
                  </a:lnTo>
                  <a:lnTo>
                    <a:pt x="328305" y="733520"/>
                  </a:lnTo>
                  <a:lnTo>
                    <a:pt x="342656" y="720127"/>
                  </a:lnTo>
                  <a:lnTo>
                    <a:pt x="335246" y="705729"/>
                  </a:lnTo>
                  <a:lnTo>
                    <a:pt x="315106" y="693081"/>
                  </a:lnTo>
                  <a:lnTo>
                    <a:pt x="316759" y="676692"/>
                  </a:lnTo>
                  <a:lnTo>
                    <a:pt x="287544" y="659321"/>
                  </a:lnTo>
                  <a:lnTo>
                    <a:pt x="262498" y="691915"/>
                  </a:lnTo>
                  <a:lnTo>
                    <a:pt x="247535" y="746117"/>
                  </a:lnTo>
                  <a:lnTo>
                    <a:pt x="235979" y="729854"/>
                  </a:lnTo>
                  <a:lnTo>
                    <a:pt x="241470" y="679306"/>
                  </a:lnTo>
                  <a:lnTo>
                    <a:pt x="237625" y="656647"/>
                  </a:lnTo>
                  <a:lnTo>
                    <a:pt x="253198" y="632442"/>
                  </a:lnTo>
                  <a:lnTo>
                    <a:pt x="242626" y="611477"/>
                  </a:lnTo>
                  <a:lnTo>
                    <a:pt x="267174" y="587645"/>
                  </a:lnTo>
                  <a:lnTo>
                    <a:pt x="218323" y="576682"/>
                  </a:lnTo>
                  <a:lnTo>
                    <a:pt x="195179" y="558580"/>
                  </a:lnTo>
                  <a:lnTo>
                    <a:pt x="195012" y="547631"/>
                  </a:lnTo>
                  <a:lnTo>
                    <a:pt x="220056" y="543418"/>
                  </a:lnTo>
                  <a:lnTo>
                    <a:pt x="228729" y="505784"/>
                  </a:lnTo>
                  <a:lnTo>
                    <a:pt x="248617" y="477311"/>
                  </a:lnTo>
                  <a:lnTo>
                    <a:pt x="226400" y="464404"/>
                  </a:lnTo>
                  <a:lnTo>
                    <a:pt x="221477" y="448825"/>
                  </a:lnTo>
                  <a:lnTo>
                    <a:pt x="227160" y="395334"/>
                  </a:lnTo>
                  <a:lnTo>
                    <a:pt x="262192" y="396107"/>
                  </a:lnTo>
                  <a:lnTo>
                    <a:pt x="275709" y="378322"/>
                  </a:lnTo>
                  <a:lnTo>
                    <a:pt x="277925" y="355826"/>
                  </a:lnTo>
                  <a:lnTo>
                    <a:pt x="293107" y="338924"/>
                  </a:lnTo>
                  <a:lnTo>
                    <a:pt x="288244" y="326119"/>
                  </a:lnTo>
                  <a:lnTo>
                    <a:pt x="306342" y="287222"/>
                  </a:lnTo>
                  <a:lnTo>
                    <a:pt x="377429" y="300777"/>
                  </a:lnTo>
                  <a:lnTo>
                    <a:pt x="426899" y="293922"/>
                  </a:lnTo>
                  <a:close/>
                  <a:moveTo>
                    <a:pt x="476424" y="212390"/>
                  </a:moveTo>
                  <a:lnTo>
                    <a:pt x="499226" y="226414"/>
                  </a:lnTo>
                  <a:lnTo>
                    <a:pt x="507319" y="239141"/>
                  </a:lnTo>
                  <a:lnTo>
                    <a:pt x="479869" y="246654"/>
                  </a:lnTo>
                  <a:lnTo>
                    <a:pt x="463837" y="234343"/>
                  </a:lnTo>
                  <a:close/>
                  <a:moveTo>
                    <a:pt x="663551" y="0"/>
                  </a:moveTo>
                  <a:lnTo>
                    <a:pt x="685436" y="38824"/>
                  </a:lnTo>
                  <a:lnTo>
                    <a:pt x="667159" y="71052"/>
                  </a:lnTo>
                  <a:lnTo>
                    <a:pt x="643844" y="67083"/>
                  </a:lnTo>
                  <a:lnTo>
                    <a:pt x="626564" y="47027"/>
                  </a:lnTo>
                  <a:lnTo>
                    <a:pt x="660092" y="38504"/>
                  </a:lnTo>
                  <a:lnTo>
                    <a:pt x="638791" y="11529"/>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40" name="ee4p_55_1_43215"/>
            <p:cNvSpPr>
              <a:spLocks noChangeAspect="1"/>
            </p:cNvSpPr>
            <p:nvPr>
              <p:custDataLst>
                <p:tags r:id="rId56"/>
              </p:custDataLst>
            </p:nvPr>
          </p:nvSpPr>
          <p:spPr bwMode="gray">
            <a:xfrm>
              <a:off x="5076597" y="3183820"/>
              <a:ext cx="598965" cy="292565"/>
            </a:xfrm>
            <a:custGeom>
              <a:avLst/>
              <a:gdLst/>
              <a:ahLst/>
              <a:cxnLst/>
              <a:rect l="l" t="t" r="r" b="b"/>
              <a:pathLst>
                <a:path w="598965" h="292565">
                  <a:moveTo>
                    <a:pt x="113441" y="128706"/>
                  </a:moveTo>
                  <a:lnTo>
                    <a:pt x="134147" y="147587"/>
                  </a:lnTo>
                  <a:lnTo>
                    <a:pt x="101111" y="166001"/>
                  </a:lnTo>
                  <a:lnTo>
                    <a:pt x="86988" y="182664"/>
                  </a:lnTo>
                  <a:lnTo>
                    <a:pt x="23632" y="199251"/>
                  </a:lnTo>
                  <a:lnTo>
                    <a:pt x="231" y="191597"/>
                  </a:lnTo>
                  <a:lnTo>
                    <a:pt x="0" y="154806"/>
                  </a:lnTo>
                  <a:lnTo>
                    <a:pt x="28667" y="145560"/>
                  </a:lnTo>
                  <a:lnTo>
                    <a:pt x="89494" y="138186"/>
                  </a:lnTo>
                  <a:close/>
                  <a:moveTo>
                    <a:pt x="55426" y="71301"/>
                  </a:moveTo>
                  <a:lnTo>
                    <a:pt x="88254" y="87974"/>
                  </a:lnTo>
                  <a:lnTo>
                    <a:pt x="91424" y="105326"/>
                  </a:lnTo>
                  <a:lnTo>
                    <a:pt x="46345" y="122884"/>
                  </a:lnTo>
                  <a:lnTo>
                    <a:pt x="40745" y="89927"/>
                  </a:lnTo>
                  <a:close/>
                  <a:moveTo>
                    <a:pt x="410734" y="0"/>
                  </a:moveTo>
                  <a:lnTo>
                    <a:pt x="433461" y="9655"/>
                  </a:lnTo>
                  <a:lnTo>
                    <a:pt x="451957" y="7219"/>
                  </a:lnTo>
                  <a:lnTo>
                    <a:pt x="472265" y="20072"/>
                  </a:lnTo>
                  <a:lnTo>
                    <a:pt x="518379" y="20058"/>
                  </a:lnTo>
                  <a:lnTo>
                    <a:pt x="560549" y="27419"/>
                  </a:lnTo>
                  <a:lnTo>
                    <a:pt x="587393" y="18708"/>
                  </a:lnTo>
                  <a:lnTo>
                    <a:pt x="598965" y="30813"/>
                  </a:lnTo>
                  <a:lnTo>
                    <a:pt x="574576" y="45037"/>
                  </a:lnTo>
                  <a:lnTo>
                    <a:pt x="552536" y="87729"/>
                  </a:lnTo>
                  <a:lnTo>
                    <a:pt x="516452" y="114117"/>
                  </a:lnTo>
                  <a:lnTo>
                    <a:pt x="535433" y="173717"/>
                  </a:lnTo>
                  <a:lnTo>
                    <a:pt x="529389" y="193566"/>
                  </a:lnTo>
                  <a:lnTo>
                    <a:pt x="553597" y="249348"/>
                  </a:lnTo>
                  <a:lnTo>
                    <a:pt x="535598" y="248951"/>
                  </a:lnTo>
                  <a:lnTo>
                    <a:pt x="518434" y="271204"/>
                  </a:lnTo>
                  <a:lnTo>
                    <a:pt x="515923" y="292565"/>
                  </a:lnTo>
                  <a:lnTo>
                    <a:pt x="476639" y="280779"/>
                  </a:lnTo>
                  <a:lnTo>
                    <a:pt x="444614" y="291026"/>
                  </a:lnTo>
                  <a:lnTo>
                    <a:pt x="411604" y="281440"/>
                  </a:lnTo>
                  <a:lnTo>
                    <a:pt x="405051" y="265112"/>
                  </a:lnTo>
                  <a:lnTo>
                    <a:pt x="374318" y="246642"/>
                  </a:lnTo>
                  <a:lnTo>
                    <a:pt x="298624" y="214280"/>
                  </a:lnTo>
                  <a:lnTo>
                    <a:pt x="272328" y="229025"/>
                  </a:lnTo>
                  <a:lnTo>
                    <a:pt x="248236" y="230530"/>
                  </a:lnTo>
                  <a:lnTo>
                    <a:pt x="225761" y="242511"/>
                  </a:lnTo>
                  <a:lnTo>
                    <a:pt x="237899" y="215886"/>
                  </a:lnTo>
                  <a:lnTo>
                    <a:pt x="235762" y="196733"/>
                  </a:lnTo>
                  <a:lnTo>
                    <a:pt x="248314" y="182839"/>
                  </a:lnTo>
                  <a:lnTo>
                    <a:pt x="235287" y="171040"/>
                  </a:lnTo>
                  <a:lnTo>
                    <a:pt x="202457" y="191407"/>
                  </a:lnTo>
                  <a:lnTo>
                    <a:pt x="192597" y="180222"/>
                  </a:lnTo>
                  <a:lnTo>
                    <a:pt x="166824" y="174253"/>
                  </a:lnTo>
                  <a:lnTo>
                    <a:pt x="146398" y="140772"/>
                  </a:lnTo>
                  <a:lnTo>
                    <a:pt x="135841" y="97125"/>
                  </a:lnTo>
                  <a:lnTo>
                    <a:pt x="142394" y="53914"/>
                  </a:lnTo>
                  <a:lnTo>
                    <a:pt x="211462" y="35203"/>
                  </a:lnTo>
                  <a:lnTo>
                    <a:pt x="227937" y="15972"/>
                  </a:lnTo>
                  <a:lnTo>
                    <a:pt x="254906" y="22455"/>
                  </a:lnTo>
                  <a:lnTo>
                    <a:pt x="280174" y="12367"/>
                  </a:lnTo>
                  <a:lnTo>
                    <a:pt x="331013" y="13427"/>
                  </a:lnTo>
                  <a:lnTo>
                    <a:pt x="353032" y="3228"/>
                  </a:lnTo>
                  <a:close/>
                </a:path>
              </a:pathLst>
            </a:custGeom>
            <a:solidFill>
              <a:schemeClr val="accent2"/>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41" name="ee4p_56_1_43215"/>
            <p:cNvSpPr>
              <a:spLocks noChangeAspect="1"/>
            </p:cNvSpPr>
            <p:nvPr>
              <p:custDataLst>
                <p:tags r:id="rId57"/>
              </p:custDataLst>
            </p:nvPr>
          </p:nvSpPr>
          <p:spPr bwMode="gray">
            <a:xfrm>
              <a:off x="4244532" y="4860504"/>
              <a:ext cx="307349" cy="175664"/>
            </a:xfrm>
            <a:custGeom>
              <a:avLst/>
              <a:gdLst/>
              <a:ahLst/>
              <a:cxnLst/>
              <a:rect l="0" t="0" r="0" b="0"/>
              <a:pathLst>
                <a:path w="307349" h="175664">
                  <a:moveTo>
                    <a:pt x="307348" y="48308"/>
                  </a:moveTo>
                  <a:lnTo>
                    <a:pt x="285004" y="39713"/>
                  </a:lnTo>
                  <a:lnTo>
                    <a:pt x="272981" y="45581"/>
                  </a:lnTo>
                  <a:lnTo>
                    <a:pt x="249956" y="68752"/>
                  </a:lnTo>
                  <a:lnTo>
                    <a:pt x="218139" y="78481"/>
                  </a:lnTo>
                  <a:lnTo>
                    <a:pt x="211336" y="92388"/>
                  </a:lnTo>
                  <a:lnTo>
                    <a:pt x="223716" y="100578"/>
                  </a:lnTo>
                  <a:lnTo>
                    <a:pt x="214045" y="126407"/>
                  </a:lnTo>
                  <a:lnTo>
                    <a:pt x="181864" y="135613"/>
                  </a:lnTo>
                  <a:lnTo>
                    <a:pt x="179334" y="170309"/>
                  </a:lnTo>
                  <a:lnTo>
                    <a:pt x="170041" y="175663"/>
                  </a:lnTo>
                  <a:lnTo>
                    <a:pt x="151574" y="166623"/>
                  </a:lnTo>
                  <a:lnTo>
                    <a:pt x="135749" y="170945"/>
                  </a:lnTo>
                  <a:lnTo>
                    <a:pt x="110854" y="147919"/>
                  </a:lnTo>
                  <a:lnTo>
                    <a:pt x="103459" y="161742"/>
                  </a:lnTo>
                  <a:lnTo>
                    <a:pt x="38230" y="174115"/>
                  </a:lnTo>
                  <a:lnTo>
                    <a:pt x="15737" y="168939"/>
                  </a:lnTo>
                  <a:lnTo>
                    <a:pt x="29259" y="154830"/>
                  </a:lnTo>
                  <a:lnTo>
                    <a:pt x="48208" y="150161"/>
                  </a:lnTo>
                  <a:lnTo>
                    <a:pt x="36309" y="136949"/>
                  </a:lnTo>
                  <a:lnTo>
                    <a:pt x="15034" y="124344"/>
                  </a:lnTo>
                  <a:lnTo>
                    <a:pt x="20972" y="113446"/>
                  </a:lnTo>
                  <a:lnTo>
                    <a:pt x="5887" y="105696"/>
                  </a:lnTo>
                  <a:lnTo>
                    <a:pt x="23601" y="84484"/>
                  </a:lnTo>
                  <a:lnTo>
                    <a:pt x="0" y="78060"/>
                  </a:lnTo>
                  <a:lnTo>
                    <a:pt x="1602" y="63065"/>
                  </a:lnTo>
                  <a:lnTo>
                    <a:pt x="26443" y="52201"/>
                  </a:lnTo>
                  <a:lnTo>
                    <a:pt x="28423" y="42622"/>
                  </a:lnTo>
                  <a:lnTo>
                    <a:pt x="48644" y="43116"/>
                  </a:lnTo>
                  <a:lnTo>
                    <a:pt x="70922" y="53058"/>
                  </a:lnTo>
                  <a:lnTo>
                    <a:pt x="119908" y="52121"/>
                  </a:lnTo>
                  <a:lnTo>
                    <a:pt x="142178" y="31688"/>
                  </a:lnTo>
                  <a:lnTo>
                    <a:pt x="163530" y="25966"/>
                  </a:lnTo>
                  <a:lnTo>
                    <a:pt x="193516" y="26548"/>
                  </a:lnTo>
                  <a:lnTo>
                    <a:pt x="237714" y="18664"/>
                  </a:lnTo>
                  <a:lnTo>
                    <a:pt x="260617" y="459"/>
                  </a:lnTo>
                  <a:lnTo>
                    <a:pt x="277795" y="0"/>
                  </a:lnTo>
                  <a:lnTo>
                    <a:pt x="287370" y="28579"/>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42" name="ee4p_60_1_43215"/>
            <p:cNvSpPr>
              <a:spLocks noChangeAspect="1"/>
            </p:cNvSpPr>
            <p:nvPr>
              <p:custDataLst>
                <p:tags r:id="rId58"/>
              </p:custDataLst>
            </p:nvPr>
          </p:nvSpPr>
          <p:spPr bwMode="gray">
            <a:xfrm>
              <a:off x="4766020" y="4944919"/>
              <a:ext cx="401162" cy="468851"/>
            </a:xfrm>
            <a:custGeom>
              <a:avLst/>
              <a:gdLst/>
              <a:ahLst/>
              <a:cxnLst/>
              <a:rect l="0" t="0" r="0" b="0"/>
              <a:pathLst>
                <a:path w="401162" h="468851">
                  <a:moveTo>
                    <a:pt x="36361" y="315686"/>
                  </a:moveTo>
                  <a:lnTo>
                    <a:pt x="64848" y="308744"/>
                  </a:lnTo>
                  <a:lnTo>
                    <a:pt x="67790" y="293890"/>
                  </a:lnTo>
                  <a:lnTo>
                    <a:pt x="45378" y="270012"/>
                  </a:lnTo>
                  <a:lnTo>
                    <a:pt x="77655" y="257927"/>
                  </a:lnTo>
                  <a:lnTo>
                    <a:pt x="48708" y="227684"/>
                  </a:lnTo>
                  <a:lnTo>
                    <a:pt x="33274" y="225832"/>
                  </a:lnTo>
                  <a:lnTo>
                    <a:pt x="30215" y="198252"/>
                  </a:lnTo>
                  <a:lnTo>
                    <a:pt x="50361" y="170559"/>
                  </a:lnTo>
                  <a:lnTo>
                    <a:pt x="53805" y="154076"/>
                  </a:lnTo>
                  <a:lnTo>
                    <a:pt x="34773" y="149914"/>
                  </a:lnTo>
                  <a:lnTo>
                    <a:pt x="21604" y="157294"/>
                  </a:lnTo>
                  <a:lnTo>
                    <a:pt x="32886" y="147717"/>
                  </a:lnTo>
                  <a:lnTo>
                    <a:pt x="25181" y="125258"/>
                  </a:lnTo>
                  <a:lnTo>
                    <a:pt x="44668" y="112178"/>
                  </a:lnTo>
                  <a:lnTo>
                    <a:pt x="15168" y="94944"/>
                  </a:lnTo>
                  <a:lnTo>
                    <a:pt x="7805" y="55670"/>
                  </a:lnTo>
                  <a:lnTo>
                    <a:pt x="0" y="35157"/>
                  </a:lnTo>
                  <a:lnTo>
                    <a:pt x="17075" y="29266"/>
                  </a:lnTo>
                  <a:lnTo>
                    <a:pt x="27518" y="17478"/>
                  </a:lnTo>
                  <a:lnTo>
                    <a:pt x="44958" y="21788"/>
                  </a:lnTo>
                  <a:lnTo>
                    <a:pt x="72630" y="818"/>
                  </a:lnTo>
                  <a:lnTo>
                    <a:pt x="97392" y="5785"/>
                  </a:lnTo>
                  <a:lnTo>
                    <a:pt x="124256" y="0"/>
                  </a:lnTo>
                  <a:lnTo>
                    <a:pt x="139232" y="5489"/>
                  </a:lnTo>
                  <a:lnTo>
                    <a:pt x="149384" y="21704"/>
                  </a:lnTo>
                  <a:lnTo>
                    <a:pt x="169508" y="32939"/>
                  </a:lnTo>
                  <a:lnTo>
                    <a:pt x="208991" y="99468"/>
                  </a:lnTo>
                  <a:lnTo>
                    <a:pt x="261124" y="122936"/>
                  </a:lnTo>
                  <a:lnTo>
                    <a:pt x="251899" y="138194"/>
                  </a:lnTo>
                  <a:lnTo>
                    <a:pt x="251789" y="169589"/>
                  </a:lnTo>
                  <a:lnTo>
                    <a:pt x="265375" y="171153"/>
                  </a:lnTo>
                  <a:lnTo>
                    <a:pt x="272876" y="183779"/>
                  </a:lnTo>
                  <a:lnTo>
                    <a:pt x="307030" y="187679"/>
                  </a:lnTo>
                  <a:lnTo>
                    <a:pt x="324885" y="204540"/>
                  </a:lnTo>
                  <a:lnTo>
                    <a:pt x="337313" y="183143"/>
                  </a:lnTo>
                  <a:lnTo>
                    <a:pt x="353150" y="177716"/>
                  </a:lnTo>
                  <a:lnTo>
                    <a:pt x="366650" y="188480"/>
                  </a:lnTo>
                  <a:lnTo>
                    <a:pt x="352254" y="205568"/>
                  </a:lnTo>
                  <a:lnTo>
                    <a:pt x="358561" y="221736"/>
                  </a:lnTo>
                  <a:lnTo>
                    <a:pt x="375084" y="227059"/>
                  </a:lnTo>
                  <a:lnTo>
                    <a:pt x="368413" y="254011"/>
                  </a:lnTo>
                  <a:lnTo>
                    <a:pt x="347811" y="261445"/>
                  </a:lnTo>
                  <a:lnTo>
                    <a:pt x="341941" y="285004"/>
                  </a:lnTo>
                  <a:lnTo>
                    <a:pt x="353075" y="302174"/>
                  </a:lnTo>
                  <a:lnTo>
                    <a:pt x="358279" y="324342"/>
                  </a:lnTo>
                  <a:lnTo>
                    <a:pt x="386427" y="341047"/>
                  </a:lnTo>
                  <a:lnTo>
                    <a:pt x="401161" y="366822"/>
                  </a:lnTo>
                  <a:lnTo>
                    <a:pt x="383266" y="383011"/>
                  </a:lnTo>
                  <a:lnTo>
                    <a:pt x="349620" y="403571"/>
                  </a:lnTo>
                  <a:lnTo>
                    <a:pt x="349219" y="427536"/>
                  </a:lnTo>
                  <a:lnTo>
                    <a:pt x="359584" y="437917"/>
                  </a:lnTo>
                  <a:lnTo>
                    <a:pt x="351682" y="456418"/>
                  </a:lnTo>
                  <a:lnTo>
                    <a:pt x="310621" y="462058"/>
                  </a:lnTo>
                  <a:lnTo>
                    <a:pt x="303100" y="458046"/>
                  </a:lnTo>
                  <a:lnTo>
                    <a:pt x="278131" y="468850"/>
                  </a:lnTo>
                  <a:lnTo>
                    <a:pt x="262211" y="453470"/>
                  </a:lnTo>
                  <a:lnTo>
                    <a:pt x="283571" y="431497"/>
                  </a:lnTo>
                  <a:lnTo>
                    <a:pt x="282904" y="415963"/>
                  </a:lnTo>
                  <a:lnTo>
                    <a:pt x="253098" y="409555"/>
                  </a:lnTo>
                  <a:lnTo>
                    <a:pt x="237013" y="392894"/>
                  </a:lnTo>
                  <a:lnTo>
                    <a:pt x="218830" y="366105"/>
                  </a:lnTo>
                  <a:lnTo>
                    <a:pt x="204588" y="366461"/>
                  </a:lnTo>
                  <a:lnTo>
                    <a:pt x="181924" y="351796"/>
                  </a:lnTo>
                  <a:lnTo>
                    <a:pt x="169949" y="356812"/>
                  </a:lnTo>
                  <a:lnTo>
                    <a:pt x="176466" y="376732"/>
                  </a:lnTo>
                  <a:lnTo>
                    <a:pt x="158748" y="388819"/>
                  </a:lnTo>
                  <a:lnTo>
                    <a:pt x="145226" y="391356"/>
                  </a:lnTo>
                  <a:lnTo>
                    <a:pt x="75863" y="357219"/>
                  </a:lnTo>
                  <a:close/>
                </a:path>
              </a:pathLst>
            </a:custGeom>
            <a:solidFill>
              <a:schemeClr val="accent4"/>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sp>
          <p:nvSpPr>
            <p:cNvPr id="43" name="ee4p_8_1_43215"/>
            <p:cNvSpPr>
              <a:spLocks noChangeAspect="1"/>
            </p:cNvSpPr>
            <p:nvPr>
              <p:custDataLst>
                <p:tags r:id="rId59"/>
              </p:custDataLst>
            </p:nvPr>
          </p:nvSpPr>
          <p:spPr bwMode="gray">
            <a:xfrm>
              <a:off x="3868163" y="4595467"/>
              <a:ext cx="738291" cy="318096"/>
            </a:xfrm>
            <a:custGeom>
              <a:avLst/>
              <a:gdLst/>
              <a:ahLst/>
              <a:cxnLst/>
              <a:rect l="0" t="0" r="0" b="0"/>
              <a:pathLst>
                <a:path w="738291" h="318096">
                  <a:moveTo>
                    <a:pt x="716952" y="50251"/>
                  </a:moveTo>
                  <a:lnTo>
                    <a:pt x="707716" y="83425"/>
                  </a:lnTo>
                  <a:lnTo>
                    <a:pt x="720428" y="105436"/>
                  </a:lnTo>
                  <a:lnTo>
                    <a:pt x="738290" y="125901"/>
                  </a:lnTo>
                  <a:lnTo>
                    <a:pt x="729530" y="160232"/>
                  </a:lnTo>
                  <a:lnTo>
                    <a:pt x="698447" y="165989"/>
                  </a:lnTo>
                  <a:lnTo>
                    <a:pt x="694234" y="185474"/>
                  </a:lnTo>
                  <a:lnTo>
                    <a:pt x="667997" y="223838"/>
                  </a:lnTo>
                  <a:lnTo>
                    <a:pt x="673631" y="248280"/>
                  </a:lnTo>
                  <a:lnTo>
                    <a:pt x="653323" y="249002"/>
                  </a:lnTo>
                  <a:lnTo>
                    <a:pt x="636986" y="265496"/>
                  </a:lnTo>
                  <a:lnTo>
                    <a:pt x="614083" y="283701"/>
                  </a:lnTo>
                  <a:lnTo>
                    <a:pt x="569885" y="291585"/>
                  </a:lnTo>
                  <a:lnTo>
                    <a:pt x="539899" y="291003"/>
                  </a:lnTo>
                  <a:lnTo>
                    <a:pt x="518547" y="296725"/>
                  </a:lnTo>
                  <a:lnTo>
                    <a:pt x="496277" y="317158"/>
                  </a:lnTo>
                  <a:lnTo>
                    <a:pt x="447291" y="318095"/>
                  </a:lnTo>
                  <a:lnTo>
                    <a:pt x="425013" y="308153"/>
                  </a:lnTo>
                  <a:lnTo>
                    <a:pt x="404792" y="307659"/>
                  </a:lnTo>
                  <a:lnTo>
                    <a:pt x="366648" y="303986"/>
                  </a:lnTo>
                  <a:lnTo>
                    <a:pt x="344164" y="298110"/>
                  </a:lnTo>
                  <a:lnTo>
                    <a:pt x="294087" y="292004"/>
                  </a:lnTo>
                  <a:lnTo>
                    <a:pt x="275466" y="283381"/>
                  </a:lnTo>
                  <a:lnTo>
                    <a:pt x="250668" y="248661"/>
                  </a:lnTo>
                  <a:lnTo>
                    <a:pt x="212577" y="252890"/>
                  </a:lnTo>
                  <a:lnTo>
                    <a:pt x="202854" y="247892"/>
                  </a:lnTo>
                  <a:lnTo>
                    <a:pt x="182560" y="253616"/>
                  </a:lnTo>
                  <a:lnTo>
                    <a:pt x="158062" y="253702"/>
                  </a:lnTo>
                  <a:lnTo>
                    <a:pt x="144618" y="277942"/>
                  </a:lnTo>
                  <a:lnTo>
                    <a:pt x="130814" y="278443"/>
                  </a:lnTo>
                  <a:lnTo>
                    <a:pt x="109980" y="264712"/>
                  </a:lnTo>
                  <a:lnTo>
                    <a:pt x="90849" y="267223"/>
                  </a:lnTo>
                  <a:lnTo>
                    <a:pt x="79173" y="250663"/>
                  </a:lnTo>
                  <a:lnTo>
                    <a:pt x="67920" y="265833"/>
                  </a:lnTo>
                  <a:lnTo>
                    <a:pt x="55582" y="268929"/>
                  </a:lnTo>
                  <a:lnTo>
                    <a:pt x="34953" y="250868"/>
                  </a:lnTo>
                  <a:lnTo>
                    <a:pt x="7386" y="242092"/>
                  </a:lnTo>
                  <a:lnTo>
                    <a:pt x="0" y="216423"/>
                  </a:lnTo>
                  <a:lnTo>
                    <a:pt x="10989" y="196239"/>
                  </a:lnTo>
                  <a:lnTo>
                    <a:pt x="2707" y="183142"/>
                  </a:lnTo>
                  <a:lnTo>
                    <a:pt x="49259" y="189705"/>
                  </a:lnTo>
                  <a:lnTo>
                    <a:pt x="62699" y="213343"/>
                  </a:lnTo>
                  <a:lnTo>
                    <a:pt x="79156" y="210673"/>
                  </a:lnTo>
                  <a:lnTo>
                    <a:pt x="103527" y="179924"/>
                  </a:lnTo>
                  <a:lnTo>
                    <a:pt x="131587" y="183795"/>
                  </a:lnTo>
                  <a:lnTo>
                    <a:pt x="140579" y="196878"/>
                  </a:lnTo>
                  <a:lnTo>
                    <a:pt x="170324" y="197240"/>
                  </a:lnTo>
                  <a:lnTo>
                    <a:pt x="200867" y="178252"/>
                  </a:lnTo>
                  <a:lnTo>
                    <a:pt x="239737" y="172901"/>
                  </a:lnTo>
                  <a:lnTo>
                    <a:pt x="256724" y="163657"/>
                  </a:lnTo>
                  <a:lnTo>
                    <a:pt x="280495" y="164191"/>
                  </a:lnTo>
                  <a:lnTo>
                    <a:pt x="288471" y="172888"/>
                  </a:lnTo>
                  <a:lnTo>
                    <a:pt x="310992" y="166692"/>
                  </a:lnTo>
                  <a:lnTo>
                    <a:pt x="326855" y="188657"/>
                  </a:lnTo>
                  <a:lnTo>
                    <a:pt x="340284" y="189260"/>
                  </a:lnTo>
                  <a:lnTo>
                    <a:pt x="343492" y="165319"/>
                  </a:lnTo>
                  <a:lnTo>
                    <a:pt x="326500" y="160792"/>
                  </a:lnTo>
                  <a:lnTo>
                    <a:pt x="335822" y="144686"/>
                  </a:lnTo>
                  <a:lnTo>
                    <a:pt x="312624" y="117700"/>
                  </a:lnTo>
                  <a:lnTo>
                    <a:pt x="323197" y="101772"/>
                  </a:lnTo>
                  <a:lnTo>
                    <a:pt x="360234" y="90469"/>
                  </a:lnTo>
                  <a:lnTo>
                    <a:pt x="375150" y="80678"/>
                  </a:lnTo>
                  <a:lnTo>
                    <a:pt x="386851" y="54081"/>
                  </a:lnTo>
                  <a:lnTo>
                    <a:pt x="406041" y="63201"/>
                  </a:lnTo>
                  <a:lnTo>
                    <a:pt x="415589" y="50080"/>
                  </a:lnTo>
                  <a:lnTo>
                    <a:pt x="416919" y="31044"/>
                  </a:lnTo>
                  <a:lnTo>
                    <a:pt x="432879" y="38992"/>
                  </a:lnTo>
                  <a:lnTo>
                    <a:pt x="436531" y="50797"/>
                  </a:lnTo>
                  <a:lnTo>
                    <a:pt x="465484" y="58026"/>
                  </a:lnTo>
                  <a:lnTo>
                    <a:pt x="490395" y="49297"/>
                  </a:lnTo>
                  <a:lnTo>
                    <a:pt x="512252" y="29526"/>
                  </a:lnTo>
                  <a:lnTo>
                    <a:pt x="524932" y="32728"/>
                  </a:lnTo>
                  <a:lnTo>
                    <a:pt x="531206" y="0"/>
                  </a:lnTo>
                  <a:lnTo>
                    <a:pt x="574626" y="8723"/>
                  </a:lnTo>
                  <a:lnTo>
                    <a:pt x="595630" y="20400"/>
                  </a:lnTo>
                  <a:lnTo>
                    <a:pt x="609286" y="18653"/>
                  </a:lnTo>
                  <a:lnTo>
                    <a:pt x="635925" y="34308"/>
                  </a:lnTo>
                  <a:lnTo>
                    <a:pt x="662545" y="36415"/>
                  </a:lnTo>
                  <a:lnTo>
                    <a:pt x="678293" y="25727"/>
                  </a:lnTo>
                  <a:close/>
                </a:path>
              </a:pathLst>
            </a:custGeom>
            <a:solidFill>
              <a:schemeClr val="accent2">
                <a:lumMod val="60000"/>
                <a:lumOff val="40000"/>
              </a:schemeClr>
            </a:solidFill>
            <a:ln w="3175" cap="flat" cmpd="sng" algn="ctr">
              <a:solidFill>
                <a:srgbClr val="FFFFFF"/>
              </a:solidFill>
              <a:prstDash val="solid"/>
            </a:ln>
            <a:effectLst/>
            <a:ex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a:tabLst>
                  <a:tab pos="7358380" algn="l"/>
                </a:tabLst>
              </a:pPr>
              <a:endParaRPr lang="en-US" sz="1500" dirty="0">
                <a:solidFill>
                  <a:schemeClr val="accent3"/>
                </a:solidFill>
              </a:endParaRPr>
            </a:p>
          </p:txBody>
        </p:sp>
        <p:graphicFrame>
          <p:nvGraphicFramePr>
            <p:cNvPr id="44" name="ee4pMapWizardDataSheet_43215"/>
            <p:cNvGraphicFramePr>
              <a:graphicFrameLocks noChangeAspect="1"/>
            </p:cNvGraphicFramePr>
            <p:nvPr>
              <p:extLst>
                <p:ext uri="{D42A27DB-BD31-4B8C-83A1-F6EECF244321}">
                  <p14:modId xmlns:p14="http://schemas.microsoft.com/office/powerpoint/2010/main" val="3266331949"/>
                </p:ext>
              </p:extLst>
            </p:nvPr>
          </p:nvGraphicFramePr>
          <p:xfrm>
            <a:off x="4607719" y="3804998"/>
            <a:ext cx="0" cy="0"/>
          </p:xfrm>
          <a:graphic>
            <a:graphicData uri="http://schemas.openxmlformats.org/presentationml/2006/ole">
              <mc:AlternateContent xmlns:mc="http://schemas.openxmlformats.org/markup-compatibility/2006">
                <mc:Choice xmlns:v="urn:schemas-microsoft-com:vml" Requires="v">
                  <p:oleObj spid="_x0000_s5211" name="Arbeitsblatt" showAsIcon="1" r:id="rId62" imgW="914400" imgH="771480" progId="Excel.Sheet.12">
                    <p:embed/>
                  </p:oleObj>
                </mc:Choice>
                <mc:Fallback>
                  <p:oleObj name="Arbeitsblatt" showAsIcon="1" r:id="rId62" imgW="914400" imgH="771480" progId="Excel.Sheet.12">
                    <p:embed/>
                    <p:pic>
                      <p:nvPicPr>
                        <p:cNvPr id="0" name=""/>
                        <p:cNvPicPr/>
                        <p:nvPr/>
                      </p:nvPicPr>
                      <p:blipFill>
                        <a:blip r:embed="rId63"/>
                        <a:stretch>
                          <a:fillRect/>
                        </a:stretch>
                      </p:blipFill>
                      <p:spPr>
                        <a:xfrm>
                          <a:off x="4607719" y="3804998"/>
                          <a:ext cx="0" cy="0"/>
                        </a:xfrm>
                        <a:prstGeom prst="rect">
                          <a:avLst/>
                        </a:prstGeom>
                      </p:spPr>
                    </p:pic>
                  </p:oleObj>
                </mc:Fallback>
              </mc:AlternateContent>
            </a:graphicData>
          </a:graphic>
        </p:graphicFrame>
      </p:grpSp>
      <p:pic>
        <p:nvPicPr>
          <p:cNvPr id="53" name="Picture 6"/>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999738" y="4350615"/>
            <a:ext cx="265952" cy="1323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3"/>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7994197" y="3198167"/>
            <a:ext cx="236294" cy="9559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4"/>
          <p:cNvPicPr>
            <a:picLocks noChangeAspect="1"/>
          </p:cNvPicPr>
          <p:nvPr/>
        </p:nvPicPr>
        <p:blipFill>
          <a:blip r:embed="rId66"/>
          <a:stretch>
            <a:fillRect/>
          </a:stretch>
        </p:blipFill>
        <p:spPr>
          <a:xfrm>
            <a:off x="7968378" y="2604387"/>
            <a:ext cx="305662" cy="99153"/>
          </a:xfrm>
          <a:prstGeom prst="rect">
            <a:avLst/>
          </a:prstGeom>
        </p:spPr>
      </p:pic>
      <p:pic>
        <p:nvPicPr>
          <p:cNvPr id="60" name="Image 2"/>
          <p:cNvPicPr/>
          <p:nvPr/>
        </p:nvPicPr>
        <p:blipFill>
          <a:blip r:embed="rId67" cstate="print"/>
          <a:srcRect/>
          <a:stretch>
            <a:fillRect/>
          </a:stretch>
        </p:blipFill>
        <p:spPr bwMode="auto">
          <a:xfrm>
            <a:off x="4840556" y="5956476"/>
            <a:ext cx="357578" cy="105704"/>
          </a:xfrm>
          <a:prstGeom prst="rect">
            <a:avLst/>
          </a:prstGeom>
          <a:noFill/>
          <a:ln w="9525">
            <a:noFill/>
            <a:miter lim="800000"/>
            <a:headEnd/>
            <a:tailEnd/>
          </a:ln>
        </p:spPr>
      </p:pic>
      <p:pic>
        <p:nvPicPr>
          <p:cNvPr id="62" name="Afbeelding 7" descr="http://www.altaolag.no/images/Statnett_logo_RGB.jpg"/>
          <p:cNvPicPr/>
          <p:nvPr/>
        </p:nvPicPr>
        <p:blipFill>
          <a:blip r:embed="rId68" cstate="print"/>
          <a:srcRect/>
          <a:stretch>
            <a:fillRect/>
          </a:stretch>
        </p:blipFill>
        <p:spPr bwMode="auto">
          <a:xfrm>
            <a:off x="6117471" y="2845527"/>
            <a:ext cx="355134" cy="70037"/>
          </a:xfrm>
          <a:prstGeom prst="rect">
            <a:avLst/>
          </a:prstGeom>
          <a:noFill/>
        </p:spPr>
      </p:pic>
      <p:pic>
        <p:nvPicPr>
          <p:cNvPr id="63" name="Picture 2" descr="Kuvahaun tulos haulle svk"/>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6733744" y="3112412"/>
            <a:ext cx="387894" cy="127566"/>
          </a:xfrm>
          <a:prstGeom prst="rect">
            <a:avLst/>
          </a:prstGeom>
          <a:noFill/>
          <a:extLst>
            <a:ext uri="{909E8E84-426E-40DD-AFC4-6F175D3DCCD1}">
              <a14:hiddenFill xmlns:a14="http://schemas.microsoft.com/office/drawing/2010/main">
                <a:solidFill>
                  <a:srgbClr val="FFFFFF"/>
                </a:solidFill>
              </a14:hiddenFill>
            </a:ext>
          </a:extLst>
        </p:spPr>
      </p:pic>
      <p:pic>
        <p:nvPicPr>
          <p:cNvPr id="64" name="Grafik 20"/>
          <p:cNvPicPr>
            <a:picLocks noChangeAspect="1"/>
          </p:cNvPicPr>
          <p:nvPr/>
        </p:nvPicPr>
        <p:blipFill>
          <a:blip r:embed="rId70" cstate="print">
            <a:extLst>
              <a:ext uri="{28A0092B-C50C-407E-A947-70E740481C1C}">
                <a14:useLocalDpi xmlns:a14="http://schemas.microsoft.com/office/drawing/2010/main" val="0"/>
              </a:ext>
            </a:extLst>
          </a:blip>
          <a:stretch>
            <a:fillRect/>
          </a:stretch>
        </p:blipFill>
        <p:spPr>
          <a:xfrm>
            <a:off x="6265689" y="4546149"/>
            <a:ext cx="372732" cy="91356"/>
          </a:xfrm>
          <a:prstGeom prst="rect">
            <a:avLst/>
          </a:prstGeom>
        </p:spPr>
      </p:pic>
      <p:pic>
        <p:nvPicPr>
          <p:cNvPr id="66" name="Image 3"/>
          <p:cNvPicPr/>
          <p:nvPr/>
        </p:nvPicPr>
        <p:blipFill>
          <a:blip r:embed="rId71" cstate="print"/>
          <a:srcRect/>
          <a:stretch>
            <a:fillRect/>
          </a:stretch>
        </p:blipFill>
        <p:spPr bwMode="auto">
          <a:xfrm>
            <a:off x="4275810" y="5755853"/>
            <a:ext cx="252024" cy="73149"/>
          </a:xfrm>
          <a:prstGeom prst="rect">
            <a:avLst/>
          </a:prstGeom>
          <a:noFill/>
          <a:ln w="9525">
            <a:noFill/>
            <a:miter lim="800000"/>
            <a:headEnd/>
            <a:tailEnd/>
          </a:ln>
        </p:spPr>
      </p:pic>
      <p:pic>
        <p:nvPicPr>
          <p:cNvPr id="67" name="Picture 10"/>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6542867" y="4273764"/>
            <a:ext cx="343383" cy="130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Grafik 19"/>
          <p:cNvPicPr>
            <a:picLocks noChangeAspect="1"/>
          </p:cNvPicPr>
          <p:nvPr/>
        </p:nvPicPr>
        <p:blipFill rotWithShape="1">
          <a:blip r:embed="rId73" cstate="print">
            <a:extLst>
              <a:ext uri="{28A0092B-C50C-407E-A947-70E740481C1C}">
                <a14:useLocalDpi xmlns:a14="http://schemas.microsoft.com/office/drawing/2010/main" val="0"/>
              </a:ext>
            </a:extLst>
          </a:blip>
          <a:srcRect t="33353" b="27640"/>
          <a:stretch/>
        </p:blipFill>
        <p:spPr>
          <a:xfrm>
            <a:off x="6185276" y="4766092"/>
            <a:ext cx="339907" cy="132588"/>
          </a:xfrm>
          <a:prstGeom prst="rect">
            <a:avLst/>
          </a:prstGeom>
        </p:spPr>
      </p:pic>
      <p:pic>
        <p:nvPicPr>
          <p:cNvPr id="69" name="Imagen 5" descr="http://www.litgrid.eu/media/images/hdr/logo.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7878285" y="3809685"/>
            <a:ext cx="316927" cy="114321"/>
          </a:xfrm>
          <a:prstGeom prst="rect">
            <a:avLst/>
          </a:prstGeom>
          <a:solidFill>
            <a:schemeClr val="bg1"/>
          </a:solidFill>
          <a:extLst/>
        </p:spPr>
      </p:pic>
      <p:cxnSp>
        <p:nvCxnSpPr>
          <p:cNvPr id="70" name="Gerade Verbindung 69"/>
          <p:cNvCxnSpPr>
            <a:cxnSpLocks noChangeAspect="1"/>
          </p:cNvCxnSpPr>
          <p:nvPr/>
        </p:nvCxnSpPr>
        <p:spPr>
          <a:xfrm flipH="1">
            <a:off x="6028143" y="3357018"/>
            <a:ext cx="62199" cy="716346"/>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a:cxnSpLocks noChangeAspect="1"/>
          </p:cNvCxnSpPr>
          <p:nvPr/>
        </p:nvCxnSpPr>
        <p:spPr>
          <a:xfrm flipH="1">
            <a:off x="6547839" y="3810991"/>
            <a:ext cx="60211" cy="18500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a:cxnSpLocks noChangeAspect="1"/>
          </p:cNvCxnSpPr>
          <p:nvPr/>
        </p:nvCxnSpPr>
        <p:spPr>
          <a:xfrm>
            <a:off x="6090340" y="3357018"/>
            <a:ext cx="149922" cy="256506"/>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a:cxnSpLocks noChangeAspect="1"/>
          </p:cNvCxnSpPr>
          <p:nvPr/>
        </p:nvCxnSpPr>
        <p:spPr>
          <a:xfrm flipH="1">
            <a:off x="8047716" y="2959864"/>
            <a:ext cx="33575" cy="18807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568966" y="1476533"/>
            <a:ext cx="3047692" cy="246221"/>
          </a:xfrm>
          <a:prstGeom prst="rect">
            <a:avLst/>
          </a:prstGeom>
          <a:noFill/>
        </p:spPr>
        <p:txBody>
          <a:bodyPr wrap="square" lIns="0" tIns="0" rIns="0" bIns="0" rtlCol="0">
            <a:spAutoFit/>
          </a:bodyPr>
          <a:lstStyle/>
          <a:p>
            <a:r>
              <a:rPr lang="en-GB" sz="1600" b="1" dirty="0"/>
              <a:t>LIPs part of initial </a:t>
            </a:r>
            <a:r>
              <a:rPr lang="en-GB" sz="1600" b="1" dirty="0" err="1"/>
              <a:t>go-live</a:t>
            </a:r>
            <a:r>
              <a:rPr lang="en-GB" sz="1600" b="1" dirty="0"/>
              <a:t>:</a:t>
            </a:r>
          </a:p>
        </p:txBody>
      </p:sp>
      <p:graphicFrame>
        <p:nvGraphicFramePr>
          <p:cNvPr id="101" name="Tabelle 100"/>
          <p:cNvGraphicFramePr>
            <a:graphicFrameLocks noGrp="1"/>
          </p:cNvGraphicFramePr>
          <p:nvPr>
            <p:extLst>
              <p:ext uri="{D42A27DB-BD31-4B8C-83A1-F6EECF244321}">
                <p14:modId xmlns:p14="http://schemas.microsoft.com/office/powerpoint/2010/main" val="2573182487"/>
              </p:ext>
            </p:extLst>
          </p:nvPr>
        </p:nvGraphicFramePr>
        <p:xfrm>
          <a:off x="548450" y="1815961"/>
          <a:ext cx="3331787" cy="4572000"/>
        </p:xfrm>
        <a:graphic>
          <a:graphicData uri="http://schemas.openxmlformats.org/drawingml/2006/table">
            <a:tbl>
              <a:tblPr firstRow="1" bandRow="1">
                <a:tableStyleId>{16D9F66E-5EB9-4882-86FB-DCBF35E3C3E4}</a:tableStyleId>
              </a:tblPr>
              <a:tblGrid>
                <a:gridCol w="406962">
                  <a:extLst>
                    <a:ext uri="{9D8B030D-6E8A-4147-A177-3AD203B41FA5}">
                      <a16:colId xmlns="" xmlns:a16="http://schemas.microsoft.com/office/drawing/2014/main" val="20000"/>
                    </a:ext>
                  </a:extLst>
                </a:gridCol>
                <a:gridCol w="698459">
                  <a:extLst>
                    <a:ext uri="{9D8B030D-6E8A-4147-A177-3AD203B41FA5}">
                      <a16:colId xmlns="" xmlns:a16="http://schemas.microsoft.com/office/drawing/2014/main" val="20001"/>
                    </a:ext>
                  </a:extLst>
                </a:gridCol>
                <a:gridCol w="2226366">
                  <a:extLst>
                    <a:ext uri="{9D8B030D-6E8A-4147-A177-3AD203B41FA5}">
                      <a16:colId xmlns="" xmlns:a16="http://schemas.microsoft.com/office/drawing/2014/main" val="20002"/>
                    </a:ext>
                  </a:extLst>
                </a:gridCol>
              </a:tblGrid>
              <a:tr h="0">
                <a:tc grid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l" defTabSz="914400" rtl="0" eaLnBrk="1" latinLnBrk="0" hangingPunct="1"/>
                      <a:r>
                        <a:rPr lang="en-US" sz="1200" b="1" kern="1200" dirty="0">
                          <a:solidFill>
                            <a:schemeClr val="bg1"/>
                          </a:solidFill>
                          <a:latin typeface="+mn-lt"/>
                        </a:rPr>
                        <a:t> LIP</a:t>
                      </a:r>
                      <a:endParaRPr lang="en-US" sz="1200" b="1" kern="1200" dirty="0">
                        <a:solidFill>
                          <a:schemeClr val="bg1"/>
                        </a:solidFill>
                        <a:latin typeface="+mn-lt"/>
                        <a:ea typeface="+mn-ea"/>
                        <a:cs typeface="+mn-cs"/>
                      </a:endParaRPr>
                    </a:p>
                  </a:txBody>
                  <a:tcPr>
                    <a:solidFill>
                      <a:schemeClr val="tx1">
                        <a:lumMod val="50000"/>
                        <a:lumOff val="5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l" defTabSz="914400" rtl="0" eaLnBrk="1" latinLnBrk="0" hangingPunct="1"/>
                      <a:endParaRPr lang="en-US" sz="900" b="1" kern="1200" dirty="0">
                        <a:solidFill>
                          <a:schemeClr val="bg1"/>
                        </a:solidFill>
                        <a:latin typeface="+mn-lt"/>
                        <a:ea typeface="+mn-ea"/>
                        <a:cs typeface="+mn-cs"/>
                      </a:endParaRPr>
                    </a:p>
                  </a:txBody>
                  <a:tcPr marL="36000" marR="36000">
                    <a:solidFill>
                      <a:schemeClr val="tx1">
                        <a:lumMod val="50000"/>
                        <a:lumOff val="50000"/>
                      </a:scheme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l" defTabSz="914400" rtl="0" eaLnBrk="1" latinLnBrk="0" hangingPunct="1"/>
                      <a:r>
                        <a:rPr lang="en-US" sz="1200" b="1" kern="1200" dirty="0">
                          <a:solidFill>
                            <a:schemeClr val="bg1"/>
                          </a:solidFill>
                          <a:latin typeface="+mn-lt"/>
                        </a:rPr>
                        <a:t>Participants</a:t>
                      </a:r>
                      <a:endParaRPr lang="en-US" sz="1200" b="1" kern="1200" dirty="0">
                        <a:solidFill>
                          <a:schemeClr val="bg1"/>
                        </a:solidFill>
                        <a:latin typeface="+mn-lt"/>
                        <a:ea typeface="+mn-ea"/>
                        <a:cs typeface="+mn-cs"/>
                      </a:endParaRPr>
                    </a:p>
                  </a:txBody>
                  <a:tcPr marL="36000" marR="36000">
                    <a:solidFill>
                      <a:schemeClr val="tx1">
                        <a:lumMod val="50000"/>
                        <a:lumOff val="50000"/>
                      </a:schemeClr>
                    </a:solidFill>
                  </a:tcPr>
                </a:tc>
                <a:extLst>
                  <a:ext uri="{0D108BD9-81ED-4DB2-BD59-A6C34878D82A}">
                    <a16:rowId xmlns="" xmlns:a16="http://schemas.microsoft.com/office/drawing/2014/main" val="10000"/>
                  </a:ext>
                </a:extLst>
              </a:tr>
              <a:tr h="24917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a:solidFill>
                            <a:schemeClr val="tx1"/>
                          </a:solidFill>
                          <a:latin typeface="+mn-lt"/>
                        </a:rPr>
                        <a:t>Nordic</a:t>
                      </a:r>
                      <a:endParaRPr lang="en-US" sz="1200" dirty="0">
                        <a:solidFill>
                          <a:schemeClr val="tx1"/>
                        </a:solidFill>
                        <a:latin typeface="+mn-lt"/>
                        <a:cs typeface="Arial" panose="020B0604020202020204" pitchFamily="34" charset="0"/>
                      </a:endParaRP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err="1">
                          <a:solidFill>
                            <a:schemeClr val="tx1"/>
                          </a:solidFill>
                          <a:latin typeface="+mn-lt"/>
                        </a:rPr>
                        <a:t>Fingrid</a:t>
                      </a:r>
                      <a:r>
                        <a:rPr lang="en-US" sz="1200" dirty="0">
                          <a:solidFill>
                            <a:schemeClr val="tx1"/>
                          </a:solidFill>
                          <a:latin typeface="+mn-lt"/>
                        </a:rPr>
                        <a:t>, </a:t>
                      </a:r>
                      <a:r>
                        <a:rPr lang="en-US" sz="1200" dirty="0" err="1">
                          <a:solidFill>
                            <a:schemeClr val="tx1"/>
                          </a:solidFill>
                          <a:latin typeface="+mn-lt"/>
                        </a:rPr>
                        <a:t>Energinet</a:t>
                      </a:r>
                      <a:r>
                        <a:rPr lang="en-US" sz="1200" dirty="0">
                          <a:solidFill>
                            <a:schemeClr val="tx1"/>
                          </a:solidFill>
                          <a:latin typeface="+mn-lt"/>
                        </a:rPr>
                        <a:t>, </a:t>
                      </a:r>
                      <a:r>
                        <a:rPr lang="en-US" sz="1200" dirty="0" err="1">
                          <a:solidFill>
                            <a:schemeClr val="tx1"/>
                          </a:solidFill>
                          <a:latin typeface="+mn-lt"/>
                        </a:rPr>
                        <a:t>SvK</a:t>
                      </a:r>
                      <a:r>
                        <a:rPr lang="en-US" sz="1200" dirty="0">
                          <a:solidFill>
                            <a:schemeClr val="tx1"/>
                          </a:solidFill>
                          <a:latin typeface="+mn-lt"/>
                        </a:rPr>
                        <a:t>,</a:t>
                      </a:r>
                      <a:r>
                        <a:rPr lang="en-US" sz="1200" baseline="0" dirty="0">
                          <a:solidFill>
                            <a:schemeClr val="tx1"/>
                          </a:solidFill>
                          <a:latin typeface="+mn-lt"/>
                        </a:rPr>
                        <a:t> </a:t>
                      </a:r>
                      <a:r>
                        <a:rPr lang="en-US" sz="1200" baseline="0" dirty="0" err="1">
                          <a:solidFill>
                            <a:schemeClr val="tx1"/>
                          </a:solidFill>
                          <a:latin typeface="+mn-lt"/>
                        </a:rPr>
                        <a:t>Statnett</a:t>
                      </a:r>
                      <a:r>
                        <a:rPr lang="en-US" sz="1200" baseline="0" dirty="0">
                          <a:solidFill>
                            <a:schemeClr val="tx1"/>
                          </a:solidFill>
                          <a:latin typeface="+mn-lt"/>
                        </a:rPr>
                        <a:t>, Nord Pool, EPEX</a:t>
                      </a:r>
                      <a:endParaRPr lang="en-US" sz="1200" dirty="0">
                        <a:solidFill>
                          <a:schemeClr val="tx1"/>
                        </a:solidFill>
                        <a:latin typeface="+mn-lt"/>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1"/>
                  </a:ext>
                </a:extLst>
              </a:tr>
              <a:tr h="28511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err="1">
                          <a:solidFill>
                            <a:schemeClr val="tx1"/>
                          </a:solidFill>
                          <a:latin typeface="+mn-lt"/>
                        </a:rPr>
                        <a:t>Kontek</a:t>
                      </a:r>
                      <a:endParaRPr lang="en-US" sz="1200" dirty="0">
                        <a:solidFill>
                          <a:schemeClr val="tx1"/>
                        </a:solidFill>
                        <a:latin typeface="+mn-lt"/>
                        <a:cs typeface="Arial" panose="020B0604020202020204" pitchFamily="34" charset="0"/>
                      </a:endParaRP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latin typeface="+mn-lt"/>
                        </a:rPr>
                        <a:t>Energinet</a:t>
                      </a:r>
                      <a:r>
                        <a:rPr lang="en-US" sz="1200" kern="1200" dirty="0">
                          <a:solidFill>
                            <a:schemeClr val="tx1"/>
                          </a:solidFill>
                          <a:latin typeface="+mn-lt"/>
                        </a:rPr>
                        <a:t>, 50Hz, </a:t>
                      </a:r>
                      <a:r>
                        <a:rPr lang="en-US" sz="1200" kern="1200" baseline="0" dirty="0">
                          <a:solidFill>
                            <a:schemeClr val="tx1"/>
                          </a:solidFill>
                          <a:latin typeface="+mn-lt"/>
                          <a:ea typeface="+mn-ea"/>
                          <a:cs typeface="+mn-cs"/>
                        </a:rPr>
                        <a:t>Nord Pool</a:t>
                      </a:r>
                      <a:r>
                        <a:rPr lang="en-US" sz="1200" kern="1200" dirty="0">
                          <a:solidFill>
                            <a:schemeClr val="tx1"/>
                          </a:solidFill>
                          <a:latin typeface="+mn-lt"/>
                        </a:rPr>
                        <a:t>, EPEX</a:t>
                      </a:r>
                      <a:endParaRPr lang="en-US" sz="1200" kern="1200" dirty="0">
                        <a:solidFill>
                          <a:schemeClr val="tx1"/>
                        </a:solidFill>
                        <a:latin typeface="+mn-lt"/>
                        <a:ea typeface="+mn-ea"/>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2"/>
                  </a:ext>
                </a:extLst>
              </a:tr>
              <a:tr h="32429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a:solidFill>
                            <a:schemeClr val="tx1"/>
                          </a:solidFill>
                          <a:latin typeface="+mn-lt"/>
                        </a:rPr>
                        <a:t>DK1/DE, DE/NL</a:t>
                      </a:r>
                      <a:endParaRPr lang="en-US" sz="1200" dirty="0">
                        <a:solidFill>
                          <a:schemeClr val="tx1"/>
                        </a:solidFill>
                        <a:latin typeface="+mn-lt"/>
                        <a:cs typeface="Arial" panose="020B0604020202020204" pitchFamily="34" charset="0"/>
                      </a:endParaRP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err="1">
                          <a:solidFill>
                            <a:schemeClr val="tx1"/>
                          </a:solidFill>
                          <a:latin typeface="+mn-lt"/>
                        </a:rPr>
                        <a:t>Energinet</a:t>
                      </a:r>
                      <a:r>
                        <a:rPr lang="en-US" sz="1200" dirty="0">
                          <a:solidFill>
                            <a:schemeClr val="tx1"/>
                          </a:solidFill>
                          <a:latin typeface="+mn-lt"/>
                        </a:rPr>
                        <a:t>, TenneT</a:t>
                      </a:r>
                      <a:r>
                        <a:rPr lang="en-US" sz="1200" baseline="0" dirty="0">
                          <a:solidFill>
                            <a:schemeClr val="tx1"/>
                          </a:solidFill>
                          <a:latin typeface="+mn-lt"/>
                        </a:rPr>
                        <a:t> NL&amp; DE, Amprion, EPEX, </a:t>
                      </a:r>
                      <a:r>
                        <a:rPr lang="en-US" sz="1200" kern="1200" baseline="0" dirty="0">
                          <a:solidFill>
                            <a:schemeClr val="tx1"/>
                          </a:solidFill>
                          <a:latin typeface="+mn-lt"/>
                          <a:ea typeface="+mn-ea"/>
                          <a:cs typeface="+mn-cs"/>
                        </a:rPr>
                        <a:t>Nord Pool</a:t>
                      </a:r>
                      <a:endParaRPr lang="en-US" sz="1200" kern="1200" dirty="0">
                        <a:solidFill>
                          <a:schemeClr val="tx1"/>
                        </a:solidFill>
                        <a:latin typeface="+mn-lt"/>
                        <a:ea typeface="+mn-ea"/>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3"/>
                  </a:ext>
                </a:extLst>
              </a:tr>
              <a:tr h="2668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err="1">
                          <a:solidFill>
                            <a:schemeClr val="tx1"/>
                          </a:solidFill>
                          <a:latin typeface="+mn-lt"/>
                        </a:rPr>
                        <a:t>NorNed</a:t>
                      </a:r>
                      <a:endParaRPr lang="en-US" sz="1200" dirty="0">
                        <a:solidFill>
                          <a:schemeClr val="tx1"/>
                        </a:solidFill>
                        <a:latin typeface="+mn-lt"/>
                        <a:cs typeface="Arial" panose="020B0604020202020204" pitchFamily="34" charset="0"/>
                      </a:endParaRP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err="1">
                          <a:solidFill>
                            <a:schemeClr val="tx1"/>
                          </a:solidFill>
                          <a:latin typeface="+mn-lt"/>
                        </a:rPr>
                        <a:t>Statnett</a:t>
                      </a:r>
                      <a:r>
                        <a:rPr lang="en-US" sz="1200" dirty="0">
                          <a:solidFill>
                            <a:schemeClr val="tx1"/>
                          </a:solidFill>
                          <a:latin typeface="+mn-lt"/>
                        </a:rPr>
                        <a:t>, TenneT NL, EPEX, </a:t>
                      </a:r>
                      <a:r>
                        <a:rPr lang="en-US" sz="1200" kern="1200" baseline="0" dirty="0">
                          <a:solidFill>
                            <a:schemeClr val="tx1"/>
                          </a:solidFill>
                          <a:latin typeface="+mn-lt"/>
                          <a:ea typeface="+mn-ea"/>
                          <a:cs typeface="+mn-cs"/>
                        </a:rPr>
                        <a:t>Nord Pool</a:t>
                      </a:r>
                      <a:endParaRPr lang="en-US" sz="1200" kern="1200" dirty="0">
                        <a:solidFill>
                          <a:schemeClr val="tx1"/>
                        </a:solidFill>
                        <a:latin typeface="+mn-lt"/>
                        <a:ea typeface="+mn-ea"/>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4"/>
                  </a:ext>
                </a:extLst>
              </a:tr>
              <a:tr h="30834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a:solidFill>
                            <a:schemeClr val="tx1"/>
                          </a:solidFill>
                          <a:latin typeface="+mn-lt"/>
                        </a:rPr>
                        <a:t>FR/DE, DE/AT</a:t>
                      </a:r>
                      <a:endParaRPr lang="en-US" sz="1200" dirty="0">
                        <a:solidFill>
                          <a:schemeClr val="tx1"/>
                        </a:solidFill>
                        <a:latin typeface="+mn-lt"/>
                        <a:cs typeface="Arial" panose="020B0604020202020204" pitchFamily="34" charset="0"/>
                      </a:endParaRP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rPr>
                        <a:t>Amprion,</a:t>
                      </a:r>
                      <a:r>
                        <a:rPr lang="en-US" sz="1200" baseline="0" dirty="0">
                          <a:solidFill>
                            <a:schemeClr val="tx1"/>
                          </a:solidFill>
                          <a:latin typeface="+mn-lt"/>
                        </a:rPr>
                        <a:t> </a:t>
                      </a:r>
                      <a:r>
                        <a:rPr lang="en-US" sz="1200" baseline="0" dirty="0" err="1">
                          <a:solidFill>
                            <a:schemeClr val="tx1"/>
                          </a:solidFill>
                          <a:latin typeface="+mn-lt"/>
                        </a:rPr>
                        <a:t>TransnetBW</a:t>
                      </a:r>
                      <a:r>
                        <a:rPr lang="en-US" sz="1200" baseline="0" dirty="0">
                          <a:solidFill>
                            <a:schemeClr val="tx1"/>
                          </a:solidFill>
                          <a:latin typeface="+mn-lt"/>
                        </a:rPr>
                        <a:t>, APG, RTE, </a:t>
                      </a:r>
                      <a:r>
                        <a:rPr lang="en-US" sz="1200" kern="1200" baseline="0" dirty="0">
                          <a:solidFill>
                            <a:schemeClr val="tx1"/>
                          </a:solidFill>
                          <a:latin typeface="+mn-lt"/>
                        </a:rPr>
                        <a:t>EPEX, </a:t>
                      </a:r>
                      <a:r>
                        <a:rPr lang="en-US" sz="1200" kern="1200" baseline="0" dirty="0">
                          <a:solidFill>
                            <a:schemeClr val="tx1"/>
                          </a:solidFill>
                          <a:latin typeface="+mn-lt"/>
                          <a:ea typeface="+mn-ea"/>
                          <a:cs typeface="+mn-cs"/>
                        </a:rPr>
                        <a:t>Nord Pool</a:t>
                      </a:r>
                      <a:r>
                        <a:rPr lang="en-US" sz="1200" kern="1200" baseline="0" dirty="0">
                          <a:solidFill>
                            <a:schemeClr val="tx1"/>
                          </a:solidFill>
                          <a:latin typeface="+mn-lt"/>
                        </a:rPr>
                        <a:t>, </a:t>
                      </a:r>
                      <a:r>
                        <a:rPr lang="en-US" sz="1200" kern="1200" baseline="0" dirty="0" err="1">
                          <a:solidFill>
                            <a:schemeClr val="tx1"/>
                          </a:solidFill>
                          <a:latin typeface="+mn-lt"/>
                        </a:rPr>
                        <a:t>Tennet</a:t>
                      </a:r>
                      <a:r>
                        <a:rPr lang="en-US" sz="1200" kern="1200" baseline="0" dirty="0">
                          <a:solidFill>
                            <a:schemeClr val="tx1"/>
                          </a:solidFill>
                          <a:latin typeface="+mn-lt"/>
                        </a:rPr>
                        <a:t> DE</a:t>
                      </a:r>
                      <a:endParaRPr lang="en-US" sz="1200" kern="1200" baseline="0" dirty="0">
                        <a:solidFill>
                          <a:schemeClr val="tx1"/>
                        </a:solidFill>
                        <a:latin typeface="+mn-lt"/>
                        <a:ea typeface="+mn-ea"/>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5"/>
                  </a:ext>
                </a:extLst>
              </a:tr>
              <a:tr h="31861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a:solidFill>
                            <a:schemeClr val="tx1"/>
                          </a:solidFill>
                          <a:latin typeface="+mn-lt"/>
                        </a:rPr>
                        <a:t>NL/BE</a:t>
                      </a:r>
                      <a:endParaRPr lang="en-US" sz="1200" dirty="0">
                        <a:solidFill>
                          <a:schemeClr val="tx1"/>
                        </a:solidFill>
                        <a:latin typeface="+mn-lt"/>
                        <a:cs typeface="Arial" panose="020B0604020202020204" pitchFamily="34" charset="0"/>
                      </a:endParaRP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a:solidFill>
                            <a:schemeClr val="tx1"/>
                          </a:solidFill>
                          <a:latin typeface="+mn-lt"/>
                        </a:rPr>
                        <a:t>Elia, TenneT NL, EPEX, Nord Pool</a:t>
                      </a:r>
                      <a:endParaRPr lang="en-US" sz="1200" dirty="0">
                        <a:solidFill>
                          <a:schemeClr val="tx1"/>
                        </a:solidFill>
                        <a:latin typeface="+mn-lt"/>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6"/>
                  </a:ext>
                </a:extLst>
              </a:tr>
              <a:tr h="25930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a:solidFill>
                            <a:schemeClr val="tx1"/>
                          </a:solidFill>
                          <a:latin typeface="+mn-lt"/>
                        </a:rPr>
                        <a:t>FR/BE</a:t>
                      </a:r>
                      <a:endParaRPr lang="en-US" sz="1200" dirty="0">
                        <a:solidFill>
                          <a:schemeClr val="tx1"/>
                        </a:solidFill>
                        <a:latin typeface="+mn-lt"/>
                        <a:cs typeface="Arial" panose="020B0604020202020204" pitchFamily="34" charset="0"/>
                      </a:endParaRP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n-lt"/>
                        </a:rPr>
                        <a:t>RTE, Elia, EPEX, </a:t>
                      </a:r>
                      <a:r>
                        <a:rPr lang="en-US" sz="1200" kern="1200" dirty="0">
                          <a:solidFill>
                            <a:schemeClr val="tx1"/>
                          </a:solidFill>
                          <a:latin typeface="+mn-lt"/>
                          <a:ea typeface="+mn-ea"/>
                          <a:cs typeface="+mn-cs"/>
                        </a:rPr>
                        <a:t>Nord Pool</a:t>
                      </a:r>
                    </a:p>
                  </a:txBody>
                  <a:tcPr marL="36000" marR="36000">
                    <a:solidFill>
                      <a:schemeClr val="bg1"/>
                    </a:solidFill>
                  </a:tcPr>
                </a:tc>
                <a:extLst>
                  <a:ext uri="{0D108BD9-81ED-4DB2-BD59-A6C34878D82A}">
                    <a16:rowId xmlns="" xmlns:a16="http://schemas.microsoft.com/office/drawing/2014/main" val="10007"/>
                  </a:ext>
                </a:extLst>
              </a:tr>
              <a:tr h="22937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a:solidFill>
                            <a:schemeClr val="tx1"/>
                          </a:solidFill>
                          <a:latin typeface="+mn-lt"/>
                        </a:rPr>
                        <a:t>FR/ES&amp; ES</a:t>
                      </a:r>
                      <a:r>
                        <a:rPr lang="en-US" sz="1200" baseline="0" dirty="0">
                          <a:solidFill>
                            <a:schemeClr val="tx1"/>
                          </a:solidFill>
                          <a:latin typeface="+mn-lt"/>
                        </a:rPr>
                        <a:t>/PT</a:t>
                      </a:r>
                      <a:endParaRPr lang="en-US" sz="1200" dirty="0">
                        <a:solidFill>
                          <a:schemeClr val="tx1"/>
                        </a:solidFill>
                        <a:latin typeface="+mn-lt"/>
                        <a:cs typeface="Arial" panose="020B0604020202020204" pitchFamily="34" charset="0"/>
                      </a:endParaRP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a:solidFill>
                            <a:schemeClr val="tx1"/>
                          </a:solidFill>
                          <a:latin typeface="+mn-lt"/>
                        </a:rPr>
                        <a:t>RTE,</a:t>
                      </a:r>
                      <a:r>
                        <a:rPr lang="en-US" sz="1200" baseline="0" dirty="0">
                          <a:solidFill>
                            <a:schemeClr val="tx1"/>
                          </a:solidFill>
                          <a:latin typeface="+mn-lt"/>
                        </a:rPr>
                        <a:t> EPEX, OMIE, </a:t>
                      </a:r>
                      <a:r>
                        <a:rPr lang="en-US" sz="1200" dirty="0">
                          <a:solidFill>
                            <a:schemeClr val="tx1"/>
                          </a:solidFill>
                          <a:latin typeface="+mn-lt"/>
                        </a:rPr>
                        <a:t>REE, </a:t>
                      </a:r>
                      <a:r>
                        <a:rPr lang="en-US" sz="1200" baseline="0" dirty="0">
                          <a:solidFill>
                            <a:schemeClr val="tx1"/>
                          </a:solidFill>
                          <a:latin typeface="+mn-lt"/>
                        </a:rPr>
                        <a:t>REN, Nord Pool</a:t>
                      </a:r>
                      <a:endParaRPr lang="en-US" sz="1200" dirty="0">
                        <a:solidFill>
                          <a:schemeClr val="tx1"/>
                        </a:solidFill>
                        <a:latin typeface="+mn-lt"/>
                        <a:cs typeface="Arial" panose="020B0604020202020204" pitchFamily="34" charset="0"/>
                      </a:endParaRPr>
                    </a:p>
                  </a:txBody>
                  <a:tcPr marL="36000" marR="36000">
                    <a:solidFill>
                      <a:schemeClr val="bg1"/>
                    </a:solidFill>
                  </a:tcPr>
                </a:tc>
                <a:extLst>
                  <a:ext uri="{0D108BD9-81ED-4DB2-BD59-A6C34878D82A}">
                    <a16:rowId xmlns="" xmlns:a16="http://schemas.microsoft.com/office/drawing/2014/main" val="10008"/>
                  </a:ext>
                </a:extLst>
              </a:tr>
              <a:tr h="3609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eaLnBrk="1"/>
                      <a:endParaRPr lang="en-US" sz="900" dirty="0">
                        <a:solidFill>
                          <a:schemeClr val="tx1"/>
                        </a:solidFill>
                        <a:latin typeface="+mn-lt"/>
                        <a:cs typeface="Arial" panose="020B0604020202020204" pitchFamily="34" charset="0"/>
                      </a:endParaRPr>
                    </a:p>
                  </a:txBody>
                  <a:tcP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a:solidFill>
                            <a:schemeClr val="tx1"/>
                          </a:solidFill>
                          <a:latin typeface="+mn-lt"/>
                        </a:rPr>
                        <a:t>Baltic</a:t>
                      </a:r>
                      <a:endParaRPr lang="en-US" sz="1200" dirty="0">
                        <a:solidFill>
                          <a:schemeClr val="tx1"/>
                        </a:solidFill>
                        <a:latin typeface="+mn-lt"/>
                        <a:cs typeface="Arial" panose="020B0604020202020204" pitchFamily="34" charset="0"/>
                      </a:endParaRPr>
                    </a:p>
                  </a:txBody>
                  <a:tcPr marL="36000" marR="36000">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a:r>
                        <a:rPr lang="en-US" sz="1200" dirty="0" err="1">
                          <a:solidFill>
                            <a:schemeClr val="tx1"/>
                          </a:solidFill>
                          <a:latin typeface="+mn-lt"/>
                          <a:cs typeface="Arial" panose="020B0604020202020204" pitchFamily="34" charset="0"/>
                        </a:rPr>
                        <a:t>Elering</a:t>
                      </a:r>
                      <a:r>
                        <a:rPr lang="en-US" sz="1200" dirty="0">
                          <a:solidFill>
                            <a:schemeClr val="tx1"/>
                          </a:solidFill>
                          <a:latin typeface="+mn-lt"/>
                          <a:cs typeface="Arial" panose="020B0604020202020204" pitchFamily="34" charset="0"/>
                        </a:rPr>
                        <a:t>, </a:t>
                      </a:r>
                      <a:r>
                        <a:rPr lang="en-US" sz="1200" dirty="0" err="1">
                          <a:solidFill>
                            <a:schemeClr val="tx1"/>
                          </a:solidFill>
                          <a:latin typeface="+mn-lt"/>
                          <a:cs typeface="Arial" panose="020B0604020202020204" pitchFamily="34" charset="0"/>
                        </a:rPr>
                        <a:t>Litgrid</a:t>
                      </a:r>
                      <a:r>
                        <a:rPr lang="en-US" sz="1200" dirty="0">
                          <a:solidFill>
                            <a:schemeClr val="tx1"/>
                          </a:solidFill>
                          <a:latin typeface="+mn-lt"/>
                          <a:cs typeface="Arial" panose="020B0604020202020204" pitchFamily="34" charset="0"/>
                        </a:rPr>
                        <a:t>, AST, </a:t>
                      </a:r>
                      <a:r>
                        <a:rPr lang="en-US" sz="1200" dirty="0" err="1">
                          <a:solidFill>
                            <a:schemeClr val="tx1"/>
                          </a:solidFill>
                          <a:latin typeface="+mn-lt"/>
                          <a:cs typeface="Arial" panose="020B0604020202020204" pitchFamily="34" charset="0"/>
                        </a:rPr>
                        <a:t>Fingrid</a:t>
                      </a:r>
                      <a:r>
                        <a:rPr lang="en-US" sz="1200" dirty="0">
                          <a:solidFill>
                            <a:schemeClr val="tx1"/>
                          </a:solidFill>
                          <a:latin typeface="+mn-lt"/>
                          <a:cs typeface="Arial" panose="020B0604020202020204" pitchFamily="34" charset="0"/>
                        </a:rPr>
                        <a:t> (</a:t>
                      </a:r>
                      <a:r>
                        <a:rPr lang="en-US" sz="1200" dirty="0" err="1">
                          <a:solidFill>
                            <a:schemeClr val="tx1"/>
                          </a:solidFill>
                          <a:latin typeface="+mn-lt"/>
                          <a:cs typeface="Arial" panose="020B0604020202020204" pitchFamily="34" charset="0"/>
                        </a:rPr>
                        <a:t>Estlink</a:t>
                      </a:r>
                      <a:r>
                        <a:rPr lang="en-US" sz="1200" dirty="0">
                          <a:solidFill>
                            <a:schemeClr val="tx1"/>
                          </a:solidFill>
                          <a:latin typeface="+mn-lt"/>
                          <a:cs typeface="Arial" panose="020B0604020202020204" pitchFamily="34" charset="0"/>
                        </a:rPr>
                        <a:t>), </a:t>
                      </a:r>
                      <a:r>
                        <a:rPr lang="en-US" sz="1200" dirty="0" err="1">
                          <a:solidFill>
                            <a:schemeClr val="tx1"/>
                          </a:solidFill>
                          <a:latin typeface="+mn-lt"/>
                          <a:cs typeface="Arial" panose="020B0604020202020204" pitchFamily="34" charset="0"/>
                        </a:rPr>
                        <a:t>Svenska</a:t>
                      </a:r>
                      <a:r>
                        <a:rPr lang="en-US" sz="1200" dirty="0">
                          <a:solidFill>
                            <a:schemeClr val="tx1"/>
                          </a:solidFill>
                          <a:latin typeface="+mn-lt"/>
                          <a:cs typeface="Arial" panose="020B0604020202020204" pitchFamily="34" charset="0"/>
                        </a:rPr>
                        <a:t> </a:t>
                      </a:r>
                      <a:r>
                        <a:rPr lang="en-US" sz="1200" dirty="0" err="1">
                          <a:solidFill>
                            <a:schemeClr val="tx1"/>
                          </a:solidFill>
                          <a:latin typeface="+mn-lt"/>
                          <a:cs typeface="Arial" panose="020B0604020202020204" pitchFamily="34" charset="0"/>
                        </a:rPr>
                        <a:t>Kraftnät</a:t>
                      </a:r>
                      <a:r>
                        <a:rPr lang="en-US" sz="1200" dirty="0">
                          <a:solidFill>
                            <a:schemeClr val="tx1"/>
                          </a:solidFill>
                          <a:latin typeface="+mn-lt"/>
                          <a:cs typeface="Arial" panose="020B0604020202020204" pitchFamily="34" charset="0"/>
                        </a:rPr>
                        <a:t> (</a:t>
                      </a:r>
                      <a:r>
                        <a:rPr lang="en-US" sz="1200" dirty="0" err="1">
                          <a:solidFill>
                            <a:schemeClr val="tx1"/>
                          </a:solidFill>
                          <a:latin typeface="+mn-lt"/>
                          <a:cs typeface="Arial" panose="020B0604020202020204" pitchFamily="34" charset="0"/>
                        </a:rPr>
                        <a:t>NordBalt</a:t>
                      </a:r>
                      <a:r>
                        <a:rPr lang="en-US" sz="1200" dirty="0">
                          <a:solidFill>
                            <a:schemeClr val="tx1"/>
                          </a:solidFill>
                          <a:latin typeface="+mn-lt"/>
                          <a:cs typeface="Arial" panose="020B0604020202020204" pitchFamily="34" charset="0"/>
                        </a:rPr>
                        <a:t>), Nord Pool</a:t>
                      </a:r>
                    </a:p>
                  </a:txBody>
                  <a:tcPr marL="36000" marR="36000">
                    <a:solidFill>
                      <a:schemeClr val="bg1"/>
                    </a:solidFill>
                  </a:tcPr>
                </a:tc>
                <a:extLst>
                  <a:ext uri="{0D108BD9-81ED-4DB2-BD59-A6C34878D82A}">
                    <a16:rowId xmlns="" xmlns:a16="http://schemas.microsoft.com/office/drawing/2014/main" val="10010"/>
                  </a:ext>
                </a:extLst>
              </a:tr>
            </a:tbl>
          </a:graphicData>
        </a:graphic>
      </p:graphicFrame>
      <p:sp>
        <p:nvSpPr>
          <p:cNvPr id="102" name="Oval 4"/>
          <p:cNvSpPr>
            <a:spLocks noChangeAspect="1" noChangeArrowheads="1"/>
          </p:cNvSpPr>
          <p:nvPr>
            <p:custDataLst>
              <p:tags r:id="rId2"/>
            </p:custDataLst>
          </p:nvPr>
        </p:nvSpPr>
        <p:spPr bwMode="auto">
          <a:xfrm>
            <a:off x="642704" y="2202403"/>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1</a:t>
            </a:r>
          </a:p>
        </p:txBody>
      </p:sp>
      <p:sp>
        <p:nvSpPr>
          <p:cNvPr id="103" name="Oval 5"/>
          <p:cNvSpPr>
            <a:spLocks noChangeAspect="1" noChangeArrowheads="1"/>
          </p:cNvSpPr>
          <p:nvPr>
            <p:custDataLst>
              <p:tags r:id="rId3"/>
            </p:custDataLst>
          </p:nvPr>
        </p:nvSpPr>
        <p:spPr bwMode="auto">
          <a:xfrm>
            <a:off x="642704" y="2638304"/>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2</a:t>
            </a:r>
          </a:p>
        </p:txBody>
      </p:sp>
      <p:sp>
        <p:nvSpPr>
          <p:cNvPr id="104" name="Oval 4"/>
          <p:cNvSpPr>
            <a:spLocks noChangeAspect="1" noChangeArrowheads="1"/>
          </p:cNvSpPr>
          <p:nvPr>
            <p:custDataLst>
              <p:tags r:id="rId4"/>
            </p:custDataLst>
          </p:nvPr>
        </p:nvSpPr>
        <p:spPr bwMode="auto">
          <a:xfrm>
            <a:off x="646237" y="3130020"/>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3</a:t>
            </a:r>
          </a:p>
        </p:txBody>
      </p:sp>
      <p:sp>
        <p:nvSpPr>
          <p:cNvPr id="105" name="Oval 5"/>
          <p:cNvSpPr>
            <a:spLocks noChangeAspect="1" noChangeArrowheads="1"/>
          </p:cNvSpPr>
          <p:nvPr>
            <p:custDataLst>
              <p:tags r:id="rId5"/>
            </p:custDataLst>
          </p:nvPr>
        </p:nvSpPr>
        <p:spPr bwMode="auto">
          <a:xfrm>
            <a:off x="651684" y="3545938"/>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4</a:t>
            </a:r>
          </a:p>
        </p:txBody>
      </p:sp>
      <p:sp>
        <p:nvSpPr>
          <p:cNvPr id="106" name="Oval 4"/>
          <p:cNvSpPr>
            <a:spLocks noChangeAspect="1" noChangeArrowheads="1"/>
          </p:cNvSpPr>
          <p:nvPr>
            <p:custDataLst>
              <p:tags r:id="rId6"/>
            </p:custDataLst>
          </p:nvPr>
        </p:nvSpPr>
        <p:spPr bwMode="auto">
          <a:xfrm>
            <a:off x="639628" y="4095398"/>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5</a:t>
            </a:r>
          </a:p>
        </p:txBody>
      </p:sp>
      <p:sp>
        <p:nvSpPr>
          <p:cNvPr id="107" name="Oval 5"/>
          <p:cNvSpPr>
            <a:spLocks noChangeAspect="1" noChangeArrowheads="1"/>
          </p:cNvSpPr>
          <p:nvPr>
            <p:custDataLst>
              <p:tags r:id="rId7"/>
            </p:custDataLst>
          </p:nvPr>
        </p:nvSpPr>
        <p:spPr bwMode="auto">
          <a:xfrm>
            <a:off x="647905" y="4653273"/>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6</a:t>
            </a:r>
          </a:p>
        </p:txBody>
      </p:sp>
      <p:sp>
        <p:nvSpPr>
          <p:cNvPr id="108" name="Oval 5"/>
          <p:cNvSpPr>
            <a:spLocks noChangeAspect="1" noChangeArrowheads="1"/>
          </p:cNvSpPr>
          <p:nvPr>
            <p:custDataLst>
              <p:tags r:id="rId8"/>
            </p:custDataLst>
          </p:nvPr>
        </p:nvSpPr>
        <p:spPr bwMode="auto">
          <a:xfrm>
            <a:off x="640558" y="5044875"/>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8</a:t>
            </a:r>
          </a:p>
        </p:txBody>
      </p:sp>
      <p:sp>
        <p:nvSpPr>
          <p:cNvPr id="109" name="Oval 5"/>
          <p:cNvSpPr>
            <a:spLocks noChangeAspect="1" noChangeArrowheads="1"/>
          </p:cNvSpPr>
          <p:nvPr>
            <p:custDataLst>
              <p:tags r:id="rId9"/>
            </p:custDataLst>
          </p:nvPr>
        </p:nvSpPr>
        <p:spPr bwMode="auto">
          <a:xfrm>
            <a:off x="568964" y="5328978"/>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9</a:t>
            </a:r>
          </a:p>
        </p:txBody>
      </p:sp>
      <p:sp>
        <p:nvSpPr>
          <p:cNvPr id="110" name="Oval 5"/>
          <p:cNvSpPr>
            <a:spLocks noChangeAspect="1" noChangeArrowheads="1"/>
          </p:cNvSpPr>
          <p:nvPr>
            <p:custDataLst>
              <p:tags r:id="rId10"/>
            </p:custDataLst>
          </p:nvPr>
        </p:nvSpPr>
        <p:spPr bwMode="auto">
          <a:xfrm>
            <a:off x="703706" y="5445655"/>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12</a:t>
            </a:r>
          </a:p>
        </p:txBody>
      </p:sp>
      <p:sp>
        <p:nvSpPr>
          <p:cNvPr id="111" name="Oval 4"/>
          <p:cNvSpPr>
            <a:spLocks noChangeAspect="1" noChangeArrowheads="1"/>
          </p:cNvSpPr>
          <p:nvPr>
            <p:custDataLst>
              <p:tags r:id="rId11"/>
            </p:custDataLst>
          </p:nvPr>
        </p:nvSpPr>
        <p:spPr bwMode="auto">
          <a:xfrm>
            <a:off x="628365" y="5938943"/>
            <a:ext cx="225549" cy="207223"/>
          </a:xfrm>
          <a:prstGeom prst="ellipse">
            <a:avLst/>
          </a:prstGeom>
          <a:solidFill>
            <a:schemeClr val="accent2">
              <a:lumMod val="75000"/>
            </a:schemeClr>
          </a:solidFill>
          <a:ln>
            <a:solidFill>
              <a:schemeClr val="accent2">
                <a:lumMod val="75000"/>
              </a:schemeClr>
            </a:solidFill>
          </a:ln>
          <a:effectLs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13</a:t>
            </a:r>
          </a:p>
        </p:txBody>
      </p:sp>
      <p:sp>
        <p:nvSpPr>
          <p:cNvPr id="112" name="Ellipse 111"/>
          <p:cNvSpPr/>
          <p:nvPr/>
        </p:nvSpPr>
        <p:spPr>
          <a:xfrm rot="16692975">
            <a:off x="5473733" y="3576249"/>
            <a:ext cx="1080314" cy="267623"/>
          </a:xfrm>
          <a:prstGeom prst="ellipse">
            <a:avLst/>
          </a:prstGeom>
          <a:noFill/>
          <a:ln w="1270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13" name="Oval 5"/>
          <p:cNvSpPr>
            <a:spLocks noChangeAspect="1" noChangeArrowheads="1"/>
          </p:cNvSpPr>
          <p:nvPr>
            <p:custDataLst>
              <p:tags r:id="rId12"/>
            </p:custDataLst>
          </p:nvPr>
        </p:nvSpPr>
        <p:spPr bwMode="auto">
          <a:xfrm rot="20941975">
            <a:off x="5786821" y="3563388"/>
            <a:ext cx="181318" cy="16658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fontAlgn="auto" hangingPunct="0">
              <a:spcAft>
                <a:spcPts val="0"/>
              </a:spcAft>
              <a:buSzPct val="115000"/>
              <a:buFont typeface="Symbol" pitchFamily="18" charset="2"/>
              <a:buNone/>
            </a:pPr>
            <a:r>
              <a:rPr lang="en-GB" sz="1000" b="1" dirty="0">
                <a:solidFill>
                  <a:prstClr val="white"/>
                </a:solidFill>
                <a:latin typeface="Arial" panose="020B0604020202020204" pitchFamily="34" charset="0"/>
                <a:cs typeface="Arial" panose="020B0604020202020204" pitchFamily="34" charset="0"/>
              </a:rPr>
              <a:t>4</a:t>
            </a:r>
          </a:p>
        </p:txBody>
      </p:sp>
      <p:pic>
        <p:nvPicPr>
          <p:cNvPr id="65" name="Afbeelding 10" descr="tennetlogo.jpg"/>
          <p:cNvPicPr/>
          <p:nvPr/>
        </p:nvPicPr>
        <p:blipFill>
          <a:blip r:embed="rId75"/>
          <a:srcRect/>
          <a:stretch>
            <a:fillRect/>
          </a:stretch>
        </p:blipFill>
        <p:spPr bwMode="auto">
          <a:xfrm>
            <a:off x="5681050" y="4147902"/>
            <a:ext cx="347093" cy="72932"/>
          </a:xfrm>
          <a:prstGeom prst="rect">
            <a:avLst/>
          </a:prstGeom>
          <a:noFill/>
        </p:spPr>
      </p:pic>
      <p:sp>
        <p:nvSpPr>
          <p:cNvPr id="114" name="Ovale 9"/>
          <p:cNvSpPr/>
          <p:nvPr/>
        </p:nvSpPr>
        <p:spPr>
          <a:xfrm rot="18399170">
            <a:off x="7057136" y="2685089"/>
            <a:ext cx="1227508" cy="1128067"/>
          </a:xfrm>
          <a:prstGeom prst="ellipse">
            <a:avLst/>
          </a:prstGeom>
          <a:noFill/>
          <a:ln w="1270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prstClr val="white"/>
              </a:solidFill>
            </a:endParaRPr>
          </a:p>
        </p:txBody>
      </p:sp>
      <p:sp>
        <p:nvSpPr>
          <p:cNvPr id="115" name="Oval 4"/>
          <p:cNvSpPr>
            <a:spLocks noChangeAspect="1" noChangeArrowheads="1"/>
          </p:cNvSpPr>
          <p:nvPr>
            <p:custDataLst>
              <p:tags r:id="rId13"/>
            </p:custDataLst>
          </p:nvPr>
        </p:nvSpPr>
        <p:spPr bwMode="auto">
          <a:xfrm>
            <a:off x="8097169" y="2880545"/>
            <a:ext cx="216986" cy="19935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hangingPunct="0">
              <a:buSzPct val="115000"/>
              <a:buFont typeface="Symbol" pitchFamily="18" charset="2"/>
              <a:buNone/>
            </a:pPr>
            <a:r>
              <a:rPr lang="en-US" sz="1000" b="1" dirty="0">
                <a:solidFill>
                  <a:prstClr val="white"/>
                </a:solidFill>
                <a:latin typeface="Arial" panose="020B0604020202020204" pitchFamily="34" charset="0"/>
                <a:cs typeface="Arial" panose="020B0604020202020204" pitchFamily="34" charset="0"/>
              </a:rPr>
              <a:t>13</a:t>
            </a:r>
          </a:p>
        </p:txBody>
      </p:sp>
      <p:sp>
        <p:nvSpPr>
          <p:cNvPr id="116" name="Ellipse 115"/>
          <p:cNvSpPr/>
          <p:nvPr/>
        </p:nvSpPr>
        <p:spPr>
          <a:xfrm rot="18354736">
            <a:off x="5646721" y="1619488"/>
            <a:ext cx="2837521" cy="1694778"/>
          </a:xfrm>
          <a:prstGeom prst="ellipse">
            <a:avLst/>
          </a:prstGeom>
          <a:noFill/>
          <a:ln w="1270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17" name="Oval 4"/>
          <p:cNvSpPr>
            <a:spLocks noChangeAspect="1" noChangeArrowheads="1"/>
          </p:cNvSpPr>
          <p:nvPr>
            <p:custDataLst>
              <p:tags r:id="rId14"/>
            </p:custDataLst>
          </p:nvPr>
        </p:nvSpPr>
        <p:spPr bwMode="auto">
          <a:xfrm>
            <a:off x="6149603" y="2054400"/>
            <a:ext cx="181318" cy="16658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fontAlgn="auto" hangingPunct="0">
              <a:spcAft>
                <a:spcPts val="0"/>
              </a:spcAft>
              <a:buSzPct val="115000"/>
              <a:buFont typeface="Symbol" pitchFamily="18" charset="2"/>
              <a:buNone/>
            </a:pPr>
            <a:r>
              <a:rPr lang="en-GB" sz="1000" b="1" dirty="0">
                <a:solidFill>
                  <a:prstClr val="white"/>
                </a:solidFill>
                <a:latin typeface="Arial" panose="020B0604020202020204" pitchFamily="34" charset="0"/>
                <a:cs typeface="Arial" panose="020B0604020202020204" pitchFamily="34" charset="0"/>
              </a:rPr>
              <a:t>1</a:t>
            </a:r>
          </a:p>
        </p:txBody>
      </p:sp>
      <p:sp>
        <p:nvSpPr>
          <p:cNvPr id="118" name="Ellipse 117"/>
          <p:cNvSpPr/>
          <p:nvPr/>
        </p:nvSpPr>
        <p:spPr>
          <a:xfrm rot="18661780">
            <a:off x="5901752" y="3832516"/>
            <a:ext cx="617453" cy="267623"/>
          </a:xfrm>
          <a:prstGeom prst="ellipse">
            <a:avLst/>
          </a:prstGeom>
          <a:noFill/>
          <a:ln w="1270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19" name="Oval 5"/>
          <p:cNvSpPr>
            <a:spLocks noChangeAspect="1" noChangeArrowheads="1"/>
          </p:cNvSpPr>
          <p:nvPr>
            <p:custDataLst>
              <p:tags r:id="rId15"/>
            </p:custDataLst>
          </p:nvPr>
        </p:nvSpPr>
        <p:spPr bwMode="auto">
          <a:xfrm>
            <a:off x="6602094" y="3936584"/>
            <a:ext cx="181318" cy="16658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hangingPunct="0">
              <a:buSzPct val="115000"/>
              <a:buFont typeface="Symbol" pitchFamily="18" charset="2"/>
              <a:buNone/>
            </a:pPr>
            <a:r>
              <a:rPr lang="en-GB" sz="1000" b="1" dirty="0">
                <a:solidFill>
                  <a:prstClr val="white"/>
                </a:solidFill>
                <a:latin typeface="Arial" panose="020B0604020202020204" pitchFamily="34" charset="0"/>
                <a:cs typeface="Arial" panose="020B0604020202020204" pitchFamily="34" charset="0"/>
              </a:rPr>
              <a:t>2</a:t>
            </a:r>
          </a:p>
        </p:txBody>
      </p:sp>
      <p:sp>
        <p:nvSpPr>
          <p:cNvPr id="120" name="Oval 4"/>
          <p:cNvSpPr>
            <a:spLocks noChangeAspect="1" noChangeArrowheads="1"/>
          </p:cNvSpPr>
          <p:nvPr>
            <p:custDataLst>
              <p:tags r:id="rId16"/>
            </p:custDataLst>
          </p:nvPr>
        </p:nvSpPr>
        <p:spPr bwMode="auto">
          <a:xfrm>
            <a:off x="6176363" y="4007323"/>
            <a:ext cx="181318" cy="16658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fontAlgn="auto" hangingPunct="0">
              <a:spcAft>
                <a:spcPts val="0"/>
              </a:spcAft>
              <a:buSzPct val="115000"/>
              <a:buFont typeface="Symbol" pitchFamily="18" charset="2"/>
              <a:buNone/>
            </a:pPr>
            <a:r>
              <a:rPr lang="en-GB" sz="1000" b="1" dirty="0">
                <a:solidFill>
                  <a:prstClr val="white"/>
                </a:solidFill>
                <a:latin typeface="Arial" panose="020B0604020202020204" pitchFamily="34" charset="0"/>
                <a:cs typeface="Arial" panose="020B0604020202020204" pitchFamily="34" charset="0"/>
              </a:rPr>
              <a:t>3</a:t>
            </a:r>
          </a:p>
        </p:txBody>
      </p:sp>
      <p:sp>
        <p:nvSpPr>
          <p:cNvPr id="121" name="Ellipse 120"/>
          <p:cNvSpPr/>
          <p:nvPr/>
        </p:nvSpPr>
        <p:spPr>
          <a:xfrm rot="17694899">
            <a:off x="6380618" y="3839553"/>
            <a:ext cx="442952" cy="168587"/>
          </a:xfrm>
          <a:prstGeom prst="ellipse">
            <a:avLst/>
          </a:prstGeom>
          <a:noFill/>
          <a:ln w="1270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2" name="Ellipse 121"/>
          <p:cNvSpPr/>
          <p:nvPr/>
        </p:nvSpPr>
        <p:spPr>
          <a:xfrm rot="20922744">
            <a:off x="4070580" y="5545943"/>
            <a:ext cx="1559647" cy="317601"/>
          </a:xfrm>
          <a:prstGeom prst="ellipse">
            <a:avLst/>
          </a:prstGeom>
          <a:noFill/>
          <a:ln w="1270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23" name="Oval 5"/>
          <p:cNvSpPr>
            <a:spLocks noChangeAspect="1" noChangeArrowheads="1"/>
          </p:cNvSpPr>
          <p:nvPr>
            <p:custDataLst>
              <p:tags r:id="rId17"/>
            </p:custDataLst>
          </p:nvPr>
        </p:nvSpPr>
        <p:spPr bwMode="auto">
          <a:xfrm>
            <a:off x="5037178" y="5420927"/>
            <a:ext cx="181318" cy="16658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fontAlgn="auto" hangingPunct="0">
              <a:spcAft>
                <a:spcPts val="0"/>
              </a:spcAft>
              <a:buSzPct val="115000"/>
              <a:buFont typeface="Symbol" pitchFamily="18" charset="2"/>
              <a:buNone/>
            </a:pPr>
            <a:r>
              <a:rPr lang="en-GB" sz="1000" b="1" dirty="0">
                <a:solidFill>
                  <a:prstClr val="white"/>
                </a:solidFill>
                <a:latin typeface="Arial" panose="020B0604020202020204" pitchFamily="34" charset="0"/>
                <a:cs typeface="Arial" panose="020B0604020202020204" pitchFamily="34" charset="0"/>
              </a:rPr>
              <a:t>9</a:t>
            </a:r>
          </a:p>
        </p:txBody>
      </p:sp>
      <p:sp>
        <p:nvSpPr>
          <p:cNvPr id="124" name="Oval 5"/>
          <p:cNvSpPr>
            <a:spLocks noChangeAspect="1" noChangeArrowheads="1"/>
          </p:cNvSpPr>
          <p:nvPr>
            <p:custDataLst>
              <p:tags r:id="rId18"/>
            </p:custDataLst>
          </p:nvPr>
        </p:nvSpPr>
        <p:spPr bwMode="auto">
          <a:xfrm>
            <a:off x="4429780" y="5839126"/>
            <a:ext cx="217290" cy="19963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fontAlgn="auto" hangingPunct="0">
              <a:spcAft>
                <a:spcPts val="0"/>
              </a:spcAft>
              <a:buSzPct val="115000"/>
              <a:buFont typeface="Symbol" pitchFamily="18" charset="2"/>
              <a:buNone/>
            </a:pPr>
            <a:r>
              <a:rPr lang="en-GB" sz="900" b="1" dirty="0">
                <a:solidFill>
                  <a:prstClr val="white"/>
                </a:solidFill>
                <a:latin typeface="Arial" panose="020B0604020202020204" pitchFamily="34" charset="0"/>
                <a:cs typeface="Arial" panose="020B0604020202020204" pitchFamily="34" charset="0"/>
              </a:rPr>
              <a:t>12</a:t>
            </a:r>
          </a:p>
        </p:txBody>
      </p:sp>
      <p:sp>
        <p:nvSpPr>
          <p:cNvPr id="125" name="Ellipse 124"/>
          <p:cNvSpPr/>
          <p:nvPr/>
        </p:nvSpPr>
        <p:spPr>
          <a:xfrm rot="19075045">
            <a:off x="5441392" y="4478229"/>
            <a:ext cx="416218" cy="193299"/>
          </a:xfrm>
          <a:prstGeom prst="ellipse">
            <a:avLst/>
          </a:prstGeom>
          <a:noFill/>
          <a:ln w="1270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26" name="Oval 5"/>
          <p:cNvSpPr>
            <a:spLocks noChangeAspect="1" noChangeArrowheads="1"/>
          </p:cNvSpPr>
          <p:nvPr>
            <p:custDataLst>
              <p:tags r:id="rId19"/>
            </p:custDataLst>
          </p:nvPr>
        </p:nvSpPr>
        <p:spPr bwMode="auto">
          <a:xfrm>
            <a:off x="5559822" y="4569981"/>
            <a:ext cx="181318" cy="16658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fontAlgn="auto" hangingPunct="0">
              <a:spcAft>
                <a:spcPts val="0"/>
              </a:spcAft>
              <a:buSzPct val="115000"/>
              <a:buFont typeface="Symbol" pitchFamily="18" charset="2"/>
              <a:buNone/>
            </a:pPr>
            <a:r>
              <a:rPr lang="en-GB" sz="1000" b="1" dirty="0">
                <a:solidFill>
                  <a:prstClr val="white"/>
                </a:solidFill>
                <a:latin typeface="Arial" panose="020B0604020202020204" pitchFamily="34" charset="0"/>
                <a:cs typeface="Arial" panose="020B0604020202020204" pitchFamily="34" charset="0"/>
              </a:rPr>
              <a:t>8</a:t>
            </a:r>
          </a:p>
        </p:txBody>
      </p:sp>
      <p:sp>
        <p:nvSpPr>
          <p:cNvPr id="127" name="Ellipse 126"/>
          <p:cNvSpPr/>
          <p:nvPr/>
        </p:nvSpPr>
        <p:spPr>
          <a:xfrm rot="390687">
            <a:off x="5813169" y="4663155"/>
            <a:ext cx="1075849" cy="274396"/>
          </a:xfrm>
          <a:prstGeom prst="ellipse">
            <a:avLst/>
          </a:prstGeom>
          <a:noFill/>
          <a:ln w="1270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28" name="Ellipse 127"/>
          <p:cNvSpPr/>
          <p:nvPr/>
        </p:nvSpPr>
        <p:spPr>
          <a:xfrm rot="19075045">
            <a:off x="5693263" y="4351650"/>
            <a:ext cx="289355" cy="164408"/>
          </a:xfrm>
          <a:prstGeom prst="ellipse">
            <a:avLst/>
          </a:prstGeom>
          <a:noFill/>
          <a:ln w="12700">
            <a:solidFill>
              <a:schemeClr val="accent2">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prstClr val="white"/>
              </a:solidFill>
            </a:endParaRPr>
          </a:p>
        </p:txBody>
      </p:sp>
      <p:sp>
        <p:nvSpPr>
          <p:cNvPr id="129" name="Oval 4"/>
          <p:cNvSpPr>
            <a:spLocks noChangeAspect="1" noChangeArrowheads="1"/>
          </p:cNvSpPr>
          <p:nvPr>
            <p:custDataLst>
              <p:tags r:id="rId20"/>
            </p:custDataLst>
          </p:nvPr>
        </p:nvSpPr>
        <p:spPr bwMode="auto">
          <a:xfrm>
            <a:off x="5837356" y="4755002"/>
            <a:ext cx="181318" cy="16658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fontAlgn="auto" hangingPunct="0">
              <a:spcAft>
                <a:spcPts val="0"/>
              </a:spcAft>
              <a:buSzPct val="115000"/>
              <a:buFont typeface="Symbol" pitchFamily="18" charset="2"/>
              <a:buNone/>
            </a:pPr>
            <a:r>
              <a:rPr lang="en-GB" sz="1000" b="1" dirty="0">
                <a:solidFill>
                  <a:prstClr val="white"/>
                </a:solidFill>
                <a:latin typeface="Arial" panose="020B0604020202020204" pitchFamily="34" charset="0"/>
                <a:cs typeface="Arial" panose="020B0604020202020204" pitchFamily="34" charset="0"/>
              </a:rPr>
              <a:t>5</a:t>
            </a:r>
          </a:p>
        </p:txBody>
      </p:sp>
      <p:sp>
        <p:nvSpPr>
          <p:cNvPr id="130" name="Oval 5"/>
          <p:cNvSpPr>
            <a:spLocks noChangeAspect="1" noChangeArrowheads="1"/>
          </p:cNvSpPr>
          <p:nvPr>
            <p:custDataLst>
              <p:tags r:id="rId21"/>
            </p:custDataLst>
          </p:nvPr>
        </p:nvSpPr>
        <p:spPr bwMode="auto">
          <a:xfrm>
            <a:off x="5704306" y="4237664"/>
            <a:ext cx="181318" cy="166585"/>
          </a:xfrm>
          <a:prstGeom prst="ellipse">
            <a:avLst/>
          </a:prstGeom>
          <a:solidFill>
            <a:schemeClr val="accent2">
              <a:lumMod val="75000"/>
            </a:schemeClr>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fontAlgn="auto" hangingPunct="0">
              <a:spcAft>
                <a:spcPts val="0"/>
              </a:spcAft>
              <a:buSzPct val="115000"/>
              <a:buFont typeface="Symbol" pitchFamily="18" charset="2"/>
              <a:buNone/>
            </a:pPr>
            <a:r>
              <a:rPr lang="en-GB" sz="1000" b="1" dirty="0">
                <a:solidFill>
                  <a:prstClr val="white"/>
                </a:solidFill>
                <a:latin typeface="Arial" panose="020B0604020202020204" pitchFamily="34" charset="0"/>
                <a:cs typeface="Arial" panose="020B0604020202020204" pitchFamily="34" charset="0"/>
              </a:rPr>
              <a:t>6</a:t>
            </a:r>
          </a:p>
        </p:txBody>
      </p:sp>
      <p:pic>
        <p:nvPicPr>
          <p:cNvPr id="58" name="Picture 2" descr="Image result for energinet logo"/>
          <p:cNvPicPr>
            <a:picLocks noChangeAspect="1" noChangeArrowheads="1"/>
          </p:cNvPicPr>
          <p:nvPr/>
        </p:nvPicPr>
        <p:blipFill rotWithShape="1">
          <a:blip r:embed="rId76" cstate="print">
            <a:extLst>
              <a:ext uri="{28A0092B-C50C-407E-A947-70E740481C1C}">
                <a14:useLocalDpi xmlns:a14="http://schemas.microsoft.com/office/drawing/2010/main" val="0"/>
              </a:ext>
            </a:extLst>
          </a:blip>
          <a:srcRect t="19118" b="25294"/>
          <a:stretch/>
        </p:blipFill>
        <p:spPr bwMode="auto">
          <a:xfrm>
            <a:off x="6240262" y="3666801"/>
            <a:ext cx="416573" cy="8054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6808480" y="4832583"/>
            <a:ext cx="252391" cy="1385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6" descr="Image result for elia logo">
            <a:extLst>
              <a:ext uri="{FF2B5EF4-FFF2-40B4-BE49-F238E27FC236}">
                <a16:creationId xmlns="" xmlns:a16="http://schemas.microsoft.com/office/drawing/2014/main" id="{B895F5F1-6210-48DC-867C-9AD08F54F506}"/>
              </a:ext>
            </a:extLst>
          </p:cNvPr>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5646226" y="4453310"/>
            <a:ext cx="295653" cy="72835"/>
          </a:xfrm>
          <a:prstGeom prst="rect">
            <a:avLst/>
          </a:prstGeom>
          <a:noFill/>
          <a:extLst>
            <a:ext uri="{909E8E84-426E-40DD-AFC4-6F175D3DCCD1}">
              <a14:hiddenFill xmlns:a14="http://schemas.microsoft.com/office/drawing/2010/main">
                <a:solidFill>
                  <a:srgbClr val="FFFFFF"/>
                </a:solidFill>
              </a14:hiddenFill>
            </a:ext>
          </a:extLst>
        </p:spPr>
      </p:pic>
      <p:cxnSp>
        <p:nvCxnSpPr>
          <p:cNvPr id="135" name="Gerade Verbindung 134"/>
          <p:cNvCxnSpPr>
            <a:cxnSpLocks noChangeAspect="1"/>
          </p:cNvCxnSpPr>
          <p:nvPr/>
        </p:nvCxnSpPr>
        <p:spPr>
          <a:xfrm>
            <a:off x="6962347" y="3630853"/>
            <a:ext cx="735029" cy="10843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411" name="Picture 99" descr="http://news.ast.lv/images/Stila_gramata/ast-logo-red-rgb.jpg"/>
          <p:cNvPicPr>
            <a:picLocks noChangeAspect="1" noChangeArrowheads="1"/>
          </p:cNvPicPr>
          <p:nvPr/>
        </p:nvPicPr>
        <p:blipFill>
          <a:blip r:embed="rId79" cstate="print">
            <a:extLst>
              <a:ext uri="{28A0092B-C50C-407E-A947-70E740481C1C}">
                <a14:useLocalDpi xmlns:a14="http://schemas.microsoft.com/office/drawing/2010/main" val="0"/>
              </a:ext>
            </a:extLst>
          </a:blip>
          <a:srcRect/>
          <a:stretch>
            <a:fillRect/>
          </a:stretch>
        </p:blipFill>
        <p:spPr bwMode="auto">
          <a:xfrm>
            <a:off x="7832162" y="3414688"/>
            <a:ext cx="278206" cy="181874"/>
          </a:xfrm>
          <a:prstGeom prst="rect">
            <a:avLst/>
          </a:prstGeom>
          <a:noFill/>
          <a:extLst>
            <a:ext uri="{909E8E84-426E-40DD-AFC4-6F175D3DCCD1}">
              <a14:hiddenFill xmlns:a14="http://schemas.microsoft.com/office/drawing/2010/main">
                <a:solidFill>
                  <a:srgbClr val="FFFFFF"/>
                </a:solidFill>
              </a14:hiddenFill>
            </a:ext>
          </a:extLst>
        </p:spPr>
      </p:pic>
      <p:pic>
        <p:nvPicPr>
          <p:cNvPr id="132" name="Image 83"/>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5445136" y="4905460"/>
            <a:ext cx="278831" cy="278831"/>
          </a:xfrm>
          <a:prstGeom prst="rect">
            <a:avLst/>
          </a:prstGeom>
        </p:spPr>
      </p:pic>
      <p:pic>
        <p:nvPicPr>
          <p:cNvPr id="137" name="Image 1" descr="http://www.omel.es/files/framework_logo.jpg"/>
          <p:cNvPicPr/>
          <p:nvPr/>
        </p:nvPicPr>
        <p:blipFill>
          <a:blip r:embed="rId81" cstate="print"/>
          <a:srcRect/>
          <a:stretch>
            <a:fillRect/>
          </a:stretch>
        </p:blipFill>
        <p:spPr bwMode="auto">
          <a:xfrm>
            <a:off x="4659180" y="2504697"/>
            <a:ext cx="679925" cy="233002"/>
          </a:xfrm>
          <a:prstGeom prst="rect">
            <a:avLst/>
          </a:prstGeom>
          <a:noFill/>
        </p:spPr>
      </p:pic>
      <p:pic>
        <p:nvPicPr>
          <p:cNvPr id="139" name="16 Imagen" descr="nordpool_blue_rgb"/>
          <p:cNvPicPr preferRelativeResize="0">
            <a:picLocks noChangeAspect="1"/>
          </p:cNvPicPr>
          <p:nvPr/>
        </p:nvPicPr>
        <p:blipFill>
          <a:blip r:embed="rId82" cstate="print">
            <a:extLst>
              <a:ext uri="{28A0092B-C50C-407E-A947-70E740481C1C}">
                <a14:useLocalDpi xmlns:a14="http://schemas.microsoft.com/office/drawing/2010/main" val="0"/>
              </a:ext>
            </a:extLst>
          </a:blip>
          <a:srcRect/>
          <a:stretch>
            <a:fillRect/>
          </a:stretch>
        </p:blipFill>
        <p:spPr bwMode="auto">
          <a:xfrm>
            <a:off x="4680631" y="1912983"/>
            <a:ext cx="411989" cy="204033"/>
          </a:xfrm>
          <a:prstGeom prst="rect">
            <a:avLst/>
          </a:prstGeom>
          <a:noFill/>
        </p:spPr>
      </p:pic>
      <p:pic>
        <p:nvPicPr>
          <p:cNvPr id="140" name="Obraz 15"/>
          <p:cNvPicPr preferRelativeResize="0">
            <a:picLocks noChangeAspect="1"/>
          </p:cNvPicPr>
          <p:nvPr/>
        </p:nvPicPr>
        <p:blipFill>
          <a:blip r:embed="rId83" cstate="print">
            <a:extLst>
              <a:ext uri="{28A0092B-C50C-407E-A947-70E740481C1C}">
                <a14:useLocalDpi xmlns:a14="http://schemas.microsoft.com/office/drawing/2010/main" val="0"/>
              </a:ext>
            </a:extLst>
          </a:blip>
          <a:stretch>
            <a:fillRect/>
          </a:stretch>
        </p:blipFill>
        <p:spPr>
          <a:xfrm>
            <a:off x="4660869" y="2260709"/>
            <a:ext cx="704567" cy="205898"/>
          </a:xfrm>
          <a:prstGeom prst="rect">
            <a:avLst/>
          </a:prstGeom>
        </p:spPr>
      </p:pic>
      <p:grpSp>
        <p:nvGrpSpPr>
          <p:cNvPr id="141" name="Gruppieren 1"/>
          <p:cNvGrpSpPr>
            <a:grpSpLocks/>
          </p:cNvGrpSpPr>
          <p:nvPr/>
        </p:nvGrpSpPr>
        <p:grpSpPr>
          <a:xfrm>
            <a:off x="4298505" y="1916763"/>
            <a:ext cx="218566" cy="786778"/>
            <a:chOff x="395285" y="5577340"/>
            <a:chExt cx="224409" cy="822490"/>
          </a:xfrm>
        </p:grpSpPr>
        <p:sp>
          <p:nvSpPr>
            <p:cNvPr id="142" name="Line 4"/>
            <p:cNvSpPr>
              <a:spLocks noChangeShapeType="1"/>
            </p:cNvSpPr>
            <p:nvPr/>
          </p:nvSpPr>
          <p:spPr bwMode="gray">
            <a:xfrm rot="16200000" flipV="1">
              <a:off x="-11103" y="5983728"/>
              <a:ext cx="822490" cy="9714"/>
            </a:xfrm>
            <a:prstGeom prst="line">
              <a:avLst/>
            </a:prstGeom>
            <a:noFill/>
            <a:ln w="9525" cap="flat" cmpd="sng" algn="ctr">
              <a:solidFill>
                <a:schemeClr val="accent3"/>
              </a:solidFill>
              <a:prstDash val="solid"/>
              <a:miter lim="800000"/>
              <a:headEnd type="none" w="med" len="med"/>
              <a:tailEnd type="none" w="med" len="med"/>
            </a:ln>
          </p:spPr>
          <p:txBody>
            <a:bodyPr/>
            <a:lstStyle/>
            <a:p>
              <a:endParaRPr lang="de-DE" sz="1000" dirty="0">
                <a:solidFill>
                  <a:schemeClr val="tx1"/>
                </a:solidFill>
                <a:latin typeface="Arial" panose="020B0604020202020204" pitchFamily="34" charset="0"/>
                <a:cs typeface="Arial" panose="020B0604020202020204" pitchFamily="34" charset="0"/>
              </a:endParaRPr>
            </a:p>
          </p:txBody>
        </p:sp>
        <p:sp>
          <p:nvSpPr>
            <p:cNvPr id="144" name="Rectangle 3"/>
            <p:cNvSpPr>
              <a:spLocks noChangeAspect="1" noChangeArrowheads="1"/>
            </p:cNvSpPr>
            <p:nvPr/>
          </p:nvSpPr>
          <p:spPr bwMode="gray">
            <a:xfrm>
              <a:off x="467294" y="6260826"/>
              <a:ext cx="152400" cy="109864"/>
            </a:xfrm>
            <a:prstGeom prst="rect">
              <a:avLst/>
            </a:prstGeom>
            <a:solidFill>
              <a:schemeClr val="accent1">
                <a:lumMod val="40000"/>
                <a:lumOff val="60000"/>
              </a:schemeClr>
            </a:solidFill>
            <a:ln w="9525">
              <a:noFill/>
              <a:miter lim="800000"/>
              <a:headEnd/>
              <a:tailEnd/>
            </a:ln>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Arial" panose="020B0604020202020204" pitchFamily="34" charset="0"/>
                <a:cs typeface="Arial" panose="020B0604020202020204" pitchFamily="34" charset="0"/>
              </a:endParaRPr>
            </a:p>
          </p:txBody>
        </p:sp>
        <p:sp>
          <p:nvSpPr>
            <p:cNvPr id="145" name="Rectangle 6"/>
            <p:cNvSpPr>
              <a:spLocks noChangeAspect="1" noChangeArrowheads="1"/>
            </p:cNvSpPr>
            <p:nvPr/>
          </p:nvSpPr>
          <p:spPr bwMode="gray">
            <a:xfrm>
              <a:off x="467294" y="5949334"/>
              <a:ext cx="152400" cy="109864"/>
            </a:xfrm>
            <a:prstGeom prst="rect">
              <a:avLst/>
            </a:prstGeom>
            <a:solidFill>
              <a:schemeClr val="accent2">
                <a:lumMod val="40000"/>
                <a:lumOff val="60000"/>
              </a:schemeClr>
            </a:solidFill>
            <a:ln w="9525" algn="ctr">
              <a:noFill/>
              <a:miter lim="800000"/>
              <a:headEnd/>
              <a:tailEnd/>
            </a:ln>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Arial" panose="020B0604020202020204" pitchFamily="34" charset="0"/>
                <a:cs typeface="Arial" panose="020B0604020202020204" pitchFamily="34" charset="0"/>
              </a:endParaRPr>
            </a:p>
          </p:txBody>
        </p:sp>
        <p:sp>
          <p:nvSpPr>
            <p:cNvPr id="146" name="Rectangle 8"/>
            <p:cNvSpPr>
              <a:spLocks noChangeAspect="1" noChangeArrowheads="1"/>
            </p:cNvSpPr>
            <p:nvPr/>
          </p:nvSpPr>
          <p:spPr bwMode="gray">
            <a:xfrm>
              <a:off x="467294" y="5624186"/>
              <a:ext cx="152400" cy="109864"/>
            </a:xfrm>
            <a:prstGeom prst="rect">
              <a:avLst/>
            </a:prstGeom>
            <a:solidFill>
              <a:schemeClr val="accent2"/>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accent3"/>
                  </a:solidFill>
                  <a:prstDash val="solid"/>
                  <a:miter lim="800000"/>
                  <a:headEnd type="none" w="med" len="med"/>
                  <a:tailEnd type="none" w="med" len="med"/>
                </a14:hiddenLine>
              </a:ext>
            </a:extLst>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Arial" panose="020B0604020202020204" pitchFamily="34" charset="0"/>
                <a:cs typeface="Arial" panose="020B0604020202020204" pitchFamily="34" charset="0"/>
              </a:endParaRPr>
            </a:p>
          </p:txBody>
        </p:sp>
      </p:grpSp>
      <p:pic>
        <p:nvPicPr>
          <p:cNvPr id="147" name="16 Imagen" descr="nordpool_blue_rgb"/>
          <p:cNvPicPr preferRelativeResize="0">
            <a:picLocks noChangeAspect="1"/>
          </p:cNvPicPr>
          <p:nvPr/>
        </p:nvPicPr>
        <p:blipFill>
          <a:blip r:embed="rId82" cstate="print">
            <a:extLst>
              <a:ext uri="{28A0092B-C50C-407E-A947-70E740481C1C}">
                <a14:useLocalDpi xmlns:a14="http://schemas.microsoft.com/office/drawing/2010/main" val="0"/>
              </a:ext>
            </a:extLst>
          </a:blip>
          <a:srcRect/>
          <a:stretch>
            <a:fillRect/>
          </a:stretch>
        </p:blipFill>
        <p:spPr bwMode="auto">
          <a:xfrm>
            <a:off x="5481314" y="2260709"/>
            <a:ext cx="420409" cy="208203"/>
          </a:xfrm>
          <a:prstGeom prst="rect">
            <a:avLst/>
          </a:prstGeom>
          <a:noFill/>
        </p:spPr>
      </p:pic>
    </p:spTree>
    <p:extLst>
      <p:ext uri="{BB962C8B-B14F-4D97-AF65-F5344CB8AC3E}">
        <p14:creationId xmlns:p14="http://schemas.microsoft.com/office/powerpoint/2010/main" val="25763967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9" name="Group 4"/>
          <p:cNvGrpSpPr/>
          <p:nvPr/>
        </p:nvGrpSpPr>
        <p:grpSpPr>
          <a:xfrm>
            <a:off x="4886520" y="2070784"/>
            <a:ext cx="3579501" cy="4314154"/>
            <a:chOff x="2860933" y="1700213"/>
            <a:chExt cx="3675187" cy="4429479"/>
          </a:xfrm>
          <a:solidFill>
            <a:schemeClr val="accent3"/>
          </a:solidFill>
        </p:grpSpPr>
        <p:sp>
          <p:nvSpPr>
            <p:cNvPr id="350" name="ee4p_AL_1_15912"/>
            <p:cNvSpPr>
              <a:spLocks noChangeAspect="1"/>
            </p:cNvSpPr>
            <p:nvPr>
              <p:custDataLst>
                <p:tags r:id="rId46"/>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1" name="ee4p_AD_1_15912"/>
            <p:cNvSpPr>
              <a:spLocks noChangeAspect="1"/>
            </p:cNvSpPr>
            <p:nvPr>
              <p:custDataLst>
                <p:tags r:id="rId47"/>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2" name="ee4p_AT_1_15912"/>
            <p:cNvSpPr>
              <a:spLocks noChangeAspect="1"/>
            </p:cNvSpPr>
            <p:nvPr>
              <p:custDataLst>
                <p:tags r:id="rId48"/>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3" name="ee4p_BE_1_15912"/>
            <p:cNvSpPr>
              <a:spLocks noChangeAspect="1"/>
            </p:cNvSpPr>
            <p:nvPr>
              <p:custDataLst>
                <p:tags r:id="rId49"/>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4" name="ee4p_BG_1_15912"/>
            <p:cNvSpPr>
              <a:spLocks noChangeAspect="1"/>
            </p:cNvSpPr>
            <p:nvPr>
              <p:custDataLst>
                <p:tags r:id="rId50"/>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5" name="ee4p_BA_1_15912"/>
            <p:cNvSpPr>
              <a:spLocks noChangeAspect="1"/>
            </p:cNvSpPr>
            <p:nvPr>
              <p:custDataLst>
                <p:tags r:id="rId51"/>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6" name="ee4p_CH_1_15912"/>
            <p:cNvSpPr>
              <a:spLocks noChangeAspect="1"/>
            </p:cNvSpPr>
            <p:nvPr>
              <p:custDataLst>
                <p:tags r:id="rId52"/>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7" name="ee4p_CZ_1_15912"/>
            <p:cNvSpPr>
              <a:spLocks noChangeAspect="1"/>
            </p:cNvSpPr>
            <p:nvPr>
              <p:custDataLst>
                <p:tags r:id="rId53"/>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8" name="ee4p_DE_1_15912"/>
            <p:cNvSpPr>
              <a:spLocks noChangeAspect="1"/>
            </p:cNvSpPr>
            <p:nvPr>
              <p:custDataLst>
                <p:tags r:id="rId54"/>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9" name="ee4p_DK_1_15912"/>
            <p:cNvSpPr>
              <a:spLocks noChangeAspect="1"/>
            </p:cNvSpPr>
            <p:nvPr>
              <p:custDataLst>
                <p:tags r:id="rId55"/>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0" name="ee4p_DK_2_15912"/>
            <p:cNvSpPr>
              <a:spLocks noChangeAspect="1"/>
            </p:cNvSpPr>
            <p:nvPr>
              <p:custDataLst>
                <p:tags r:id="rId56"/>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1" name="ee4p_ES_1_15912"/>
            <p:cNvSpPr>
              <a:spLocks noChangeAspect="1"/>
            </p:cNvSpPr>
            <p:nvPr>
              <p:custDataLst>
                <p:tags r:id="rId57"/>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2" name="ee4p_ES_2_15912"/>
            <p:cNvSpPr>
              <a:spLocks noChangeAspect="1"/>
            </p:cNvSpPr>
            <p:nvPr>
              <p:custDataLst>
                <p:tags r:id="rId58"/>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3" name="ee4p_EE_1_15912"/>
            <p:cNvSpPr>
              <a:spLocks noChangeAspect="1"/>
            </p:cNvSpPr>
            <p:nvPr>
              <p:custDataLst>
                <p:tags r:id="rId59"/>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4" name="ee4p_FI_1_15912"/>
            <p:cNvSpPr>
              <a:spLocks noChangeAspect="1"/>
            </p:cNvSpPr>
            <p:nvPr>
              <p:custDataLst>
                <p:tags r:id="rId60"/>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5" name="ee4p_FR_1_15912"/>
            <p:cNvSpPr>
              <a:spLocks noChangeAspect="1"/>
            </p:cNvSpPr>
            <p:nvPr>
              <p:custDataLst>
                <p:tags r:id="rId61"/>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6" name="ee4p_GB_1_15912"/>
            <p:cNvSpPr>
              <a:spLocks noChangeAspect="1"/>
            </p:cNvSpPr>
            <p:nvPr>
              <p:custDataLst>
                <p:tags r:id="rId62"/>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7" name="ee4p_GR_1_15912"/>
            <p:cNvSpPr>
              <a:spLocks noChangeAspect="1"/>
            </p:cNvSpPr>
            <p:nvPr>
              <p:custDataLst>
                <p:tags r:id="rId63"/>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8" name="ee4p_HR_1_15912"/>
            <p:cNvSpPr>
              <a:spLocks noChangeAspect="1"/>
            </p:cNvSpPr>
            <p:nvPr>
              <p:custDataLst>
                <p:tags r:id="rId64"/>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9" name="ee4p_HU_1_15912"/>
            <p:cNvSpPr>
              <a:spLocks noChangeAspect="1"/>
            </p:cNvSpPr>
            <p:nvPr>
              <p:custDataLst>
                <p:tags r:id="rId65"/>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0" name="ee4p_IE_1_15912"/>
            <p:cNvSpPr>
              <a:spLocks noChangeAspect="1"/>
            </p:cNvSpPr>
            <p:nvPr>
              <p:custDataLst>
                <p:tags r:id="rId66"/>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1" name="ee4p_IT_1_15912"/>
            <p:cNvSpPr>
              <a:spLocks noChangeAspect="1"/>
            </p:cNvSpPr>
            <p:nvPr>
              <p:custDataLst>
                <p:tags r:id="rId67"/>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2" name="ee4p_SM_1_15912"/>
            <p:cNvSpPr>
              <a:spLocks noChangeAspect="1"/>
            </p:cNvSpPr>
            <p:nvPr>
              <p:custDataLst>
                <p:tags r:id="rId68"/>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3" name="ee4p_XK_1_15912"/>
            <p:cNvSpPr>
              <a:spLocks noChangeAspect="1"/>
            </p:cNvSpPr>
            <p:nvPr>
              <p:custDataLst>
                <p:tags r:id="rId69"/>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4" name="ee4p_LI_1_15912"/>
            <p:cNvSpPr>
              <a:spLocks noChangeAspect="1"/>
            </p:cNvSpPr>
            <p:nvPr>
              <p:custDataLst>
                <p:tags r:id="rId70"/>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5" name="ee4p_LT_1_15912"/>
            <p:cNvSpPr>
              <a:spLocks noChangeAspect="1"/>
            </p:cNvSpPr>
            <p:nvPr>
              <p:custDataLst>
                <p:tags r:id="rId71"/>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6" name="ee4p_LU_1_15912"/>
            <p:cNvSpPr>
              <a:spLocks noChangeAspect="1"/>
            </p:cNvSpPr>
            <p:nvPr>
              <p:custDataLst>
                <p:tags r:id="rId72"/>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7" name="ee4p_LV_1_15912"/>
            <p:cNvSpPr>
              <a:spLocks noChangeAspect="1"/>
            </p:cNvSpPr>
            <p:nvPr>
              <p:custDataLst>
                <p:tags r:id="rId73"/>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8" name="ee4p_MC_1_15912"/>
            <p:cNvSpPr>
              <a:spLocks noChangeAspect="1"/>
            </p:cNvSpPr>
            <p:nvPr>
              <p:custDataLst>
                <p:tags r:id="rId74"/>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9" name="ee4p_MK_1_15912"/>
            <p:cNvSpPr>
              <a:spLocks noChangeAspect="1"/>
            </p:cNvSpPr>
            <p:nvPr>
              <p:custDataLst>
                <p:tags r:id="rId75"/>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0" name="ee4p_MT_1_15912"/>
            <p:cNvSpPr>
              <a:spLocks noChangeAspect="1"/>
            </p:cNvSpPr>
            <p:nvPr>
              <p:custDataLst>
                <p:tags r:id="rId76"/>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1" name="ee4p_MT_2_15912"/>
            <p:cNvSpPr>
              <a:spLocks noChangeAspect="1"/>
            </p:cNvSpPr>
            <p:nvPr>
              <p:custDataLst>
                <p:tags r:id="rId77"/>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2" name="ee4p_ME_1_15912"/>
            <p:cNvSpPr>
              <a:spLocks noChangeAspect="1"/>
            </p:cNvSpPr>
            <p:nvPr>
              <p:custDataLst>
                <p:tags r:id="rId78"/>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3" name="ee4p_NL_1_15912"/>
            <p:cNvSpPr>
              <a:spLocks noChangeAspect="1"/>
            </p:cNvSpPr>
            <p:nvPr>
              <p:custDataLst>
                <p:tags r:id="rId79"/>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4" name="ee4p_NO_1_15912"/>
            <p:cNvSpPr>
              <a:spLocks noChangeAspect="1"/>
            </p:cNvSpPr>
            <p:nvPr>
              <p:custDataLst>
                <p:tags r:id="rId80"/>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5" name="ee4p_PL_1_15912"/>
            <p:cNvSpPr>
              <a:spLocks noChangeAspect="1"/>
            </p:cNvSpPr>
            <p:nvPr>
              <p:custDataLst>
                <p:tags r:id="rId81"/>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6" name="ee4p_PT_1_15912"/>
            <p:cNvSpPr>
              <a:spLocks noChangeAspect="1"/>
            </p:cNvSpPr>
            <p:nvPr>
              <p:custDataLst>
                <p:tags r:id="rId82"/>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7" name="ee4p_RO_1_15912"/>
            <p:cNvSpPr>
              <a:spLocks noChangeAspect="1"/>
            </p:cNvSpPr>
            <p:nvPr>
              <p:custDataLst>
                <p:tags r:id="rId83"/>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8" name="ee4p_IT_2_15912"/>
            <p:cNvSpPr>
              <a:spLocks noChangeAspect="1"/>
            </p:cNvSpPr>
            <p:nvPr>
              <p:custDataLst>
                <p:tags r:id="rId84"/>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9" name="ee4p_RS_1_15912"/>
            <p:cNvSpPr>
              <a:spLocks noChangeAspect="1"/>
            </p:cNvSpPr>
            <p:nvPr>
              <p:custDataLst>
                <p:tags r:id="rId85"/>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90" name="ee4p_SK_1_15912"/>
            <p:cNvSpPr>
              <a:spLocks noChangeAspect="1"/>
            </p:cNvSpPr>
            <p:nvPr>
              <p:custDataLst>
                <p:tags r:id="rId86"/>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91" name="ee4p_SI_1_15912"/>
            <p:cNvSpPr>
              <a:spLocks noChangeAspect="1"/>
            </p:cNvSpPr>
            <p:nvPr>
              <p:custDataLst>
                <p:tags r:id="rId87"/>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92" name="ee4p_SE_1_15912"/>
            <p:cNvSpPr>
              <a:spLocks noChangeAspect="1"/>
            </p:cNvSpPr>
            <p:nvPr>
              <p:custDataLst>
                <p:tags r:id="rId88"/>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93" name="ee4p_VA_1_15912"/>
            <p:cNvSpPr>
              <a:spLocks noChangeAspect="1"/>
            </p:cNvSpPr>
            <p:nvPr>
              <p:custDataLst>
                <p:tags r:id="rId89"/>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grpSp>
      <p:grpSp>
        <p:nvGrpSpPr>
          <p:cNvPr id="304" name="Group 4"/>
          <p:cNvGrpSpPr/>
          <p:nvPr/>
        </p:nvGrpSpPr>
        <p:grpSpPr>
          <a:xfrm>
            <a:off x="628480" y="2046267"/>
            <a:ext cx="3579501" cy="4314154"/>
            <a:chOff x="2860933" y="1700213"/>
            <a:chExt cx="3675187" cy="4429479"/>
          </a:xfrm>
          <a:solidFill>
            <a:schemeClr val="accent3"/>
          </a:solidFill>
        </p:grpSpPr>
        <p:sp>
          <p:nvSpPr>
            <p:cNvPr id="305" name="ee4p_AL_1_15912"/>
            <p:cNvSpPr>
              <a:spLocks noChangeAspect="1"/>
            </p:cNvSpPr>
            <p:nvPr>
              <p:custDataLst>
                <p:tags r:id="rId2"/>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6" name="ee4p_AD_1_15912"/>
            <p:cNvSpPr>
              <a:spLocks noChangeAspect="1"/>
            </p:cNvSpPr>
            <p:nvPr>
              <p:custDataLst>
                <p:tags r:id="rId3"/>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7" name="ee4p_AT_1_15912"/>
            <p:cNvSpPr>
              <a:spLocks noChangeAspect="1"/>
            </p:cNvSpPr>
            <p:nvPr>
              <p:custDataLst>
                <p:tags r:id="rId4"/>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8" name="ee4p_BE_1_15912"/>
            <p:cNvSpPr>
              <a:spLocks noChangeAspect="1"/>
            </p:cNvSpPr>
            <p:nvPr>
              <p:custDataLst>
                <p:tags r:id="rId5"/>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9" name="ee4p_BG_1_15912"/>
            <p:cNvSpPr>
              <a:spLocks noChangeAspect="1"/>
            </p:cNvSpPr>
            <p:nvPr>
              <p:custDataLst>
                <p:tags r:id="rId6"/>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0" name="ee4p_BA_1_15912"/>
            <p:cNvSpPr>
              <a:spLocks noChangeAspect="1"/>
            </p:cNvSpPr>
            <p:nvPr>
              <p:custDataLst>
                <p:tags r:id="rId7"/>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1" name="ee4p_CH_1_15912"/>
            <p:cNvSpPr>
              <a:spLocks noChangeAspect="1"/>
            </p:cNvSpPr>
            <p:nvPr>
              <p:custDataLst>
                <p:tags r:id="rId8"/>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2" name="ee4p_CZ_1_15912"/>
            <p:cNvSpPr>
              <a:spLocks noChangeAspect="1"/>
            </p:cNvSpPr>
            <p:nvPr>
              <p:custDataLst>
                <p:tags r:id="rId9"/>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3" name="ee4p_DE_1_15912"/>
            <p:cNvSpPr>
              <a:spLocks noChangeAspect="1"/>
            </p:cNvSpPr>
            <p:nvPr>
              <p:custDataLst>
                <p:tags r:id="rId10"/>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4" name="ee4p_DK_1_15912"/>
            <p:cNvSpPr>
              <a:spLocks noChangeAspect="1"/>
            </p:cNvSpPr>
            <p:nvPr>
              <p:custDataLst>
                <p:tags r:id="rId11"/>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5" name="ee4p_DK_2_15912"/>
            <p:cNvSpPr>
              <a:spLocks noChangeAspect="1"/>
            </p:cNvSpPr>
            <p:nvPr>
              <p:custDataLst>
                <p:tags r:id="rId12"/>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6" name="ee4p_ES_1_15912"/>
            <p:cNvSpPr>
              <a:spLocks noChangeAspect="1"/>
            </p:cNvSpPr>
            <p:nvPr>
              <p:custDataLst>
                <p:tags r:id="rId13"/>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7" name="ee4p_ES_2_15912"/>
            <p:cNvSpPr>
              <a:spLocks noChangeAspect="1"/>
            </p:cNvSpPr>
            <p:nvPr>
              <p:custDataLst>
                <p:tags r:id="rId14"/>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8" name="ee4p_EE_1_15912"/>
            <p:cNvSpPr>
              <a:spLocks noChangeAspect="1"/>
            </p:cNvSpPr>
            <p:nvPr>
              <p:custDataLst>
                <p:tags r:id="rId15"/>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9" name="ee4p_FI_1_15912"/>
            <p:cNvSpPr>
              <a:spLocks noChangeAspect="1"/>
            </p:cNvSpPr>
            <p:nvPr>
              <p:custDataLst>
                <p:tags r:id="rId16"/>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0" name="ee4p_FR_1_15912"/>
            <p:cNvSpPr>
              <a:spLocks noChangeAspect="1"/>
            </p:cNvSpPr>
            <p:nvPr>
              <p:custDataLst>
                <p:tags r:id="rId17"/>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1" name="ee4p_GB_1_15912"/>
            <p:cNvSpPr>
              <a:spLocks noChangeAspect="1"/>
            </p:cNvSpPr>
            <p:nvPr>
              <p:custDataLst>
                <p:tags r:id="rId18"/>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2" name="ee4p_GR_1_15912"/>
            <p:cNvSpPr>
              <a:spLocks noChangeAspect="1"/>
            </p:cNvSpPr>
            <p:nvPr>
              <p:custDataLst>
                <p:tags r:id="rId19"/>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3" name="ee4p_HR_1_15912"/>
            <p:cNvSpPr>
              <a:spLocks noChangeAspect="1"/>
            </p:cNvSpPr>
            <p:nvPr>
              <p:custDataLst>
                <p:tags r:id="rId20"/>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4" name="ee4p_HU_1_15912"/>
            <p:cNvSpPr>
              <a:spLocks noChangeAspect="1"/>
            </p:cNvSpPr>
            <p:nvPr>
              <p:custDataLst>
                <p:tags r:id="rId21"/>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5" name="ee4p_IE_1_15912"/>
            <p:cNvSpPr>
              <a:spLocks noChangeAspect="1"/>
            </p:cNvSpPr>
            <p:nvPr>
              <p:custDataLst>
                <p:tags r:id="rId22"/>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6" name="ee4p_IT_1_15912"/>
            <p:cNvSpPr>
              <a:spLocks noChangeAspect="1"/>
            </p:cNvSpPr>
            <p:nvPr>
              <p:custDataLst>
                <p:tags r:id="rId23"/>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7" name="ee4p_SM_1_15912"/>
            <p:cNvSpPr>
              <a:spLocks noChangeAspect="1"/>
            </p:cNvSpPr>
            <p:nvPr>
              <p:custDataLst>
                <p:tags r:id="rId24"/>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8" name="ee4p_XK_1_15912"/>
            <p:cNvSpPr>
              <a:spLocks noChangeAspect="1"/>
            </p:cNvSpPr>
            <p:nvPr>
              <p:custDataLst>
                <p:tags r:id="rId25"/>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9" name="ee4p_LI_1_15912"/>
            <p:cNvSpPr>
              <a:spLocks noChangeAspect="1"/>
            </p:cNvSpPr>
            <p:nvPr>
              <p:custDataLst>
                <p:tags r:id="rId26"/>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0" name="ee4p_LT_1_15912"/>
            <p:cNvSpPr>
              <a:spLocks noChangeAspect="1"/>
            </p:cNvSpPr>
            <p:nvPr>
              <p:custDataLst>
                <p:tags r:id="rId27"/>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1" name="ee4p_LU_1_15912"/>
            <p:cNvSpPr>
              <a:spLocks noChangeAspect="1"/>
            </p:cNvSpPr>
            <p:nvPr>
              <p:custDataLst>
                <p:tags r:id="rId28"/>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2" name="ee4p_LV_1_15912"/>
            <p:cNvSpPr>
              <a:spLocks noChangeAspect="1"/>
            </p:cNvSpPr>
            <p:nvPr>
              <p:custDataLst>
                <p:tags r:id="rId29"/>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3" name="ee4p_MC_1_15912"/>
            <p:cNvSpPr>
              <a:spLocks noChangeAspect="1"/>
            </p:cNvSpPr>
            <p:nvPr>
              <p:custDataLst>
                <p:tags r:id="rId30"/>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4" name="ee4p_MK_1_15912"/>
            <p:cNvSpPr>
              <a:spLocks noChangeAspect="1"/>
            </p:cNvSpPr>
            <p:nvPr>
              <p:custDataLst>
                <p:tags r:id="rId31"/>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5" name="ee4p_MT_1_15912"/>
            <p:cNvSpPr>
              <a:spLocks noChangeAspect="1"/>
            </p:cNvSpPr>
            <p:nvPr>
              <p:custDataLst>
                <p:tags r:id="rId32"/>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6" name="ee4p_MT_2_15912"/>
            <p:cNvSpPr>
              <a:spLocks noChangeAspect="1"/>
            </p:cNvSpPr>
            <p:nvPr>
              <p:custDataLst>
                <p:tags r:id="rId33"/>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7" name="ee4p_ME_1_15912"/>
            <p:cNvSpPr>
              <a:spLocks noChangeAspect="1"/>
            </p:cNvSpPr>
            <p:nvPr>
              <p:custDataLst>
                <p:tags r:id="rId34"/>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8" name="ee4p_NL_1_15912"/>
            <p:cNvSpPr>
              <a:spLocks noChangeAspect="1"/>
            </p:cNvSpPr>
            <p:nvPr>
              <p:custDataLst>
                <p:tags r:id="rId35"/>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9" name="ee4p_NO_1_15912"/>
            <p:cNvSpPr>
              <a:spLocks noChangeAspect="1"/>
            </p:cNvSpPr>
            <p:nvPr>
              <p:custDataLst>
                <p:tags r:id="rId36"/>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0" name="ee4p_PL_1_15912"/>
            <p:cNvSpPr>
              <a:spLocks noChangeAspect="1"/>
            </p:cNvSpPr>
            <p:nvPr>
              <p:custDataLst>
                <p:tags r:id="rId37"/>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1" name="ee4p_PT_1_15912"/>
            <p:cNvSpPr>
              <a:spLocks noChangeAspect="1"/>
            </p:cNvSpPr>
            <p:nvPr>
              <p:custDataLst>
                <p:tags r:id="rId38"/>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2" name="ee4p_RO_1_15912"/>
            <p:cNvSpPr>
              <a:spLocks noChangeAspect="1"/>
            </p:cNvSpPr>
            <p:nvPr>
              <p:custDataLst>
                <p:tags r:id="rId39"/>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3" name="ee4p_IT_2_15912"/>
            <p:cNvSpPr>
              <a:spLocks noChangeAspect="1"/>
            </p:cNvSpPr>
            <p:nvPr>
              <p:custDataLst>
                <p:tags r:id="rId40"/>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4" name="ee4p_RS_1_15912"/>
            <p:cNvSpPr>
              <a:spLocks noChangeAspect="1"/>
            </p:cNvSpPr>
            <p:nvPr>
              <p:custDataLst>
                <p:tags r:id="rId41"/>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5" name="ee4p_SK_1_15912"/>
            <p:cNvSpPr>
              <a:spLocks noChangeAspect="1"/>
            </p:cNvSpPr>
            <p:nvPr>
              <p:custDataLst>
                <p:tags r:id="rId42"/>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6" name="ee4p_SI_1_15912"/>
            <p:cNvSpPr>
              <a:spLocks noChangeAspect="1"/>
            </p:cNvSpPr>
            <p:nvPr>
              <p:custDataLst>
                <p:tags r:id="rId43"/>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7" name="ee4p_SE_1_15912"/>
            <p:cNvSpPr>
              <a:spLocks noChangeAspect="1"/>
            </p:cNvSpPr>
            <p:nvPr>
              <p:custDataLst>
                <p:tags r:id="rId44"/>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8" name="ee4p_VA_1_15912"/>
            <p:cNvSpPr>
              <a:spLocks noChangeAspect="1"/>
            </p:cNvSpPr>
            <p:nvPr>
              <p:custDataLst>
                <p:tags r:id="rId45"/>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grpSp>
      <p:sp>
        <p:nvSpPr>
          <p:cNvPr id="2" name="Titel 1"/>
          <p:cNvSpPr>
            <a:spLocks noGrp="1"/>
          </p:cNvSpPr>
          <p:nvPr>
            <p:ph type="title"/>
          </p:nvPr>
        </p:nvSpPr>
        <p:spPr/>
        <p:txBody>
          <a:bodyPr/>
          <a:lstStyle/>
          <a:p>
            <a:r>
              <a:rPr lang="en-GB" dirty="0"/>
              <a:t>Means of cross-zonal capacity allocation</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1</a:t>
            </a:fld>
            <a:endParaRPr lang="en-US" altLang="en-US" dirty="0"/>
          </a:p>
        </p:txBody>
      </p:sp>
      <p:sp>
        <p:nvSpPr>
          <p:cNvPr id="100" name="Textfeld 99"/>
          <p:cNvSpPr txBox="1"/>
          <p:nvPr/>
        </p:nvSpPr>
        <p:spPr>
          <a:xfrm>
            <a:off x="568966" y="1524239"/>
            <a:ext cx="1585624" cy="246221"/>
          </a:xfrm>
          <a:prstGeom prst="rect">
            <a:avLst/>
          </a:prstGeom>
          <a:noFill/>
        </p:spPr>
        <p:txBody>
          <a:bodyPr wrap="square" lIns="0" tIns="0" rIns="0" bIns="0" rtlCol="0">
            <a:spAutoFit/>
          </a:bodyPr>
          <a:lstStyle/>
          <a:p>
            <a:r>
              <a:rPr lang="en-GB" sz="1600" b="1" dirty="0"/>
              <a:t>Today</a:t>
            </a:r>
          </a:p>
        </p:txBody>
      </p:sp>
      <p:sp>
        <p:nvSpPr>
          <p:cNvPr id="216" name="Textfeld 215"/>
          <p:cNvSpPr txBox="1"/>
          <p:nvPr/>
        </p:nvSpPr>
        <p:spPr>
          <a:xfrm>
            <a:off x="4776850" y="1524239"/>
            <a:ext cx="3689171" cy="246221"/>
          </a:xfrm>
          <a:prstGeom prst="rect">
            <a:avLst/>
          </a:prstGeom>
          <a:noFill/>
        </p:spPr>
        <p:txBody>
          <a:bodyPr wrap="square" lIns="0" tIns="0" rIns="0" bIns="0" rtlCol="0">
            <a:spAutoFit/>
          </a:bodyPr>
          <a:lstStyle/>
          <a:p>
            <a:r>
              <a:rPr lang="en-GB" sz="1600" b="1" dirty="0"/>
              <a:t>As of </a:t>
            </a:r>
            <a:r>
              <a:rPr lang="en-GB" sz="1600" b="1" dirty="0" smtClean="0"/>
              <a:t>13.06.2018</a:t>
            </a:r>
            <a:endParaRPr lang="en-GB" sz="1600" b="1" dirty="0"/>
          </a:p>
        </p:txBody>
      </p:sp>
      <p:cxnSp>
        <p:nvCxnSpPr>
          <p:cNvPr id="218" name="Gerade Verbindung 217"/>
          <p:cNvCxnSpPr>
            <a:cxnSpLocks noChangeAspect="1"/>
          </p:cNvCxnSpPr>
          <p:nvPr/>
        </p:nvCxnSpPr>
        <p:spPr>
          <a:xfrm flipH="1">
            <a:off x="2510800" y="4168820"/>
            <a:ext cx="60211" cy="18500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0" name="Gerade Verbindung 219"/>
          <p:cNvCxnSpPr>
            <a:cxnSpLocks noChangeAspect="1"/>
          </p:cNvCxnSpPr>
          <p:nvPr/>
        </p:nvCxnSpPr>
        <p:spPr>
          <a:xfrm flipH="1">
            <a:off x="3692104" y="3512820"/>
            <a:ext cx="33575" cy="18807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0" name="Gruppieren 1"/>
          <p:cNvGrpSpPr>
            <a:grpSpLocks/>
          </p:cNvGrpSpPr>
          <p:nvPr/>
        </p:nvGrpSpPr>
        <p:grpSpPr>
          <a:xfrm>
            <a:off x="596017" y="2054537"/>
            <a:ext cx="1348284" cy="719280"/>
            <a:chOff x="395288" y="5167675"/>
            <a:chExt cx="1384323" cy="751928"/>
          </a:xfrm>
        </p:grpSpPr>
        <p:sp>
          <p:nvSpPr>
            <p:cNvPr id="112" name="Line 4"/>
            <p:cNvSpPr>
              <a:spLocks noChangeShapeType="1"/>
            </p:cNvSpPr>
            <p:nvPr/>
          </p:nvSpPr>
          <p:spPr bwMode="gray">
            <a:xfrm rot="16200000" flipV="1">
              <a:off x="39266" y="5548409"/>
              <a:ext cx="712046" cy="2"/>
            </a:xfrm>
            <a:prstGeom prst="line">
              <a:avLst/>
            </a:prstGeom>
            <a:noFill/>
            <a:ln w="9525" cap="flat" cmpd="sng" algn="ctr">
              <a:solidFill>
                <a:schemeClr val="accent3"/>
              </a:solidFill>
              <a:prstDash val="solid"/>
              <a:miter lim="800000"/>
              <a:headEnd type="none" w="med" len="med"/>
              <a:tailEnd type="none" w="med" len="med"/>
            </a:ln>
          </p:spPr>
          <p:txBody>
            <a:bodyPr/>
            <a:lstStyle/>
            <a:p>
              <a:endParaRPr lang="en-GB" sz="1000" dirty="0">
                <a:solidFill>
                  <a:schemeClr val="tx1"/>
                </a:solidFill>
                <a:latin typeface="+mn-lt"/>
                <a:cs typeface="Arial" panose="020B0604020202020204" pitchFamily="34" charset="0"/>
              </a:endParaRPr>
            </a:p>
          </p:txBody>
        </p:sp>
        <p:sp>
          <p:nvSpPr>
            <p:cNvPr id="114" name="Rectangle 5"/>
            <p:cNvSpPr>
              <a:spLocks noChangeArrowheads="1"/>
            </p:cNvSpPr>
            <p:nvPr/>
          </p:nvSpPr>
          <p:spPr bwMode="gray">
            <a:xfrm>
              <a:off x="675099" y="5571595"/>
              <a:ext cx="1082970"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Explicit continuous</a:t>
              </a:r>
            </a:p>
          </p:txBody>
        </p:sp>
        <p:sp>
          <p:nvSpPr>
            <p:cNvPr id="116" name="Rectangle 7"/>
            <p:cNvSpPr>
              <a:spLocks noChangeArrowheads="1"/>
            </p:cNvSpPr>
            <p:nvPr/>
          </p:nvSpPr>
          <p:spPr bwMode="gray">
            <a:xfrm>
              <a:off x="685943" y="5758730"/>
              <a:ext cx="939781"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Explicit auctions</a:t>
              </a:r>
            </a:p>
          </p:txBody>
        </p:sp>
        <p:sp>
          <p:nvSpPr>
            <p:cNvPr id="118" name="Rectangle 9"/>
            <p:cNvSpPr>
              <a:spLocks noChangeArrowheads="1"/>
            </p:cNvSpPr>
            <p:nvPr/>
          </p:nvSpPr>
          <p:spPr bwMode="gray">
            <a:xfrm>
              <a:off x="675245" y="5383576"/>
              <a:ext cx="946364"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Implicit auctions</a:t>
              </a:r>
            </a:p>
          </p:txBody>
        </p:sp>
        <p:sp>
          <p:nvSpPr>
            <p:cNvPr id="120" name="Rectangle 11"/>
            <p:cNvSpPr>
              <a:spLocks noChangeArrowheads="1"/>
            </p:cNvSpPr>
            <p:nvPr/>
          </p:nvSpPr>
          <p:spPr bwMode="gray">
            <a:xfrm>
              <a:off x="675245" y="5167675"/>
              <a:ext cx="1104366"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Implicit continuous</a:t>
              </a:r>
            </a:p>
          </p:txBody>
        </p:sp>
      </p:grpSp>
      <p:sp>
        <p:nvSpPr>
          <p:cNvPr id="227" name="Pfeil nach links und rechts 226"/>
          <p:cNvSpPr/>
          <p:nvPr/>
        </p:nvSpPr>
        <p:spPr>
          <a:xfrm>
            <a:off x="658964" y="2086539"/>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39" name="Pfeil nach links und rechts 138"/>
          <p:cNvSpPr/>
          <p:nvPr/>
        </p:nvSpPr>
        <p:spPr>
          <a:xfrm>
            <a:off x="658964" y="2291838"/>
            <a:ext cx="169366" cy="92333"/>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46" name="Pfeil nach links und rechts 145"/>
          <p:cNvSpPr/>
          <p:nvPr/>
        </p:nvSpPr>
        <p:spPr>
          <a:xfrm>
            <a:off x="667041" y="2625587"/>
            <a:ext cx="169366" cy="92333"/>
          </a:xfrm>
          <a:prstGeom prst="lef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47" name="Pfeil nach links und rechts 146"/>
          <p:cNvSpPr/>
          <p:nvPr/>
        </p:nvSpPr>
        <p:spPr>
          <a:xfrm>
            <a:off x="655547" y="2467197"/>
            <a:ext cx="169366" cy="92333"/>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165" name="Gruppieren 1"/>
          <p:cNvGrpSpPr>
            <a:grpSpLocks/>
          </p:cNvGrpSpPr>
          <p:nvPr/>
        </p:nvGrpSpPr>
        <p:grpSpPr>
          <a:xfrm>
            <a:off x="4769133" y="2059950"/>
            <a:ext cx="1348286" cy="565636"/>
            <a:chOff x="395286" y="5167675"/>
            <a:chExt cx="1384325" cy="591310"/>
          </a:xfrm>
        </p:grpSpPr>
        <p:sp>
          <p:nvSpPr>
            <p:cNvPr id="166" name="Line 4"/>
            <p:cNvSpPr>
              <a:spLocks noChangeShapeType="1"/>
            </p:cNvSpPr>
            <p:nvPr/>
          </p:nvSpPr>
          <p:spPr bwMode="gray">
            <a:xfrm rot="16200000" flipV="1">
              <a:off x="111988" y="5475686"/>
              <a:ext cx="566597" cy="1"/>
            </a:xfrm>
            <a:prstGeom prst="line">
              <a:avLst/>
            </a:prstGeom>
            <a:noFill/>
            <a:ln w="9525" cap="flat" cmpd="sng" algn="ctr">
              <a:solidFill>
                <a:schemeClr val="accent3"/>
              </a:solidFill>
              <a:prstDash val="solid"/>
              <a:miter lim="800000"/>
              <a:headEnd type="none" w="med" len="med"/>
              <a:tailEnd type="none" w="med" len="med"/>
            </a:ln>
          </p:spPr>
          <p:txBody>
            <a:bodyPr/>
            <a:lstStyle/>
            <a:p>
              <a:endParaRPr lang="en-GB" sz="1000" dirty="0">
                <a:solidFill>
                  <a:schemeClr val="tx1"/>
                </a:solidFill>
                <a:latin typeface="+mn-lt"/>
                <a:cs typeface="Arial" panose="020B0604020202020204" pitchFamily="34" charset="0"/>
              </a:endParaRPr>
            </a:p>
          </p:txBody>
        </p:sp>
        <p:sp>
          <p:nvSpPr>
            <p:cNvPr id="167" name="Rectangle 5"/>
            <p:cNvSpPr>
              <a:spLocks noChangeArrowheads="1"/>
            </p:cNvSpPr>
            <p:nvPr/>
          </p:nvSpPr>
          <p:spPr bwMode="gray">
            <a:xfrm>
              <a:off x="675245" y="5598112"/>
              <a:ext cx="1082970"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Explicit continuous</a:t>
              </a:r>
            </a:p>
          </p:txBody>
        </p:sp>
        <p:sp>
          <p:nvSpPr>
            <p:cNvPr id="169" name="Rectangle 9"/>
            <p:cNvSpPr>
              <a:spLocks noChangeArrowheads="1"/>
            </p:cNvSpPr>
            <p:nvPr/>
          </p:nvSpPr>
          <p:spPr bwMode="gray">
            <a:xfrm>
              <a:off x="675245" y="5383576"/>
              <a:ext cx="946364"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Implicit auctions</a:t>
              </a:r>
            </a:p>
          </p:txBody>
        </p:sp>
        <p:sp>
          <p:nvSpPr>
            <p:cNvPr id="170" name="Rectangle 11"/>
            <p:cNvSpPr>
              <a:spLocks noChangeArrowheads="1"/>
            </p:cNvSpPr>
            <p:nvPr/>
          </p:nvSpPr>
          <p:spPr bwMode="gray">
            <a:xfrm>
              <a:off x="675245" y="5167675"/>
              <a:ext cx="1104366"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Implicit continuous</a:t>
              </a:r>
            </a:p>
          </p:txBody>
        </p:sp>
      </p:grpSp>
      <p:sp>
        <p:nvSpPr>
          <p:cNvPr id="171" name="Pfeil nach links und rechts 170"/>
          <p:cNvSpPr/>
          <p:nvPr/>
        </p:nvSpPr>
        <p:spPr>
          <a:xfrm>
            <a:off x="4832082" y="2091951"/>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72" name="Pfeil nach links und rechts 171"/>
          <p:cNvSpPr/>
          <p:nvPr/>
        </p:nvSpPr>
        <p:spPr>
          <a:xfrm>
            <a:off x="4832082" y="2297250"/>
            <a:ext cx="169366" cy="92333"/>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74" name="Pfeil nach links und rechts 173"/>
          <p:cNvSpPr/>
          <p:nvPr/>
        </p:nvSpPr>
        <p:spPr>
          <a:xfrm>
            <a:off x="4837291" y="2502471"/>
            <a:ext cx="169366" cy="92333"/>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175" name="Gerade Verbindung 174"/>
          <p:cNvCxnSpPr>
            <a:cxnSpLocks noChangeAspect="1"/>
          </p:cNvCxnSpPr>
          <p:nvPr/>
        </p:nvCxnSpPr>
        <p:spPr>
          <a:xfrm flipH="1">
            <a:off x="6278461" y="3868609"/>
            <a:ext cx="50147" cy="57755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a:cxnSpLocks noChangeAspect="1"/>
          </p:cNvCxnSpPr>
          <p:nvPr/>
        </p:nvCxnSpPr>
        <p:spPr>
          <a:xfrm flipH="1">
            <a:off x="6755799" y="4183333"/>
            <a:ext cx="60211" cy="18500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Gerade Verbindung 199"/>
          <p:cNvCxnSpPr>
            <a:cxnSpLocks noChangeAspect="1"/>
          </p:cNvCxnSpPr>
          <p:nvPr/>
        </p:nvCxnSpPr>
        <p:spPr>
          <a:xfrm>
            <a:off x="6402001" y="3860062"/>
            <a:ext cx="105461" cy="18043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8" name="Gerade Verbindung 227"/>
          <p:cNvCxnSpPr>
            <a:cxnSpLocks noChangeAspect="1"/>
          </p:cNvCxnSpPr>
          <p:nvPr/>
        </p:nvCxnSpPr>
        <p:spPr>
          <a:xfrm flipH="1">
            <a:off x="7937103" y="3527333"/>
            <a:ext cx="33575" cy="18807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2" name="Pfeil nach links und rechts 231"/>
          <p:cNvSpPr/>
          <p:nvPr/>
        </p:nvSpPr>
        <p:spPr>
          <a:xfrm rot="16637802">
            <a:off x="6177088" y="4063655"/>
            <a:ext cx="265119" cy="151851"/>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3" name="Pfeil nach links und rechts 232"/>
          <p:cNvSpPr/>
          <p:nvPr/>
        </p:nvSpPr>
        <p:spPr>
          <a:xfrm rot="14592840">
            <a:off x="6322457" y="3836446"/>
            <a:ext cx="275582" cy="175048"/>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4" name="Pfeil nach links und rechts 233"/>
          <p:cNvSpPr/>
          <p:nvPr/>
        </p:nvSpPr>
        <p:spPr>
          <a:xfrm rot="17513078">
            <a:off x="6636538" y="4234604"/>
            <a:ext cx="271418" cy="142484"/>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9" name="Pfeil nach links und rechts 238"/>
          <p:cNvSpPr/>
          <p:nvPr/>
        </p:nvSpPr>
        <p:spPr>
          <a:xfrm rot="5683661">
            <a:off x="6448386" y="4167751"/>
            <a:ext cx="272771" cy="137754"/>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3" name="Pfeil nach links und rechts 242"/>
          <p:cNvSpPr/>
          <p:nvPr/>
        </p:nvSpPr>
        <p:spPr>
          <a:xfrm rot="6825114">
            <a:off x="5686738" y="5530893"/>
            <a:ext cx="278795" cy="1775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226" name="Gruppe 225"/>
          <p:cNvGrpSpPr/>
          <p:nvPr/>
        </p:nvGrpSpPr>
        <p:grpSpPr>
          <a:xfrm>
            <a:off x="1505045" y="2594808"/>
            <a:ext cx="2299879" cy="3114694"/>
            <a:chOff x="1505045" y="2594808"/>
            <a:chExt cx="2299879" cy="3114694"/>
          </a:xfrm>
        </p:grpSpPr>
        <p:graphicFrame>
          <p:nvGraphicFramePr>
            <p:cNvPr id="215" name="ee4pMapWizardDataSheet_43215"/>
            <p:cNvGraphicFramePr>
              <a:graphicFrameLocks noChangeAspect="1"/>
            </p:cNvGraphicFramePr>
            <p:nvPr>
              <p:extLst>
                <p:ext uri="{D42A27DB-BD31-4B8C-83A1-F6EECF244321}">
                  <p14:modId xmlns:p14="http://schemas.microsoft.com/office/powerpoint/2010/main" val="2091774735"/>
                </p:ext>
              </p:extLst>
            </p:nvPr>
          </p:nvGraphicFramePr>
          <p:xfrm>
            <a:off x="3538163" y="4669516"/>
            <a:ext cx="0" cy="0"/>
          </p:xfrm>
          <a:graphic>
            <a:graphicData uri="http://schemas.openxmlformats.org/presentationml/2006/ole">
              <mc:AlternateContent xmlns:mc="http://schemas.openxmlformats.org/markup-compatibility/2006">
                <mc:Choice xmlns:v="urn:schemas-microsoft-com:vml" Requires="v">
                  <p:oleObj spid="_x0000_s6233" name="Arbeitsblatt" showAsIcon="1" r:id="rId92" imgW="914400" imgH="771480" progId="Excel.Sheet.12">
                    <p:embed/>
                  </p:oleObj>
                </mc:Choice>
                <mc:Fallback>
                  <p:oleObj name="Arbeitsblatt" showAsIcon="1" r:id="rId92" imgW="914400" imgH="771480" progId="Excel.Sheet.12">
                    <p:embed/>
                    <p:pic>
                      <p:nvPicPr>
                        <p:cNvPr id="0" name=""/>
                        <p:cNvPicPr/>
                        <p:nvPr/>
                      </p:nvPicPr>
                      <p:blipFill>
                        <a:blip r:embed="rId93"/>
                        <a:stretch>
                          <a:fillRect/>
                        </a:stretch>
                      </p:blipFill>
                      <p:spPr>
                        <a:xfrm>
                          <a:off x="3538163" y="4669516"/>
                          <a:ext cx="0" cy="0"/>
                        </a:xfrm>
                        <a:prstGeom prst="rect">
                          <a:avLst/>
                        </a:prstGeom>
                      </p:spPr>
                    </p:pic>
                  </p:oleObj>
                </mc:Fallback>
              </mc:AlternateContent>
            </a:graphicData>
          </a:graphic>
        </p:graphicFrame>
        <p:cxnSp>
          <p:nvCxnSpPr>
            <p:cNvPr id="217" name="Gerade Verbindung 216"/>
            <p:cNvCxnSpPr>
              <a:cxnSpLocks noChangeAspect="1"/>
            </p:cNvCxnSpPr>
            <p:nvPr/>
          </p:nvCxnSpPr>
          <p:spPr>
            <a:xfrm flipH="1">
              <a:off x="2033462" y="3854096"/>
              <a:ext cx="50147" cy="57755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a:cxnSpLocks noChangeAspect="1"/>
            </p:cNvCxnSpPr>
            <p:nvPr/>
          </p:nvCxnSpPr>
          <p:spPr>
            <a:xfrm>
              <a:off x="2157002" y="3845549"/>
              <a:ext cx="105461" cy="18043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9" name="Pfeil nach links und rechts 148"/>
            <p:cNvSpPr/>
            <p:nvPr/>
          </p:nvSpPr>
          <p:spPr>
            <a:xfrm>
              <a:off x="3409725" y="2594808"/>
              <a:ext cx="261361" cy="164494"/>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0" name="Pfeil nach links und rechts 149"/>
            <p:cNvSpPr/>
            <p:nvPr/>
          </p:nvSpPr>
          <p:spPr>
            <a:xfrm rot="16637802">
              <a:off x="1913737" y="4067003"/>
              <a:ext cx="265037" cy="168667"/>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1" name="Pfeil nach links und rechts 150"/>
            <p:cNvSpPr/>
            <p:nvPr/>
          </p:nvSpPr>
          <p:spPr>
            <a:xfrm rot="14592840">
              <a:off x="2067702" y="3867293"/>
              <a:ext cx="281047" cy="146780"/>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2" name="Pfeil nach links und rechts 151"/>
            <p:cNvSpPr/>
            <p:nvPr/>
          </p:nvSpPr>
          <p:spPr>
            <a:xfrm rot="17513078">
              <a:off x="2405637" y="4210161"/>
              <a:ext cx="239112" cy="142439"/>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4" name="Pfeil nach links und rechts 153"/>
            <p:cNvSpPr/>
            <p:nvPr/>
          </p:nvSpPr>
          <p:spPr>
            <a:xfrm rot="6014458">
              <a:off x="3590077" y="3508048"/>
              <a:ext cx="275607" cy="15408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7" name="Pfeil nach links und rechts 156"/>
            <p:cNvSpPr/>
            <p:nvPr/>
          </p:nvSpPr>
          <p:spPr>
            <a:xfrm rot="5683661">
              <a:off x="2183975" y="4155340"/>
              <a:ext cx="241578" cy="155674"/>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1" name="Pfeil nach links und rechts 160"/>
            <p:cNvSpPr/>
            <p:nvPr/>
          </p:nvSpPr>
          <p:spPr>
            <a:xfrm rot="6825114">
              <a:off x="1455032" y="5491248"/>
              <a:ext cx="268267" cy="168241"/>
            </a:xfrm>
            <a:prstGeom prst="lef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 name="Pfeil nach links und rechts 151"/>
            <p:cNvSpPr/>
            <p:nvPr/>
          </p:nvSpPr>
          <p:spPr>
            <a:xfrm rot="19637112">
              <a:off x="2349054" y="3853776"/>
              <a:ext cx="269326" cy="164348"/>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cxnSp>
        <p:nvCxnSpPr>
          <p:cNvPr id="250" name="Gerade Verbindung 249"/>
          <p:cNvCxnSpPr>
            <a:cxnSpLocks/>
          </p:cNvCxnSpPr>
          <p:nvPr/>
        </p:nvCxnSpPr>
        <p:spPr>
          <a:xfrm>
            <a:off x="7040900" y="4114800"/>
            <a:ext cx="583829" cy="11045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1" name="Pfeil nach links und rechts 250"/>
          <p:cNvSpPr/>
          <p:nvPr/>
        </p:nvSpPr>
        <p:spPr>
          <a:xfrm rot="530995">
            <a:off x="7260019" y="4104798"/>
            <a:ext cx="269794" cy="159110"/>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252" name="Gerade Verbindung 251"/>
          <p:cNvCxnSpPr>
            <a:cxnSpLocks/>
          </p:cNvCxnSpPr>
          <p:nvPr/>
        </p:nvCxnSpPr>
        <p:spPr>
          <a:xfrm>
            <a:off x="2822535" y="4106384"/>
            <a:ext cx="497314" cy="5375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3" name="Pfeil nach links und rechts 252"/>
          <p:cNvSpPr/>
          <p:nvPr/>
        </p:nvSpPr>
        <p:spPr>
          <a:xfrm rot="464600">
            <a:off x="2962667" y="4053288"/>
            <a:ext cx="278871" cy="1648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73" name="Pfeil nach links und rechts 172"/>
          <p:cNvSpPr/>
          <p:nvPr/>
        </p:nvSpPr>
        <p:spPr>
          <a:xfrm>
            <a:off x="2436509" y="3367496"/>
            <a:ext cx="261361" cy="164494"/>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1" name="Pfeil nach links und rechts 200"/>
          <p:cNvSpPr/>
          <p:nvPr/>
        </p:nvSpPr>
        <p:spPr>
          <a:xfrm>
            <a:off x="7674792" y="2619929"/>
            <a:ext cx="261361" cy="164494"/>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2" name="Pfeil nach links und rechts 201"/>
          <p:cNvSpPr/>
          <p:nvPr/>
        </p:nvSpPr>
        <p:spPr>
          <a:xfrm>
            <a:off x="6706010" y="3371362"/>
            <a:ext cx="261361" cy="164494"/>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3" name="Pfeil nach links und rechts 202"/>
          <p:cNvSpPr/>
          <p:nvPr/>
        </p:nvSpPr>
        <p:spPr>
          <a:xfrm rot="6014458">
            <a:off x="3642161" y="3803370"/>
            <a:ext cx="275607" cy="15408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4" name="Pfeil nach links und rechts 203"/>
          <p:cNvSpPr/>
          <p:nvPr/>
        </p:nvSpPr>
        <p:spPr>
          <a:xfrm rot="6014458">
            <a:off x="3502685" y="4045421"/>
            <a:ext cx="275607" cy="15408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5" name="Pfeil nach links und rechts 204"/>
          <p:cNvSpPr/>
          <p:nvPr/>
        </p:nvSpPr>
        <p:spPr>
          <a:xfrm rot="6014458">
            <a:off x="7714904" y="4065203"/>
            <a:ext cx="275607" cy="15408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6" name="Pfeil nach links und rechts 205"/>
          <p:cNvSpPr/>
          <p:nvPr/>
        </p:nvSpPr>
        <p:spPr>
          <a:xfrm rot="6014458">
            <a:off x="7891648" y="3819181"/>
            <a:ext cx="275607" cy="15408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7" name="Pfeil nach links und rechts 206"/>
          <p:cNvSpPr/>
          <p:nvPr/>
        </p:nvSpPr>
        <p:spPr>
          <a:xfrm rot="6014458">
            <a:off x="7805429" y="3544324"/>
            <a:ext cx="275607" cy="15408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8" name="Pfeil nach links und rechts 151"/>
          <p:cNvSpPr/>
          <p:nvPr/>
        </p:nvSpPr>
        <p:spPr>
          <a:xfrm rot="19637112">
            <a:off x="2495465" y="3994843"/>
            <a:ext cx="269326" cy="164348"/>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09" name="Pfeil nach links und rechts 151"/>
          <p:cNvSpPr/>
          <p:nvPr/>
        </p:nvSpPr>
        <p:spPr>
          <a:xfrm rot="19637112">
            <a:off x="6605947" y="3858766"/>
            <a:ext cx="269326" cy="164348"/>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10" name="Pfeil nach links und rechts 151"/>
          <p:cNvSpPr/>
          <p:nvPr/>
        </p:nvSpPr>
        <p:spPr>
          <a:xfrm rot="19637112">
            <a:off x="6748524" y="4017252"/>
            <a:ext cx="269326" cy="164348"/>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11" name="Pfeil nach links und rechts 151"/>
          <p:cNvSpPr/>
          <p:nvPr/>
        </p:nvSpPr>
        <p:spPr>
          <a:xfrm rot="19637112">
            <a:off x="1970307" y="4802661"/>
            <a:ext cx="269326" cy="164348"/>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12" name="Pfeil nach links und rechts 151"/>
          <p:cNvSpPr/>
          <p:nvPr/>
        </p:nvSpPr>
        <p:spPr>
          <a:xfrm rot="19637112">
            <a:off x="2015968" y="4871887"/>
            <a:ext cx="269326" cy="164348"/>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13" name="Pfeil nach links und rechts 151"/>
          <p:cNvSpPr/>
          <p:nvPr/>
        </p:nvSpPr>
        <p:spPr>
          <a:xfrm rot="19637112">
            <a:off x="6260576" y="4830468"/>
            <a:ext cx="269326" cy="164348"/>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14" name="Pfeil nach links und rechts 151"/>
          <p:cNvSpPr/>
          <p:nvPr/>
        </p:nvSpPr>
        <p:spPr>
          <a:xfrm rot="19637112">
            <a:off x="6306237" y="4899694"/>
            <a:ext cx="269326" cy="164348"/>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21" name="Pfeil nach links und rechts 220"/>
          <p:cNvSpPr/>
          <p:nvPr/>
        </p:nvSpPr>
        <p:spPr>
          <a:xfrm>
            <a:off x="5060838" y="5700495"/>
            <a:ext cx="261361" cy="164494"/>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22" name="Pfeil nach links und rechts 221"/>
          <p:cNvSpPr/>
          <p:nvPr/>
        </p:nvSpPr>
        <p:spPr>
          <a:xfrm>
            <a:off x="5058366" y="5790193"/>
            <a:ext cx="261361" cy="164494"/>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23" name="Pfeil nach links und rechts 222"/>
          <p:cNvSpPr/>
          <p:nvPr/>
        </p:nvSpPr>
        <p:spPr>
          <a:xfrm>
            <a:off x="1987508" y="4435057"/>
            <a:ext cx="261361" cy="164494"/>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29" name="Pfeil nach links und rechts 228"/>
          <p:cNvSpPr/>
          <p:nvPr/>
        </p:nvSpPr>
        <p:spPr>
          <a:xfrm>
            <a:off x="814718" y="5745241"/>
            <a:ext cx="261361" cy="164494"/>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5" name="Pfeil nach links und rechts 234"/>
          <p:cNvSpPr/>
          <p:nvPr/>
        </p:nvSpPr>
        <p:spPr>
          <a:xfrm>
            <a:off x="6250854" y="4446163"/>
            <a:ext cx="261361" cy="164494"/>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5" name="Pfeil nach links und rechts 244"/>
          <p:cNvSpPr/>
          <p:nvPr/>
        </p:nvSpPr>
        <p:spPr>
          <a:xfrm rot="6825114">
            <a:off x="6051206" y="4572026"/>
            <a:ext cx="278795" cy="1775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6" name="Pfeil nach links und rechts 245"/>
          <p:cNvSpPr/>
          <p:nvPr/>
        </p:nvSpPr>
        <p:spPr>
          <a:xfrm rot="6825114">
            <a:off x="1793757" y="4520740"/>
            <a:ext cx="278795" cy="1775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8" name="Pfeil nach links und rechts 247"/>
          <p:cNvSpPr/>
          <p:nvPr/>
        </p:nvSpPr>
        <p:spPr>
          <a:xfrm rot="6825114">
            <a:off x="6023256" y="4828281"/>
            <a:ext cx="278795" cy="1775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9" name="Pfeil nach links und rechts 248"/>
          <p:cNvSpPr/>
          <p:nvPr/>
        </p:nvSpPr>
        <p:spPr>
          <a:xfrm rot="6825114">
            <a:off x="1755617" y="4774643"/>
            <a:ext cx="278795" cy="1775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Tree>
    <p:extLst>
      <p:ext uri="{BB962C8B-B14F-4D97-AF65-F5344CB8AC3E}">
        <p14:creationId xmlns:p14="http://schemas.microsoft.com/office/powerpoint/2010/main" val="192857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1" name="Group 4"/>
          <p:cNvGrpSpPr/>
          <p:nvPr/>
        </p:nvGrpSpPr>
        <p:grpSpPr>
          <a:xfrm>
            <a:off x="4886520" y="2070784"/>
            <a:ext cx="3579501" cy="4314154"/>
            <a:chOff x="2860933" y="1700213"/>
            <a:chExt cx="3675187" cy="4429479"/>
          </a:xfrm>
          <a:solidFill>
            <a:schemeClr val="accent3"/>
          </a:solidFill>
        </p:grpSpPr>
        <p:sp>
          <p:nvSpPr>
            <p:cNvPr id="342" name="ee4p_AL_1_15912"/>
            <p:cNvSpPr>
              <a:spLocks noChangeAspect="1"/>
            </p:cNvSpPr>
            <p:nvPr>
              <p:custDataLst>
                <p:tags r:id="rId45"/>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3" name="ee4p_AD_1_15912"/>
            <p:cNvSpPr>
              <a:spLocks noChangeAspect="1"/>
            </p:cNvSpPr>
            <p:nvPr>
              <p:custDataLst>
                <p:tags r:id="rId46"/>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4" name="ee4p_AT_1_15912"/>
            <p:cNvSpPr>
              <a:spLocks noChangeAspect="1"/>
            </p:cNvSpPr>
            <p:nvPr>
              <p:custDataLst>
                <p:tags r:id="rId47"/>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accent2"/>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5" name="ee4p_BE_1_15912"/>
            <p:cNvSpPr>
              <a:spLocks noChangeAspect="1"/>
            </p:cNvSpPr>
            <p:nvPr>
              <p:custDataLst>
                <p:tags r:id="rId48"/>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chemeClr val="accent2"/>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6" name="ee4p_BG_1_15912"/>
            <p:cNvSpPr>
              <a:spLocks noChangeAspect="1"/>
            </p:cNvSpPr>
            <p:nvPr>
              <p:custDataLst>
                <p:tags r:id="rId49"/>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7" name="ee4p_BA_1_15912"/>
            <p:cNvSpPr>
              <a:spLocks noChangeAspect="1"/>
            </p:cNvSpPr>
            <p:nvPr>
              <p:custDataLst>
                <p:tags r:id="rId50"/>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8" name="ee4p_CH_1_15912"/>
            <p:cNvSpPr>
              <a:spLocks noChangeAspect="1"/>
            </p:cNvSpPr>
            <p:nvPr>
              <p:custDataLst>
                <p:tags r:id="rId51"/>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9" name="ee4p_CZ_1_15912"/>
            <p:cNvSpPr>
              <a:spLocks noChangeAspect="1"/>
            </p:cNvSpPr>
            <p:nvPr>
              <p:custDataLst>
                <p:tags r:id="rId52"/>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0" name="ee4p_DE_1_15912"/>
            <p:cNvSpPr>
              <a:spLocks noChangeAspect="1"/>
            </p:cNvSpPr>
            <p:nvPr>
              <p:custDataLst>
                <p:tags r:id="rId53"/>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2"/>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1" name="ee4p_DK_1_15912"/>
            <p:cNvSpPr>
              <a:spLocks noChangeAspect="1"/>
            </p:cNvSpPr>
            <p:nvPr>
              <p:custDataLst>
                <p:tags r:id="rId54"/>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chemeClr val="accent5"/>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2" name="ee4p_DK_2_15912"/>
            <p:cNvSpPr>
              <a:spLocks noChangeAspect="1"/>
            </p:cNvSpPr>
            <p:nvPr>
              <p:custDataLst>
                <p:tags r:id="rId55"/>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3" name="ee4p_ES_1_15912"/>
            <p:cNvSpPr>
              <a:spLocks noChangeAspect="1"/>
            </p:cNvSpPr>
            <p:nvPr>
              <p:custDataLst>
                <p:tags r:id="rId56"/>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4" name="ee4p_ES_2_15912"/>
            <p:cNvSpPr>
              <a:spLocks noChangeAspect="1"/>
            </p:cNvSpPr>
            <p:nvPr>
              <p:custDataLst>
                <p:tags r:id="rId57"/>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chemeClr val="accent5"/>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5" name="ee4p_EE_1_15912"/>
            <p:cNvSpPr>
              <a:spLocks noChangeAspect="1"/>
            </p:cNvSpPr>
            <p:nvPr>
              <p:custDataLst>
                <p:tags r:id="rId58"/>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chemeClr val="accent5"/>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6" name="ee4p_FI_1_15912"/>
            <p:cNvSpPr>
              <a:spLocks noChangeAspect="1"/>
            </p:cNvSpPr>
            <p:nvPr>
              <p:custDataLst>
                <p:tags r:id="rId59"/>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solidFill>
              <a:schemeClr val="accent5"/>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7" name="ee4p_FR_1_15912"/>
            <p:cNvSpPr>
              <a:spLocks noChangeAspect="1"/>
            </p:cNvSpPr>
            <p:nvPr>
              <p:custDataLst>
                <p:tags r:id="rId60"/>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solidFill>
              <a:schemeClr val="accent1"/>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8" name="ee4p_GB_1_15912"/>
            <p:cNvSpPr>
              <a:spLocks noChangeAspect="1"/>
            </p:cNvSpPr>
            <p:nvPr>
              <p:custDataLst>
                <p:tags r:id="rId61"/>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9" name="ee4p_GR_1_15912"/>
            <p:cNvSpPr>
              <a:spLocks noChangeAspect="1"/>
            </p:cNvSpPr>
            <p:nvPr>
              <p:custDataLst>
                <p:tags r:id="rId62"/>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0" name="ee4p_HR_1_15912"/>
            <p:cNvSpPr>
              <a:spLocks noChangeAspect="1"/>
            </p:cNvSpPr>
            <p:nvPr>
              <p:custDataLst>
                <p:tags r:id="rId63"/>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1" name="ee4p_HU_1_15912"/>
            <p:cNvSpPr>
              <a:spLocks noChangeAspect="1"/>
            </p:cNvSpPr>
            <p:nvPr>
              <p:custDataLst>
                <p:tags r:id="rId64"/>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2" name="ee4p_IE_1_15912"/>
            <p:cNvSpPr>
              <a:spLocks noChangeAspect="1"/>
            </p:cNvSpPr>
            <p:nvPr>
              <p:custDataLst>
                <p:tags r:id="rId65"/>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3" name="ee4p_IT_1_15912"/>
            <p:cNvSpPr>
              <a:spLocks noChangeAspect="1"/>
            </p:cNvSpPr>
            <p:nvPr>
              <p:custDataLst>
                <p:tags r:id="rId66"/>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4" name="ee4p_SM_1_15912"/>
            <p:cNvSpPr>
              <a:spLocks noChangeAspect="1"/>
            </p:cNvSpPr>
            <p:nvPr>
              <p:custDataLst>
                <p:tags r:id="rId67"/>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5" name="ee4p_XK_1_15912"/>
            <p:cNvSpPr>
              <a:spLocks noChangeAspect="1"/>
            </p:cNvSpPr>
            <p:nvPr>
              <p:custDataLst>
                <p:tags r:id="rId68"/>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6" name="ee4p_LI_1_15912"/>
            <p:cNvSpPr>
              <a:spLocks noChangeAspect="1"/>
            </p:cNvSpPr>
            <p:nvPr>
              <p:custDataLst>
                <p:tags r:id="rId69"/>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7" name="ee4p_LT_1_15912"/>
            <p:cNvSpPr>
              <a:spLocks noChangeAspect="1"/>
            </p:cNvSpPr>
            <p:nvPr>
              <p:custDataLst>
                <p:tags r:id="rId70"/>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chemeClr val="accent5"/>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8" name="ee4p_LU_1_15912"/>
            <p:cNvSpPr>
              <a:spLocks noChangeAspect="1"/>
            </p:cNvSpPr>
            <p:nvPr>
              <p:custDataLst>
                <p:tags r:id="rId71"/>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solidFill>
              <a:schemeClr val="accent2"/>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9" name="ee4p_LV_1_15912"/>
            <p:cNvSpPr>
              <a:spLocks noChangeAspect="1"/>
            </p:cNvSpPr>
            <p:nvPr>
              <p:custDataLst>
                <p:tags r:id="rId72"/>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chemeClr val="accent5"/>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0" name="ee4p_MC_1_15912"/>
            <p:cNvSpPr>
              <a:spLocks noChangeAspect="1"/>
            </p:cNvSpPr>
            <p:nvPr>
              <p:custDataLst>
                <p:tags r:id="rId73"/>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1" name="ee4p_MK_1_15912"/>
            <p:cNvSpPr>
              <a:spLocks noChangeAspect="1"/>
            </p:cNvSpPr>
            <p:nvPr>
              <p:custDataLst>
                <p:tags r:id="rId74"/>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2" name="ee4p_MT_1_15912"/>
            <p:cNvSpPr>
              <a:spLocks noChangeAspect="1"/>
            </p:cNvSpPr>
            <p:nvPr>
              <p:custDataLst>
                <p:tags r:id="rId75"/>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3" name="ee4p_MT_2_15912"/>
            <p:cNvSpPr>
              <a:spLocks noChangeAspect="1"/>
            </p:cNvSpPr>
            <p:nvPr>
              <p:custDataLst>
                <p:tags r:id="rId76"/>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4" name="ee4p_ME_1_15912"/>
            <p:cNvSpPr>
              <a:spLocks noChangeAspect="1"/>
            </p:cNvSpPr>
            <p:nvPr>
              <p:custDataLst>
                <p:tags r:id="rId77"/>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5" name="ee4p_NL_1_15912"/>
            <p:cNvSpPr>
              <a:spLocks noChangeAspect="1"/>
            </p:cNvSpPr>
            <p:nvPr>
              <p:custDataLst>
                <p:tags r:id="rId78"/>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chemeClr val="accent2"/>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6" name="ee4p_NO_1_15912"/>
            <p:cNvSpPr>
              <a:spLocks noChangeAspect="1"/>
            </p:cNvSpPr>
            <p:nvPr>
              <p:custDataLst>
                <p:tags r:id="rId79"/>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solidFill>
              <a:schemeClr val="accent5"/>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7" name="ee4p_PL_1_15912"/>
            <p:cNvSpPr>
              <a:spLocks noChangeAspect="1"/>
            </p:cNvSpPr>
            <p:nvPr>
              <p:custDataLst>
                <p:tags r:id="rId80"/>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8" name="ee4p_PT_1_15912"/>
            <p:cNvSpPr>
              <a:spLocks noChangeAspect="1"/>
            </p:cNvSpPr>
            <p:nvPr>
              <p:custDataLst>
                <p:tags r:id="rId81"/>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chemeClr val="accent5"/>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79" name="ee4p_RO_1_15912"/>
            <p:cNvSpPr>
              <a:spLocks noChangeAspect="1"/>
            </p:cNvSpPr>
            <p:nvPr>
              <p:custDataLst>
                <p:tags r:id="rId82"/>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0" name="ee4p_IT_2_15912"/>
            <p:cNvSpPr>
              <a:spLocks noChangeAspect="1"/>
            </p:cNvSpPr>
            <p:nvPr>
              <p:custDataLst>
                <p:tags r:id="rId83"/>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1" name="ee4p_RS_1_15912"/>
            <p:cNvSpPr>
              <a:spLocks noChangeAspect="1"/>
            </p:cNvSpPr>
            <p:nvPr>
              <p:custDataLst>
                <p:tags r:id="rId84"/>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2" name="ee4p_SK_1_15912"/>
            <p:cNvSpPr>
              <a:spLocks noChangeAspect="1"/>
            </p:cNvSpPr>
            <p:nvPr>
              <p:custDataLst>
                <p:tags r:id="rId85"/>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3" name="ee4p_SI_1_15912"/>
            <p:cNvSpPr>
              <a:spLocks noChangeAspect="1"/>
            </p:cNvSpPr>
            <p:nvPr>
              <p:custDataLst>
                <p:tags r:id="rId86"/>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4" name="ee4p_SE_1_15912"/>
            <p:cNvSpPr>
              <a:spLocks noChangeAspect="1"/>
            </p:cNvSpPr>
            <p:nvPr>
              <p:custDataLst>
                <p:tags r:id="rId87"/>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chemeClr val="accent5"/>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85" name="ee4p_VA_1_15912"/>
            <p:cNvSpPr>
              <a:spLocks noChangeAspect="1"/>
            </p:cNvSpPr>
            <p:nvPr>
              <p:custDataLst>
                <p:tags r:id="rId88"/>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grpSp>
      <p:grpSp>
        <p:nvGrpSpPr>
          <p:cNvPr id="243" name="Group 4"/>
          <p:cNvGrpSpPr/>
          <p:nvPr/>
        </p:nvGrpSpPr>
        <p:grpSpPr>
          <a:xfrm>
            <a:off x="609430" y="2046267"/>
            <a:ext cx="3579501" cy="4314154"/>
            <a:chOff x="2860933" y="1700213"/>
            <a:chExt cx="3675187" cy="4429479"/>
          </a:xfrm>
          <a:solidFill>
            <a:schemeClr val="accent3"/>
          </a:solidFill>
        </p:grpSpPr>
        <p:sp>
          <p:nvSpPr>
            <p:cNvPr id="244" name="ee4p_AL_1_15912"/>
            <p:cNvSpPr>
              <a:spLocks noChangeAspect="1"/>
            </p:cNvSpPr>
            <p:nvPr>
              <p:custDataLst>
                <p:tags r:id="rId1"/>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45" name="ee4p_AD_1_15912"/>
            <p:cNvSpPr>
              <a:spLocks noChangeAspect="1"/>
            </p:cNvSpPr>
            <p:nvPr>
              <p:custDataLst>
                <p:tags r:id="rId2"/>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46" name="ee4p_AT_1_15912"/>
            <p:cNvSpPr>
              <a:spLocks noChangeAspect="1"/>
            </p:cNvSpPr>
            <p:nvPr>
              <p:custDataLst>
                <p:tags r:id="rId3"/>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47" name="ee4p_BE_1_15912"/>
            <p:cNvSpPr>
              <a:spLocks noChangeAspect="1"/>
            </p:cNvSpPr>
            <p:nvPr>
              <p:custDataLst>
                <p:tags r:id="rId4"/>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48" name="ee4p_BG_1_15912"/>
            <p:cNvSpPr>
              <a:spLocks noChangeAspect="1"/>
            </p:cNvSpPr>
            <p:nvPr>
              <p:custDataLst>
                <p:tags r:id="rId5"/>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49" name="ee4p_BA_1_15912"/>
            <p:cNvSpPr>
              <a:spLocks noChangeAspect="1"/>
            </p:cNvSpPr>
            <p:nvPr>
              <p:custDataLst>
                <p:tags r:id="rId6"/>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0" name="ee4p_CH_1_15912"/>
            <p:cNvSpPr>
              <a:spLocks noChangeAspect="1"/>
            </p:cNvSpPr>
            <p:nvPr>
              <p:custDataLst>
                <p:tags r:id="rId7"/>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1" name="ee4p_CZ_1_15912"/>
            <p:cNvSpPr>
              <a:spLocks noChangeAspect="1"/>
            </p:cNvSpPr>
            <p:nvPr>
              <p:custDataLst>
                <p:tags r:id="rId8"/>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2" name="ee4p_DE_1_15912"/>
            <p:cNvSpPr>
              <a:spLocks noChangeAspect="1"/>
            </p:cNvSpPr>
            <p:nvPr>
              <p:custDataLst>
                <p:tags r:id="rId9"/>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3" name="ee4p_DK_1_15912"/>
            <p:cNvSpPr>
              <a:spLocks noChangeAspect="1"/>
            </p:cNvSpPr>
            <p:nvPr>
              <p:custDataLst>
                <p:tags r:id="rId10"/>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1" name="ee4p_DK_2_15912"/>
            <p:cNvSpPr>
              <a:spLocks noChangeAspect="1"/>
            </p:cNvSpPr>
            <p:nvPr>
              <p:custDataLst>
                <p:tags r:id="rId11"/>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2" name="ee4p_ES_1_15912"/>
            <p:cNvSpPr>
              <a:spLocks noChangeAspect="1"/>
            </p:cNvSpPr>
            <p:nvPr>
              <p:custDataLst>
                <p:tags r:id="rId12"/>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3" name="ee4p_ES_2_15912"/>
            <p:cNvSpPr>
              <a:spLocks noChangeAspect="1"/>
            </p:cNvSpPr>
            <p:nvPr>
              <p:custDataLst>
                <p:tags r:id="rId13"/>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4" name="ee4p_EE_1_15912"/>
            <p:cNvSpPr>
              <a:spLocks noChangeAspect="1"/>
            </p:cNvSpPr>
            <p:nvPr>
              <p:custDataLst>
                <p:tags r:id="rId14"/>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9" name="ee4p_FI_1_15912"/>
            <p:cNvSpPr>
              <a:spLocks noChangeAspect="1"/>
            </p:cNvSpPr>
            <p:nvPr>
              <p:custDataLst>
                <p:tags r:id="rId15"/>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2" name="ee4p_FR_1_15912"/>
            <p:cNvSpPr>
              <a:spLocks noChangeAspect="1"/>
            </p:cNvSpPr>
            <p:nvPr>
              <p:custDataLst>
                <p:tags r:id="rId16"/>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3" name="ee4p_GB_1_15912"/>
            <p:cNvSpPr>
              <a:spLocks noChangeAspect="1"/>
            </p:cNvSpPr>
            <p:nvPr>
              <p:custDataLst>
                <p:tags r:id="rId17"/>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4" name="ee4p_GR_1_15912"/>
            <p:cNvSpPr>
              <a:spLocks noChangeAspect="1"/>
            </p:cNvSpPr>
            <p:nvPr>
              <p:custDataLst>
                <p:tags r:id="rId18"/>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5" name="ee4p_HR_1_15912"/>
            <p:cNvSpPr>
              <a:spLocks noChangeAspect="1"/>
            </p:cNvSpPr>
            <p:nvPr>
              <p:custDataLst>
                <p:tags r:id="rId19"/>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6" name="ee4p_HU_1_15912"/>
            <p:cNvSpPr>
              <a:spLocks noChangeAspect="1"/>
            </p:cNvSpPr>
            <p:nvPr>
              <p:custDataLst>
                <p:tags r:id="rId20"/>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7" name="ee4p_IE_1_15912"/>
            <p:cNvSpPr>
              <a:spLocks noChangeAspect="1"/>
            </p:cNvSpPr>
            <p:nvPr>
              <p:custDataLst>
                <p:tags r:id="rId21"/>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8" name="ee4p_IT_1_15912"/>
            <p:cNvSpPr>
              <a:spLocks noChangeAspect="1"/>
            </p:cNvSpPr>
            <p:nvPr>
              <p:custDataLst>
                <p:tags r:id="rId22"/>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9" name="ee4p_SM_1_15912"/>
            <p:cNvSpPr>
              <a:spLocks noChangeAspect="1"/>
            </p:cNvSpPr>
            <p:nvPr>
              <p:custDataLst>
                <p:tags r:id="rId23"/>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0" name="ee4p_XK_1_15912"/>
            <p:cNvSpPr>
              <a:spLocks noChangeAspect="1"/>
            </p:cNvSpPr>
            <p:nvPr>
              <p:custDataLst>
                <p:tags r:id="rId24"/>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1" name="ee4p_LI_1_15912"/>
            <p:cNvSpPr>
              <a:spLocks noChangeAspect="1"/>
            </p:cNvSpPr>
            <p:nvPr>
              <p:custDataLst>
                <p:tags r:id="rId25"/>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2" name="ee4p_LT_1_15912"/>
            <p:cNvSpPr>
              <a:spLocks noChangeAspect="1"/>
            </p:cNvSpPr>
            <p:nvPr>
              <p:custDataLst>
                <p:tags r:id="rId26"/>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3" name="ee4p_LU_1_15912"/>
            <p:cNvSpPr>
              <a:spLocks noChangeAspect="1"/>
            </p:cNvSpPr>
            <p:nvPr>
              <p:custDataLst>
                <p:tags r:id="rId27"/>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4" name="ee4p_LV_1_15912"/>
            <p:cNvSpPr>
              <a:spLocks noChangeAspect="1"/>
            </p:cNvSpPr>
            <p:nvPr>
              <p:custDataLst>
                <p:tags r:id="rId28"/>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5" name="ee4p_MC_1_15912"/>
            <p:cNvSpPr>
              <a:spLocks noChangeAspect="1"/>
            </p:cNvSpPr>
            <p:nvPr>
              <p:custDataLst>
                <p:tags r:id="rId29"/>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6" name="ee4p_MK_1_15912"/>
            <p:cNvSpPr>
              <a:spLocks noChangeAspect="1"/>
            </p:cNvSpPr>
            <p:nvPr>
              <p:custDataLst>
                <p:tags r:id="rId30"/>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7" name="ee4p_MT_1_15912"/>
            <p:cNvSpPr>
              <a:spLocks noChangeAspect="1"/>
            </p:cNvSpPr>
            <p:nvPr>
              <p:custDataLst>
                <p:tags r:id="rId31"/>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8" name="ee4p_MT_2_15912"/>
            <p:cNvSpPr>
              <a:spLocks noChangeAspect="1"/>
            </p:cNvSpPr>
            <p:nvPr>
              <p:custDataLst>
                <p:tags r:id="rId32"/>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9" name="ee4p_ME_1_15912"/>
            <p:cNvSpPr>
              <a:spLocks noChangeAspect="1"/>
            </p:cNvSpPr>
            <p:nvPr>
              <p:custDataLst>
                <p:tags r:id="rId33"/>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0" name="ee4p_NL_1_15912"/>
            <p:cNvSpPr>
              <a:spLocks noChangeAspect="1"/>
            </p:cNvSpPr>
            <p:nvPr>
              <p:custDataLst>
                <p:tags r:id="rId34"/>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1" name="ee4p_NO_1_15912"/>
            <p:cNvSpPr>
              <a:spLocks noChangeAspect="1"/>
            </p:cNvSpPr>
            <p:nvPr>
              <p:custDataLst>
                <p:tags r:id="rId35"/>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2" name="ee4p_PL_1_15912"/>
            <p:cNvSpPr>
              <a:spLocks noChangeAspect="1"/>
            </p:cNvSpPr>
            <p:nvPr>
              <p:custDataLst>
                <p:tags r:id="rId36"/>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3" name="ee4p_PT_1_15912"/>
            <p:cNvSpPr>
              <a:spLocks noChangeAspect="1"/>
            </p:cNvSpPr>
            <p:nvPr>
              <p:custDataLst>
                <p:tags r:id="rId37"/>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4" name="ee4p_RO_1_15912"/>
            <p:cNvSpPr>
              <a:spLocks noChangeAspect="1"/>
            </p:cNvSpPr>
            <p:nvPr>
              <p:custDataLst>
                <p:tags r:id="rId38"/>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5" name="ee4p_IT_2_15912"/>
            <p:cNvSpPr>
              <a:spLocks noChangeAspect="1"/>
            </p:cNvSpPr>
            <p:nvPr>
              <p:custDataLst>
                <p:tags r:id="rId39"/>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6" name="ee4p_RS_1_15912"/>
            <p:cNvSpPr>
              <a:spLocks noChangeAspect="1"/>
            </p:cNvSpPr>
            <p:nvPr>
              <p:custDataLst>
                <p:tags r:id="rId40"/>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7" name="ee4p_SK_1_15912"/>
            <p:cNvSpPr>
              <a:spLocks noChangeAspect="1"/>
            </p:cNvSpPr>
            <p:nvPr>
              <p:custDataLst>
                <p:tags r:id="rId41"/>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8" name="ee4p_SI_1_15912"/>
            <p:cNvSpPr>
              <a:spLocks noChangeAspect="1"/>
            </p:cNvSpPr>
            <p:nvPr>
              <p:custDataLst>
                <p:tags r:id="rId42"/>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9" name="ee4p_SE_1_15912"/>
            <p:cNvSpPr>
              <a:spLocks noChangeAspect="1"/>
            </p:cNvSpPr>
            <p:nvPr>
              <p:custDataLst>
                <p:tags r:id="rId43"/>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0" name="ee4p_VA_1_15912"/>
            <p:cNvSpPr>
              <a:spLocks noChangeAspect="1"/>
            </p:cNvSpPr>
            <p:nvPr>
              <p:custDataLst>
                <p:tags r:id="rId44"/>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grpSp>
      <p:sp>
        <p:nvSpPr>
          <p:cNvPr id="2" name="Titel 1"/>
          <p:cNvSpPr>
            <a:spLocks noGrp="1"/>
          </p:cNvSpPr>
          <p:nvPr>
            <p:ph type="title"/>
          </p:nvPr>
        </p:nvSpPr>
        <p:spPr>
          <a:xfrm>
            <a:off x="540386" y="843850"/>
            <a:ext cx="8332952" cy="583015"/>
          </a:xfrm>
        </p:spPr>
        <p:txBody>
          <a:bodyPr/>
          <a:lstStyle/>
          <a:p>
            <a:r>
              <a:rPr lang="en-GB" dirty="0"/>
              <a:t>Granularity offered cross-</a:t>
            </a:r>
            <a:r>
              <a:rPr lang="en-GB" dirty="0" err="1"/>
              <a:t>zonal</a:t>
            </a:r>
            <a:r>
              <a:rPr lang="en-GB" dirty="0"/>
              <a:t> capacity and imbalance settlement periods</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2</a:t>
            </a:fld>
            <a:endParaRPr lang="en-US" altLang="en-US" dirty="0"/>
          </a:p>
        </p:txBody>
      </p:sp>
      <p:sp>
        <p:nvSpPr>
          <p:cNvPr id="100" name="Textfeld 99"/>
          <p:cNvSpPr txBox="1"/>
          <p:nvPr/>
        </p:nvSpPr>
        <p:spPr>
          <a:xfrm>
            <a:off x="670097" y="1420903"/>
            <a:ext cx="2352994" cy="492443"/>
          </a:xfrm>
          <a:prstGeom prst="rect">
            <a:avLst/>
          </a:prstGeom>
          <a:noFill/>
        </p:spPr>
        <p:txBody>
          <a:bodyPr wrap="square" lIns="0" tIns="0" rIns="0" bIns="0" rtlCol="0">
            <a:spAutoFit/>
          </a:bodyPr>
          <a:lstStyle/>
          <a:p>
            <a:r>
              <a:rPr lang="en-GB" sz="1600" b="1" dirty="0"/>
              <a:t>Cross-</a:t>
            </a:r>
            <a:r>
              <a:rPr lang="en-GB" sz="1600" b="1" dirty="0" err="1"/>
              <a:t>zonal</a:t>
            </a:r>
            <a:r>
              <a:rPr lang="en-GB" sz="1600" b="1" dirty="0"/>
              <a:t> capacity: </a:t>
            </a:r>
          </a:p>
          <a:p>
            <a:r>
              <a:rPr lang="en-GB" sz="1600" b="1" dirty="0"/>
              <a:t>No changes to today</a:t>
            </a:r>
          </a:p>
        </p:txBody>
      </p:sp>
      <p:cxnSp>
        <p:nvCxnSpPr>
          <p:cNvPr id="217" name="Gerade Verbindung 216"/>
          <p:cNvCxnSpPr>
            <a:cxnSpLocks noChangeAspect="1"/>
          </p:cNvCxnSpPr>
          <p:nvPr/>
        </p:nvCxnSpPr>
        <p:spPr>
          <a:xfrm flipH="1">
            <a:off x="2033462" y="3854096"/>
            <a:ext cx="50147" cy="57755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8" name="Gerade Verbindung 217"/>
          <p:cNvCxnSpPr>
            <a:cxnSpLocks noChangeAspect="1"/>
          </p:cNvCxnSpPr>
          <p:nvPr/>
        </p:nvCxnSpPr>
        <p:spPr>
          <a:xfrm flipH="1">
            <a:off x="2510800" y="4168820"/>
            <a:ext cx="60211" cy="18500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a:cxnSpLocks noChangeAspect="1"/>
          </p:cNvCxnSpPr>
          <p:nvPr/>
        </p:nvCxnSpPr>
        <p:spPr>
          <a:xfrm>
            <a:off x="2157002" y="3845549"/>
            <a:ext cx="105461" cy="18043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0" name="Gerade Verbindung 219"/>
          <p:cNvCxnSpPr>
            <a:cxnSpLocks noChangeAspect="1"/>
          </p:cNvCxnSpPr>
          <p:nvPr/>
        </p:nvCxnSpPr>
        <p:spPr>
          <a:xfrm flipH="1">
            <a:off x="3692104" y="3512820"/>
            <a:ext cx="33575" cy="18807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0" name="Gruppieren 1"/>
          <p:cNvGrpSpPr>
            <a:grpSpLocks/>
          </p:cNvGrpSpPr>
          <p:nvPr/>
        </p:nvGrpSpPr>
        <p:grpSpPr>
          <a:xfrm>
            <a:off x="723230" y="2054539"/>
            <a:ext cx="658995" cy="394614"/>
            <a:chOff x="395285" y="5167675"/>
            <a:chExt cx="676610" cy="412526"/>
          </a:xfrm>
        </p:grpSpPr>
        <p:sp>
          <p:nvSpPr>
            <p:cNvPr id="112" name="Line 4"/>
            <p:cNvSpPr>
              <a:spLocks noChangeShapeType="1"/>
            </p:cNvSpPr>
            <p:nvPr/>
          </p:nvSpPr>
          <p:spPr bwMode="gray">
            <a:xfrm rot="16200000" flipV="1">
              <a:off x="202430" y="5383427"/>
              <a:ext cx="389629" cy="3919"/>
            </a:xfrm>
            <a:prstGeom prst="line">
              <a:avLst/>
            </a:prstGeom>
            <a:noFill/>
            <a:ln w="9525" cap="flat" cmpd="sng" algn="ctr">
              <a:solidFill>
                <a:schemeClr val="accent3"/>
              </a:solidFill>
              <a:prstDash val="solid"/>
              <a:miter lim="800000"/>
              <a:headEnd type="none" w="med" len="med"/>
              <a:tailEnd type="none" w="med" len="med"/>
            </a:ln>
          </p:spPr>
          <p:txBody>
            <a:bodyPr/>
            <a:lstStyle/>
            <a:p>
              <a:endParaRPr lang="en-GB" sz="1000" dirty="0">
                <a:solidFill>
                  <a:schemeClr val="tx1"/>
                </a:solidFill>
                <a:latin typeface="+mn-lt"/>
                <a:cs typeface="Arial" panose="020B0604020202020204" pitchFamily="34" charset="0"/>
              </a:endParaRPr>
            </a:p>
          </p:txBody>
        </p:sp>
        <p:sp>
          <p:nvSpPr>
            <p:cNvPr id="118" name="Rectangle 9"/>
            <p:cNvSpPr>
              <a:spLocks noChangeArrowheads="1"/>
            </p:cNvSpPr>
            <p:nvPr/>
          </p:nvSpPr>
          <p:spPr bwMode="gray">
            <a:xfrm>
              <a:off x="675245" y="5383576"/>
              <a:ext cx="396650"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30 min</a:t>
              </a:r>
            </a:p>
          </p:txBody>
        </p:sp>
        <p:sp>
          <p:nvSpPr>
            <p:cNvPr id="120" name="Rectangle 11"/>
            <p:cNvSpPr>
              <a:spLocks noChangeArrowheads="1"/>
            </p:cNvSpPr>
            <p:nvPr/>
          </p:nvSpPr>
          <p:spPr bwMode="gray">
            <a:xfrm>
              <a:off x="675245" y="5167675"/>
              <a:ext cx="396650"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60 min</a:t>
              </a:r>
            </a:p>
          </p:txBody>
        </p:sp>
      </p:grpSp>
      <p:sp>
        <p:nvSpPr>
          <p:cNvPr id="227" name="Pfeil nach links und rechts 226"/>
          <p:cNvSpPr/>
          <p:nvPr/>
        </p:nvSpPr>
        <p:spPr>
          <a:xfrm>
            <a:off x="786180" y="2086539"/>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39" name="Pfeil nach links und rechts 138"/>
          <p:cNvSpPr/>
          <p:nvPr/>
        </p:nvSpPr>
        <p:spPr>
          <a:xfrm>
            <a:off x="786180" y="2291838"/>
            <a:ext cx="169366" cy="92333"/>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48" name="Pfeil nach links und rechts 147"/>
          <p:cNvSpPr/>
          <p:nvPr/>
        </p:nvSpPr>
        <p:spPr>
          <a:xfrm>
            <a:off x="2492251" y="3530749"/>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49" name="Pfeil nach links und rechts 148"/>
          <p:cNvSpPr/>
          <p:nvPr/>
        </p:nvSpPr>
        <p:spPr>
          <a:xfrm>
            <a:off x="3464318" y="2666968"/>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0" name="Pfeil nach links und rechts 149"/>
          <p:cNvSpPr/>
          <p:nvPr/>
        </p:nvSpPr>
        <p:spPr>
          <a:xfrm rot="16637802">
            <a:off x="1989755" y="4089225"/>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1" name="Pfeil nach links und rechts 150"/>
          <p:cNvSpPr/>
          <p:nvPr/>
        </p:nvSpPr>
        <p:spPr>
          <a:xfrm rot="14592840">
            <a:off x="2131229" y="3908866"/>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2" name="Pfeil nach links und rechts 151"/>
          <p:cNvSpPr/>
          <p:nvPr/>
        </p:nvSpPr>
        <p:spPr>
          <a:xfrm rot="17513078">
            <a:off x="2450733" y="4220812"/>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4" name="Pfeil nach links und rechts 153"/>
          <p:cNvSpPr/>
          <p:nvPr/>
        </p:nvSpPr>
        <p:spPr>
          <a:xfrm rot="6014458">
            <a:off x="3630666" y="3578885"/>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5" name="Pfeil nach links und rechts 154"/>
          <p:cNvSpPr/>
          <p:nvPr/>
        </p:nvSpPr>
        <p:spPr>
          <a:xfrm rot="6014458">
            <a:off x="3640996" y="3838508"/>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6" name="Pfeil nach links und rechts 155"/>
          <p:cNvSpPr/>
          <p:nvPr/>
        </p:nvSpPr>
        <p:spPr>
          <a:xfrm rot="6014458">
            <a:off x="3499052" y="4042763"/>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7" name="Pfeil nach links und rechts 156"/>
          <p:cNvSpPr/>
          <p:nvPr/>
        </p:nvSpPr>
        <p:spPr>
          <a:xfrm rot="5683661">
            <a:off x="2228196" y="4225604"/>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158" name="Pfeil nach links und rechts 157"/>
          <p:cNvSpPr/>
          <p:nvPr/>
        </p:nvSpPr>
        <p:spPr>
          <a:xfrm>
            <a:off x="2035073" y="4470270"/>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9" name="Pfeil nach links und rechts 158"/>
          <p:cNvSpPr/>
          <p:nvPr/>
        </p:nvSpPr>
        <p:spPr>
          <a:xfrm rot="6347083">
            <a:off x="1870663" y="4610075"/>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0" name="Pfeil nach links und rechts 159"/>
          <p:cNvSpPr/>
          <p:nvPr/>
        </p:nvSpPr>
        <p:spPr>
          <a:xfrm rot="6347083">
            <a:off x="1823426" y="4783545"/>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1" name="Pfeil nach links und rechts 160"/>
          <p:cNvSpPr/>
          <p:nvPr/>
        </p:nvSpPr>
        <p:spPr>
          <a:xfrm rot="6825114">
            <a:off x="1449826" y="5540128"/>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2" name="Pfeil nach links und rechts 161"/>
          <p:cNvSpPr/>
          <p:nvPr/>
        </p:nvSpPr>
        <p:spPr>
          <a:xfrm>
            <a:off x="817387" y="5827178"/>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 name="Pfeil nach links und rechts 151"/>
          <p:cNvSpPr/>
          <p:nvPr/>
        </p:nvSpPr>
        <p:spPr>
          <a:xfrm rot="19637112">
            <a:off x="2364275" y="3939870"/>
            <a:ext cx="181089" cy="96735"/>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6" name="Pfeil nach links und rechts 151"/>
          <p:cNvSpPr/>
          <p:nvPr/>
        </p:nvSpPr>
        <p:spPr>
          <a:xfrm rot="19637112">
            <a:off x="2486388" y="4062301"/>
            <a:ext cx="181089" cy="96735"/>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92" name="Textfeld 215"/>
          <p:cNvSpPr txBox="1"/>
          <p:nvPr/>
        </p:nvSpPr>
        <p:spPr>
          <a:xfrm>
            <a:off x="4776850" y="1428827"/>
            <a:ext cx="3054775" cy="492443"/>
          </a:xfrm>
          <a:prstGeom prst="rect">
            <a:avLst/>
          </a:prstGeom>
          <a:noFill/>
        </p:spPr>
        <p:txBody>
          <a:bodyPr wrap="square" lIns="0" tIns="0" rIns="0" bIns="0" rtlCol="0">
            <a:spAutoFit/>
          </a:bodyPr>
          <a:lstStyle/>
          <a:p>
            <a:r>
              <a:rPr lang="en-GB" sz="1600" b="1" dirty="0"/>
              <a:t>Imbalance settlement periods: No changes to today</a:t>
            </a:r>
          </a:p>
        </p:txBody>
      </p:sp>
      <p:grpSp>
        <p:nvGrpSpPr>
          <p:cNvPr id="293" name="Gruppieren 1"/>
          <p:cNvGrpSpPr>
            <a:grpSpLocks/>
          </p:cNvGrpSpPr>
          <p:nvPr/>
        </p:nvGrpSpPr>
        <p:grpSpPr>
          <a:xfrm>
            <a:off x="4798083" y="2088734"/>
            <a:ext cx="658997" cy="777365"/>
            <a:chOff x="395284" y="5599475"/>
            <a:chExt cx="676612" cy="812650"/>
          </a:xfrm>
        </p:grpSpPr>
        <p:sp>
          <p:nvSpPr>
            <p:cNvPr id="294" name="Rectangle 2"/>
            <p:cNvSpPr>
              <a:spLocks noChangeArrowheads="1"/>
            </p:cNvSpPr>
            <p:nvPr/>
          </p:nvSpPr>
          <p:spPr bwMode="gray">
            <a:xfrm>
              <a:off x="675246" y="6030483"/>
              <a:ext cx="396650" cy="160873"/>
            </a:xfrm>
            <a:prstGeom prst="rect">
              <a:avLst/>
            </a:prstGeom>
            <a:noFill/>
            <a:ln w="9525">
              <a:noFill/>
              <a:miter lim="800000"/>
              <a:headEnd/>
              <a:tailEnd/>
            </a:ln>
          </p:spPr>
          <p:txBody>
            <a:bodyPr wrap="none" lIns="0" tIns="0" rIns="0" bIns="0" anchor="ctr">
              <a:spAutoFit/>
            </a:bodyPr>
            <a:lstStyle/>
            <a:p>
              <a:pPr defTabSz="762000" eaLnBrk="0" hangingPunct="0"/>
              <a:r>
                <a:rPr lang="de-DE" sz="1000" b="0" dirty="0">
                  <a:solidFill>
                    <a:srgbClr val="000000"/>
                  </a:solidFill>
                  <a:latin typeface="+mj-lt"/>
                  <a:cs typeface="Arial" panose="020B0604020202020204" pitchFamily="34" charset="0"/>
                </a:rPr>
                <a:t>15 min</a:t>
              </a:r>
            </a:p>
          </p:txBody>
        </p:sp>
        <p:sp>
          <p:nvSpPr>
            <p:cNvPr id="295" name="Line 4"/>
            <p:cNvSpPr>
              <a:spLocks noChangeShapeType="1"/>
            </p:cNvSpPr>
            <p:nvPr/>
          </p:nvSpPr>
          <p:spPr bwMode="gray">
            <a:xfrm rot="16200000">
              <a:off x="8706" y="6025548"/>
              <a:ext cx="773155" cy="0"/>
            </a:xfrm>
            <a:prstGeom prst="line">
              <a:avLst/>
            </a:prstGeom>
            <a:noFill/>
            <a:ln w="9525" cap="flat" cmpd="sng" algn="ctr">
              <a:solidFill>
                <a:schemeClr val="accent3"/>
              </a:solidFill>
              <a:prstDash val="solid"/>
              <a:miter lim="800000"/>
              <a:headEnd type="none" w="med" len="med"/>
              <a:tailEnd type="none" w="med" len="med"/>
            </a:ln>
          </p:spPr>
          <p:txBody>
            <a:bodyPr/>
            <a:lstStyle/>
            <a:p>
              <a:endParaRPr lang="de-DE" sz="1000" dirty="0">
                <a:solidFill>
                  <a:schemeClr val="tx1"/>
                </a:solidFill>
                <a:latin typeface="+mj-lt"/>
                <a:cs typeface="Arial" panose="020B0604020202020204" pitchFamily="34" charset="0"/>
              </a:endParaRPr>
            </a:p>
          </p:txBody>
        </p:sp>
        <p:sp>
          <p:nvSpPr>
            <p:cNvPr id="296" name="Rectangle 3"/>
            <p:cNvSpPr>
              <a:spLocks noChangeAspect="1" noChangeArrowheads="1"/>
            </p:cNvSpPr>
            <p:nvPr/>
          </p:nvSpPr>
          <p:spPr bwMode="gray">
            <a:xfrm>
              <a:off x="467294" y="5830630"/>
              <a:ext cx="152400" cy="109864"/>
            </a:xfrm>
            <a:prstGeom prst="rect">
              <a:avLst/>
            </a:prstGeom>
            <a:solidFill>
              <a:schemeClr val="accent1"/>
            </a:solidFill>
            <a:ln w="9525">
              <a:noFill/>
              <a:miter lim="800000"/>
              <a:headEnd/>
              <a:tailEnd/>
            </a:ln>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mj-lt"/>
                <a:cs typeface="Arial" panose="020B0604020202020204" pitchFamily="34" charset="0"/>
              </a:endParaRPr>
            </a:p>
          </p:txBody>
        </p:sp>
        <p:sp>
          <p:nvSpPr>
            <p:cNvPr id="297" name="Rectangle 5"/>
            <p:cNvSpPr>
              <a:spLocks noChangeArrowheads="1"/>
            </p:cNvSpPr>
            <p:nvPr/>
          </p:nvSpPr>
          <p:spPr bwMode="gray">
            <a:xfrm>
              <a:off x="675246" y="5815376"/>
              <a:ext cx="396650" cy="160873"/>
            </a:xfrm>
            <a:prstGeom prst="rect">
              <a:avLst/>
            </a:prstGeom>
            <a:noFill/>
            <a:ln w="9525">
              <a:noFill/>
              <a:miter lim="800000"/>
              <a:headEnd/>
              <a:tailEnd/>
            </a:ln>
          </p:spPr>
          <p:txBody>
            <a:bodyPr wrap="none" lIns="0" tIns="0" rIns="0" bIns="0" anchor="ctr">
              <a:spAutoFit/>
            </a:bodyPr>
            <a:lstStyle/>
            <a:p>
              <a:pPr defTabSz="762000" eaLnBrk="0" hangingPunct="0"/>
              <a:r>
                <a:rPr lang="de-DE" sz="1000" b="0" dirty="0">
                  <a:solidFill>
                    <a:srgbClr val="000000"/>
                  </a:solidFill>
                  <a:latin typeface="+mj-lt"/>
                  <a:cs typeface="Arial" panose="020B0604020202020204" pitchFamily="34" charset="0"/>
                </a:rPr>
                <a:t>30 min</a:t>
              </a:r>
            </a:p>
          </p:txBody>
        </p:sp>
        <p:sp>
          <p:nvSpPr>
            <p:cNvPr id="298" name="Rectangle 6"/>
            <p:cNvSpPr>
              <a:spLocks noChangeAspect="1" noChangeArrowheads="1"/>
            </p:cNvSpPr>
            <p:nvPr/>
          </p:nvSpPr>
          <p:spPr bwMode="gray">
            <a:xfrm>
              <a:off x="461367" y="6055983"/>
              <a:ext cx="152400" cy="109864"/>
            </a:xfrm>
            <a:prstGeom prst="rect">
              <a:avLst/>
            </a:prstGeom>
            <a:solidFill>
              <a:schemeClr val="accent2"/>
            </a:solidFill>
            <a:ln w="9525" algn="ctr">
              <a:noFill/>
              <a:miter lim="800000"/>
              <a:headEnd/>
              <a:tailEnd/>
            </a:ln>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mj-lt"/>
                <a:cs typeface="Arial" panose="020B0604020202020204" pitchFamily="34" charset="0"/>
              </a:endParaRPr>
            </a:p>
          </p:txBody>
        </p:sp>
        <p:sp>
          <p:nvSpPr>
            <p:cNvPr id="299" name="Rectangle 7"/>
            <p:cNvSpPr>
              <a:spLocks noChangeArrowheads="1"/>
            </p:cNvSpPr>
            <p:nvPr/>
          </p:nvSpPr>
          <p:spPr bwMode="gray">
            <a:xfrm>
              <a:off x="675245" y="5599475"/>
              <a:ext cx="396651" cy="160873"/>
            </a:xfrm>
            <a:prstGeom prst="rect">
              <a:avLst/>
            </a:prstGeom>
            <a:noFill/>
            <a:ln w="9525">
              <a:noFill/>
              <a:miter lim="800000"/>
              <a:headEnd/>
              <a:tailEnd/>
            </a:ln>
          </p:spPr>
          <p:txBody>
            <a:bodyPr wrap="none" lIns="0" tIns="0" rIns="0" bIns="0" anchor="ctr">
              <a:spAutoFit/>
            </a:bodyPr>
            <a:lstStyle/>
            <a:p>
              <a:pPr defTabSz="762000" eaLnBrk="0" hangingPunct="0"/>
              <a:r>
                <a:rPr lang="de-DE" sz="1000" b="0" dirty="0">
                  <a:solidFill>
                    <a:srgbClr val="000000"/>
                  </a:solidFill>
                  <a:latin typeface="+mj-lt"/>
                  <a:cs typeface="Arial" panose="020B0604020202020204" pitchFamily="34" charset="0"/>
                </a:rPr>
                <a:t>60 min</a:t>
              </a:r>
            </a:p>
          </p:txBody>
        </p:sp>
        <p:sp>
          <p:nvSpPr>
            <p:cNvPr id="300" name="Rectangle 8"/>
            <p:cNvSpPr>
              <a:spLocks noChangeAspect="1" noChangeArrowheads="1"/>
            </p:cNvSpPr>
            <p:nvPr/>
          </p:nvSpPr>
          <p:spPr bwMode="gray">
            <a:xfrm>
              <a:off x="467294" y="5624186"/>
              <a:ext cx="152400" cy="109864"/>
            </a:xfrm>
            <a:prstGeom prst="rect">
              <a:avLst/>
            </a:prstGeom>
            <a:solidFill>
              <a:schemeClr val="accent5"/>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chemeClr val="accent3"/>
                  </a:solidFill>
                  <a:prstDash val="solid"/>
                  <a:miter lim="800000"/>
                  <a:headEnd type="none" w="med" len="med"/>
                  <a:tailEnd type="none" w="med" len="med"/>
                </a14:hiddenLine>
              </a:ext>
            </a:extLst>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mj-lt"/>
                <a:cs typeface="Arial" panose="020B0604020202020204" pitchFamily="34" charset="0"/>
              </a:endParaRPr>
            </a:p>
          </p:txBody>
        </p:sp>
      </p:grpSp>
      <p:sp>
        <p:nvSpPr>
          <p:cNvPr id="310" name="Rectangle 11"/>
          <p:cNvSpPr>
            <a:spLocks noChangeArrowheads="1"/>
          </p:cNvSpPr>
          <p:nvPr/>
        </p:nvSpPr>
        <p:spPr bwMode="gray">
          <a:xfrm>
            <a:off x="5070755" y="2712215"/>
            <a:ext cx="1248740" cy="153888"/>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solidFill>
                  <a:srgbClr val="000000"/>
                </a:solidFill>
                <a:latin typeface="+mj-lt"/>
                <a:cs typeface="Arial" panose="020B0604020202020204" pitchFamily="34" charset="0"/>
              </a:rPr>
              <a:t>Not part of first </a:t>
            </a:r>
            <a:r>
              <a:rPr lang="en-GB" sz="1000" b="0" dirty="0" err="1">
                <a:solidFill>
                  <a:srgbClr val="000000"/>
                </a:solidFill>
                <a:latin typeface="+mj-lt"/>
                <a:cs typeface="Arial" panose="020B0604020202020204" pitchFamily="34" charset="0"/>
              </a:rPr>
              <a:t>go-live</a:t>
            </a:r>
            <a:endParaRPr lang="en-GB" sz="1000" b="0" dirty="0">
              <a:solidFill>
                <a:srgbClr val="000000"/>
              </a:solidFill>
              <a:latin typeface="+mj-lt"/>
              <a:cs typeface="Arial" panose="020B0604020202020204" pitchFamily="34" charset="0"/>
            </a:endParaRPr>
          </a:p>
        </p:txBody>
      </p:sp>
      <p:sp>
        <p:nvSpPr>
          <p:cNvPr id="311" name="Rectangle 12"/>
          <p:cNvSpPr>
            <a:spLocks noChangeAspect="1" noChangeArrowheads="1"/>
          </p:cNvSpPr>
          <p:nvPr/>
        </p:nvSpPr>
        <p:spPr bwMode="gray">
          <a:xfrm>
            <a:off x="4868218" y="2735853"/>
            <a:ext cx="148432" cy="105094"/>
          </a:xfrm>
          <a:prstGeom prst="rect">
            <a:avLst/>
          </a:prstGeom>
          <a:solidFill>
            <a:schemeClr val="accent3"/>
          </a:solidFill>
          <a:ln w="9525">
            <a:noFill/>
            <a:miter lim="800000"/>
            <a:headEnd/>
            <a:tailEnd/>
          </a:ln>
        </p:spPr>
        <p:txBody>
          <a:bodyPr lIns="54006" tIns="54006" rIns="54006" bIns="54006" anchor="ctr"/>
          <a:lstStyle/>
          <a:p>
            <a:pPr fontAlgn="auto">
              <a:spcBef>
                <a:spcPts val="0"/>
              </a:spcBef>
              <a:spcAft>
                <a:spcPts val="0"/>
              </a:spcAft>
              <a:tabLst>
                <a:tab pos="1800225" algn="r"/>
              </a:tabLst>
            </a:pPr>
            <a:endParaRPr lang="de-DE" sz="1000" kern="0" dirty="0">
              <a:solidFill>
                <a:schemeClr val="tx1"/>
              </a:solidFill>
              <a:latin typeface="+mj-lt"/>
              <a:cs typeface="Arial" panose="020B0604020202020204" pitchFamily="34" charset="0"/>
            </a:endParaRPr>
          </a:p>
        </p:txBody>
      </p:sp>
      <p:cxnSp>
        <p:nvCxnSpPr>
          <p:cNvPr id="134" name="Gerade Verbindung 133"/>
          <p:cNvCxnSpPr>
            <a:cxnSpLocks/>
          </p:cNvCxnSpPr>
          <p:nvPr/>
        </p:nvCxnSpPr>
        <p:spPr>
          <a:xfrm>
            <a:off x="2809218" y="4095796"/>
            <a:ext cx="519039" cy="8137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5" name="Pfeil nach links und rechts 134"/>
          <p:cNvSpPr/>
          <p:nvPr/>
        </p:nvSpPr>
        <p:spPr>
          <a:xfrm rot="518793">
            <a:off x="3057771" y="4098190"/>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40" name="Pfeil nach links und rechts 159"/>
          <p:cNvSpPr/>
          <p:nvPr/>
        </p:nvSpPr>
        <p:spPr>
          <a:xfrm rot="7883916">
            <a:off x="2004405" y="4874350"/>
            <a:ext cx="224803" cy="125314"/>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Tree>
    <p:extLst>
      <p:ext uri="{BB962C8B-B14F-4D97-AF65-F5344CB8AC3E}">
        <p14:creationId xmlns:p14="http://schemas.microsoft.com/office/powerpoint/2010/main" val="18400369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Gate opening (GOT) and gate closure (GCT) </a:t>
            </a:r>
            <a:r>
              <a:rPr lang="en-GB" dirty="0" smtClean="0"/>
              <a:t>times </a:t>
            </a:r>
            <a:r>
              <a:rPr lang="en-GB" dirty="0"/>
              <a:t>today</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3</a:t>
            </a:fld>
            <a:endParaRPr lang="en-US" altLang="en-US" dirty="0"/>
          </a:p>
        </p:txBody>
      </p:sp>
      <p:sp>
        <p:nvSpPr>
          <p:cNvPr id="245" name="CuadroTexto 244"/>
          <p:cNvSpPr txBox="1"/>
          <p:nvPr/>
        </p:nvSpPr>
        <p:spPr>
          <a:xfrm>
            <a:off x="665533" y="6255908"/>
            <a:ext cx="3997273" cy="415498"/>
          </a:xfrm>
          <a:prstGeom prst="rect">
            <a:avLst/>
          </a:prstGeom>
          <a:noFill/>
        </p:spPr>
        <p:txBody>
          <a:bodyPr wrap="square" lIns="0" tIns="0" rIns="0" bIns="0" rtlCol="0">
            <a:spAutoFit/>
          </a:bodyPr>
          <a:lstStyle/>
          <a:p>
            <a:r>
              <a:rPr lang="en-US" sz="900" dirty="0"/>
              <a:t>* GCT dependent on delivery hour</a:t>
            </a:r>
          </a:p>
          <a:p>
            <a:r>
              <a:rPr lang="en-US" sz="900" dirty="0"/>
              <a:t>** For DE-FR border, the same GCT applies for both half-hours of a given hour, cf. detailed slides on DE-FR</a:t>
            </a:r>
          </a:p>
        </p:txBody>
      </p:sp>
      <p:grpSp>
        <p:nvGrpSpPr>
          <p:cNvPr id="7" name="Gruppe 4"/>
          <p:cNvGrpSpPr>
            <a:grpSpLocks noChangeAspect="1"/>
          </p:cNvGrpSpPr>
          <p:nvPr/>
        </p:nvGrpSpPr>
        <p:grpSpPr>
          <a:xfrm>
            <a:off x="3175853" y="1316705"/>
            <a:ext cx="4537241" cy="5001562"/>
            <a:chOff x="796725" y="2258402"/>
            <a:chExt cx="3579501" cy="4314154"/>
          </a:xfrm>
        </p:grpSpPr>
        <p:grpSp>
          <p:nvGrpSpPr>
            <p:cNvPr id="221" name="Group 4"/>
            <p:cNvGrpSpPr/>
            <p:nvPr/>
          </p:nvGrpSpPr>
          <p:grpSpPr>
            <a:xfrm>
              <a:off x="796725" y="2258402"/>
              <a:ext cx="3579501" cy="4314154"/>
              <a:chOff x="2860933" y="1700213"/>
              <a:chExt cx="3675187" cy="4429479"/>
            </a:xfrm>
            <a:solidFill>
              <a:schemeClr val="accent3"/>
            </a:solidFill>
          </p:grpSpPr>
          <p:sp>
            <p:nvSpPr>
              <p:cNvPr id="222" name="ee4p_AL_1_15912"/>
              <p:cNvSpPr>
                <a:spLocks noChangeAspect="1"/>
              </p:cNvSpPr>
              <p:nvPr>
                <p:custDataLst>
                  <p:tags r:id="rId1"/>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23" name="ee4p_AD_1_15912"/>
              <p:cNvSpPr>
                <a:spLocks noChangeAspect="1"/>
              </p:cNvSpPr>
              <p:nvPr>
                <p:custDataLst>
                  <p:tags r:id="rId2"/>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26" name="ee4p_AT_1_15912"/>
              <p:cNvSpPr>
                <a:spLocks noChangeAspect="1"/>
              </p:cNvSpPr>
              <p:nvPr>
                <p:custDataLst>
                  <p:tags r:id="rId3"/>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29" name="ee4p_BE_1_15912"/>
              <p:cNvSpPr>
                <a:spLocks noChangeAspect="1"/>
              </p:cNvSpPr>
              <p:nvPr>
                <p:custDataLst>
                  <p:tags r:id="rId4"/>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35" name="ee4p_BG_1_15912"/>
              <p:cNvSpPr>
                <a:spLocks noChangeAspect="1"/>
              </p:cNvSpPr>
              <p:nvPr>
                <p:custDataLst>
                  <p:tags r:id="rId5"/>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44" name="ee4p_BA_1_15912"/>
              <p:cNvSpPr>
                <a:spLocks noChangeAspect="1"/>
              </p:cNvSpPr>
              <p:nvPr>
                <p:custDataLst>
                  <p:tags r:id="rId6"/>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48" name="ee4p_CH_1_15912"/>
              <p:cNvSpPr>
                <a:spLocks noChangeAspect="1"/>
              </p:cNvSpPr>
              <p:nvPr>
                <p:custDataLst>
                  <p:tags r:id="rId7"/>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49" name="ee4p_CZ_1_15912"/>
              <p:cNvSpPr>
                <a:spLocks noChangeAspect="1"/>
              </p:cNvSpPr>
              <p:nvPr>
                <p:custDataLst>
                  <p:tags r:id="rId8"/>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0" name="ee4p_DE_1_15912"/>
              <p:cNvSpPr>
                <a:spLocks noChangeAspect="1"/>
              </p:cNvSpPr>
              <p:nvPr>
                <p:custDataLst>
                  <p:tags r:id="rId9"/>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1" name="ee4p_DK_1_15912"/>
              <p:cNvSpPr>
                <a:spLocks noChangeAspect="1"/>
              </p:cNvSpPr>
              <p:nvPr>
                <p:custDataLst>
                  <p:tags r:id="rId10"/>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2" name="ee4p_DK_2_15912"/>
              <p:cNvSpPr>
                <a:spLocks noChangeAspect="1"/>
              </p:cNvSpPr>
              <p:nvPr>
                <p:custDataLst>
                  <p:tags r:id="rId11"/>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3" name="ee4p_ES_1_15912"/>
              <p:cNvSpPr>
                <a:spLocks noChangeAspect="1"/>
              </p:cNvSpPr>
              <p:nvPr>
                <p:custDataLst>
                  <p:tags r:id="rId12"/>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4" name="ee4p_ES_2_15912"/>
              <p:cNvSpPr>
                <a:spLocks noChangeAspect="1"/>
              </p:cNvSpPr>
              <p:nvPr>
                <p:custDataLst>
                  <p:tags r:id="rId13"/>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5" name="ee4p_EE_1_15912"/>
              <p:cNvSpPr>
                <a:spLocks noChangeAspect="1"/>
              </p:cNvSpPr>
              <p:nvPr>
                <p:custDataLst>
                  <p:tags r:id="rId14"/>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6" name="ee4p_FI_1_15912"/>
              <p:cNvSpPr>
                <a:spLocks noChangeAspect="1"/>
              </p:cNvSpPr>
              <p:nvPr>
                <p:custDataLst>
                  <p:tags r:id="rId15"/>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7" name="ee4p_FR_1_15912"/>
              <p:cNvSpPr>
                <a:spLocks noChangeAspect="1"/>
              </p:cNvSpPr>
              <p:nvPr>
                <p:custDataLst>
                  <p:tags r:id="rId16"/>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8" name="ee4p_GB_1_15912"/>
              <p:cNvSpPr>
                <a:spLocks noChangeAspect="1"/>
              </p:cNvSpPr>
              <p:nvPr>
                <p:custDataLst>
                  <p:tags r:id="rId17"/>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59" name="ee4p_GR_1_15912"/>
              <p:cNvSpPr>
                <a:spLocks noChangeAspect="1"/>
              </p:cNvSpPr>
              <p:nvPr>
                <p:custDataLst>
                  <p:tags r:id="rId18"/>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67" name="ee4p_HR_1_15912"/>
              <p:cNvSpPr>
                <a:spLocks noChangeAspect="1"/>
              </p:cNvSpPr>
              <p:nvPr>
                <p:custDataLst>
                  <p:tags r:id="rId19"/>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68" name="ee4p_HU_1_15912"/>
              <p:cNvSpPr>
                <a:spLocks noChangeAspect="1"/>
              </p:cNvSpPr>
              <p:nvPr>
                <p:custDataLst>
                  <p:tags r:id="rId20"/>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69" name="ee4p_IE_1_15912"/>
              <p:cNvSpPr>
                <a:spLocks noChangeAspect="1"/>
              </p:cNvSpPr>
              <p:nvPr>
                <p:custDataLst>
                  <p:tags r:id="rId21"/>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70" name="ee4p_IT_1_15912"/>
              <p:cNvSpPr>
                <a:spLocks noChangeAspect="1"/>
              </p:cNvSpPr>
              <p:nvPr>
                <p:custDataLst>
                  <p:tags r:id="rId22"/>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73" name="ee4p_SM_1_15912"/>
              <p:cNvSpPr>
                <a:spLocks noChangeAspect="1"/>
              </p:cNvSpPr>
              <p:nvPr>
                <p:custDataLst>
                  <p:tags r:id="rId23"/>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74" name="ee4p_XK_1_15912"/>
              <p:cNvSpPr>
                <a:spLocks noChangeAspect="1"/>
              </p:cNvSpPr>
              <p:nvPr>
                <p:custDataLst>
                  <p:tags r:id="rId24"/>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299" name="ee4p_LI_1_15912"/>
              <p:cNvSpPr>
                <a:spLocks noChangeAspect="1"/>
              </p:cNvSpPr>
              <p:nvPr>
                <p:custDataLst>
                  <p:tags r:id="rId25"/>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0" name="ee4p_LT_1_15912"/>
              <p:cNvSpPr>
                <a:spLocks noChangeAspect="1"/>
              </p:cNvSpPr>
              <p:nvPr>
                <p:custDataLst>
                  <p:tags r:id="rId26"/>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1" name="ee4p_LU_1_15912"/>
              <p:cNvSpPr>
                <a:spLocks noChangeAspect="1"/>
              </p:cNvSpPr>
              <p:nvPr>
                <p:custDataLst>
                  <p:tags r:id="rId27"/>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2" name="ee4p_LV_1_15912"/>
              <p:cNvSpPr>
                <a:spLocks noChangeAspect="1"/>
              </p:cNvSpPr>
              <p:nvPr>
                <p:custDataLst>
                  <p:tags r:id="rId28"/>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3" name="ee4p_MC_1_15912"/>
              <p:cNvSpPr>
                <a:spLocks noChangeAspect="1"/>
              </p:cNvSpPr>
              <p:nvPr>
                <p:custDataLst>
                  <p:tags r:id="rId29"/>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4" name="ee4p_MK_1_15912"/>
              <p:cNvSpPr>
                <a:spLocks noChangeAspect="1"/>
              </p:cNvSpPr>
              <p:nvPr>
                <p:custDataLst>
                  <p:tags r:id="rId30"/>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5" name="ee4p_MT_1_15912"/>
              <p:cNvSpPr>
                <a:spLocks noChangeAspect="1"/>
              </p:cNvSpPr>
              <p:nvPr>
                <p:custDataLst>
                  <p:tags r:id="rId31"/>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6" name="ee4p_MT_2_15912"/>
              <p:cNvSpPr>
                <a:spLocks noChangeAspect="1"/>
              </p:cNvSpPr>
              <p:nvPr>
                <p:custDataLst>
                  <p:tags r:id="rId32"/>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7" name="ee4p_ME_1_15912"/>
              <p:cNvSpPr>
                <a:spLocks noChangeAspect="1"/>
              </p:cNvSpPr>
              <p:nvPr>
                <p:custDataLst>
                  <p:tags r:id="rId33"/>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8" name="ee4p_NL_1_15912"/>
              <p:cNvSpPr>
                <a:spLocks noChangeAspect="1"/>
              </p:cNvSpPr>
              <p:nvPr>
                <p:custDataLst>
                  <p:tags r:id="rId34"/>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09" name="ee4p_NO_1_15912"/>
              <p:cNvSpPr>
                <a:spLocks noChangeAspect="1"/>
              </p:cNvSpPr>
              <p:nvPr>
                <p:custDataLst>
                  <p:tags r:id="rId35"/>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0" name="ee4p_PL_1_15912"/>
              <p:cNvSpPr>
                <a:spLocks noChangeAspect="1"/>
              </p:cNvSpPr>
              <p:nvPr>
                <p:custDataLst>
                  <p:tags r:id="rId36"/>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1" name="ee4p_PT_1_15912"/>
              <p:cNvSpPr>
                <a:spLocks noChangeAspect="1"/>
              </p:cNvSpPr>
              <p:nvPr>
                <p:custDataLst>
                  <p:tags r:id="rId37"/>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2" name="ee4p_RO_1_15912"/>
              <p:cNvSpPr>
                <a:spLocks noChangeAspect="1"/>
              </p:cNvSpPr>
              <p:nvPr>
                <p:custDataLst>
                  <p:tags r:id="rId38"/>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3" name="ee4p_IT_2_15912"/>
              <p:cNvSpPr>
                <a:spLocks noChangeAspect="1"/>
              </p:cNvSpPr>
              <p:nvPr>
                <p:custDataLst>
                  <p:tags r:id="rId39"/>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7" name="ee4p_RS_1_15912"/>
              <p:cNvSpPr>
                <a:spLocks noChangeAspect="1"/>
              </p:cNvSpPr>
              <p:nvPr>
                <p:custDataLst>
                  <p:tags r:id="rId40"/>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8" name="ee4p_SK_1_15912"/>
              <p:cNvSpPr>
                <a:spLocks noChangeAspect="1"/>
              </p:cNvSpPr>
              <p:nvPr>
                <p:custDataLst>
                  <p:tags r:id="rId41"/>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19" name="ee4p_SI_1_15912"/>
              <p:cNvSpPr>
                <a:spLocks noChangeAspect="1"/>
              </p:cNvSpPr>
              <p:nvPr>
                <p:custDataLst>
                  <p:tags r:id="rId42"/>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0" name="ee4p_SE_1_15912"/>
              <p:cNvSpPr>
                <a:spLocks noChangeAspect="1"/>
              </p:cNvSpPr>
              <p:nvPr>
                <p:custDataLst>
                  <p:tags r:id="rId43"/>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1" name="ee4p_VA_1_15912"/>
              <p:cNvSpPr>
                <a:spLocks noChangeAspect="1"/>
              </p:cNvSpPr>
              <p:nvPr>
                <p:custDataLst>
                  <p:tags r:id="rId44"/>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grpSp>
        <p:cxnSp>
          <p:nvCxnSpPr>
            <p:cNvPr id="217" name="Gerade Verbindung 216"/>
            <p:cNvCxnSpPr>
              <a:cxnSpLocks noChangeAspect="1"/>
            </p:cNvCxnSpPr>
            <p:nvPr/>
          </p:nvCxnSpPr>
          <p:spPr>
            <a:xfrm flipH="1">
              <a:off x="2214771" y="4074820"/>
              <a:ext cx="50147" cy="57755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8" name="Gerade Verbindung 217"/>
            <p:cNvCxnSpPr>
              <a:cxnSpLocks noChangeAspect="1"/>
            </p:cNvCxnSpPr>
            <p:nvPr/>
          </p:nvCxnSpPr>
          <p:spPr>
            <a:xfrm flipH="1">
              <a:off x="2692109" y="4389544"/>
              <a:ext cx="60211" cy="18500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9" name="Gerade Verbindung 218"/>
            <p:cNvCxnSpPr>
              <a:cxnSpLocks noChangeAspect="1"/>
            </p:cNvCxnSpPr>
            <p:nvPr/>
          </p:nvCxnSpPr>
          <p:spPr>
            <a:xfrm>
              <a:off x="2338311" y="4066273"/>
              <a:ext cx="105461" cy="18043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0" name="Gerade Verbindung 219"/>
            <p:cNvCxnSpPr>
              <a:cxnSpLocks noChangeAspect="1"/>
            </p:cNvCxnSpPr>
            <p:nvPr/>
          </p:nvCxnSpPr>
          <p:spPr>
            <a:xfrm flipH="1">
              <a:off x="3873413" y="3733544"/>
              <a:ext cx="33575" cy="18807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8" name="Pfeil nach links und rechts 147"/>
            <p:cNvSpPr/>
            <p:nvPr/>
          </p:nvSpPr>
          <p:spPr>
            <a:xfrm>
              <a:off x="2583387" y="3687742"/>
              <a:ext cx="286355" cy="156064"/>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49" name="Pfeil nach links und rechts 148"/>
            <p:cNvSpPr/>
            <p:nvPr/>
          </p:nvSpPr>
          <p:spPr>
            <a:xfrm>
              <a:off x="3600539" y="2806919"/>
              <a:ext cx="261361" cy="173107"/>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0" name="Pfeil nach links und rechts 149"/>
            <p:cNvSpPr/>
            <p:nvPr/>
          </p:nvSpPr>
          <p:spPr>
            <a:xfrm rot="16637802">
              <a:off x="2068916" y="4283930"/>
              <a:ext cx="354658" cy="178642"/>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1" name="Pfeil nach links und rechts 150"/>
            <p:cNvSpPr/>
            <p:nvPr/>
          </p:nvSpPr>
          <p:spPr>
            <a:xfrm rot="14592840">
              <a:off x="2243995" y="4031426"/>
              <a:ext cx="300141" cy="145650"/>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2" name="Pfeil nach links und rechts 151"/>
            <p:cNvSpPr/>
            <p:nvPr/>
          </p:nvSpPr>
          <p:spPr>
            <a:xfrm rot="17513078">
              <a:off x="2557268" y="4447247"/>
              <a:ext cx="280595" cy="157548"/>
            </a:xfrm>
            <a:prstGeom prst="lef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4" name="Pfeil nach links und rechts 153"/>
            <p:cNvSpPr/>
            <p:nvPr/>
          </p:nvSpPr>
          <p:spPr>
            <a:xfrm rot="6014458">
              <a:off x="3744028" y="3753381"/>
              <a:ext cx="322571" cy="128342"/>
            </a:xfrm>
            <a:prstGeom prst="leftRigh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5" name="Pfeil nach links und rechts 154"/>
            <p:cNvSpPr/>
            <p:nvPr/>
          </p:nvSpPr>
          <p:spPr>
            <a:xfrm rot="6014458">
              <a:off x="3791644" y="4085825"/>
              <a:ext cx="261808" cy="1392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6" name="Pfeil nach links und rechts 155"/>
            <p:cNvSpPr/>
            <p:nvPr/>
          </p:nvSpPr>
          <p:spPr>
            <a:xfrm rot="6014458">
              <a:off x="3657343" y="4250792"/>
              <a:ext cx="251449" cy="142529"/>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7" name="Pfeil nach links und rechts 156"/>
            <p:cNvSpPr/>
            <p:nvPr/>
          </p:nvSpPr>
          <p:spPr>
            <a:xfrm rot="5683661">
              <a:off x="2364995" y="4370457"/>
              <a:ext cx="286760" cy="128844"/>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58" name="Pfeil nach links und rechts 157"/>
            <p:cNvSpPr/>
            <p:nvPr/>
          </p:nvSpPr>
          <p:spPr>
            <a:xfrm>
              <a:off x="2145046" y="4597614"/>
              <a:ext cx="287940" cy="168638"/>
            </a:xfrm>
            <a:prstGeom prst="lef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159" name="Pfeil nach links und rechts 158"/>
            <p:cNvSpPr/>
            <p:nvPr/>
          </p:nvSpPr>
          <p:spPr>
            <a:xfrm rot="6347083">
              <a:off x="2009861" y="4772023"/>
              <a:ext cx="282905" cy="162053"/>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0" name="Pfeil nach links und rechts 159"/>
            <p:cNvSpPr/>
            <p:nvPr/>
          </p:nvSpPr>
          <p:spPr>
            <a:xfrm rot="6347083">
              <a:off x="1944341" y="5019366"/>
              <a:ext cx="322425" cy="165442"/>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1" name="Pfeil nach links und rechts 160"/>
            <p:cNvSpPr/>
            <p:nvPr/>
          </p:nvSpPr>
          <p:spPr>
            <a:xfrm rot="6825114">
              <a:off x="1615500" y="5704585"/>
              <a:ext cx="299798" cy="148175"/>
            </a:xfrm>
            <a:prstGeom prst="lef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62" name="Pfeil nach links und rechts 161"/>
            <p:cNvSpPr/>
            <p:nvPr/>
          </p:nvSpPr>
          <p:spPr>
            <a:xfrm>
              <a:off x="999255" y="5987261"/>
              <a:ext cx="277934" cy="152974"/>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4" name="Pfeil nach links und rechts 151"/>
            <p:cNvSpPr/>
            <p:nvPr/>
          </p:nvSpPr>
          <p:spPr>
            <a:xfrm rot="19637112">
              <a:off x="2540199" y="4020688"/>
              <a:ext cx="289601" cy="208375"/>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6" name="Pfeil nach links und rechts 151"/>
            <p:cNvSpPr/>
            <p:nvPr/>
          </p:nvSpPr>
          <p:spPr>
            <a:xfrm rot="19637112">
              <a:off x="2678919" y="4254027"/>
              <a:ext cx="260227" cy="167538"/>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276" name="Gerade Verbindung 275"/>
            <p:cNvCxnSpPr>
              <a:cxnSpLocks/>
            </p:cNvCxnSpPr>
            <p:nvPr/>
          </p:nvCxnSpPr>
          <p:spPr>
            <a:xfrm>
              <a:off x="2990793" y="4298592"/>
              <a:ext cx="518077" cy="9482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77" name="Pfeil nach links und rechts 276"/>
            <p:cNvSpPr/>
            <p:nvPr/>
          </p:nvSpPr>
          <p:spPr>
            <a:xfrm rot="726400">
              <a:off x="3100338" y="4270073"/>
              <a:ext cx="272459" cy="149916"/>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nvGrpSpPr>
          <p:cNvPr id="8" name="Gruppe 5"/>
          <p:cNvGrpSpPr/>
          <p:nvPr/>
        </p:nvGrpSpPr>
        <p:grpSpPr>
          <a:xfrm>
            <a:off x="631530" y="1316704"/>
            <a:ext cx="2544794" cy="2956963"/>
            <a:chOff x="489637" y="1297535"/>
            <a:chExt cx="2063303" cy="2160344"/>
          </a:xfrm>
        </p:grpSpPr>
        <p:sp>
          <p:nvSpPr>
            <p:cNvPr id="100" name="Textfeld 99"/>
            <p:cNvSpPr txBox="1"/>
            <p:nvPr/>
          </p:nvSpPr>
          <p:spPr>
            <a:xfrm>
              <a:off x="489637" y="1297535"/>
              <a:ext cx="1172370" cy="179888"/>
            </a:xfrm>
            <a:prstGeom prst="rect">
              <a:avLst/>
            </a:prstGeom>
            <a:noFill/>
          </p:spPr>
          <p:txBody>
            <a:bodyPr wrap="square" lIns="0" tIns="0" rIns="0" bIns="0" rtlCol="0">
              <a:spAutoFit/>
            </a:bodyPr>
            <a:lstStyle/>
            <a:p>
              <a:r>
                <a:rPr lang="en-GB" sz="1600" b="1" dirty="0">
                  <a:latin typeface="+mn-lt"/>
                </a:rPr>
                <a:t>Today</a:t>
              </a:r>
            </a:p>
          </p:txBody>
        </p:sp>
        <p:sp>
          <p:nvSpPr>
            <p:cNvPr id="174" name="Rectangle 5"/>
            <p:cNvSpPr>
              <a:spLocks noChangeArrowheads="1"/>
            </p:cNvSpPr>
            <p:nvPr/>
          </p:nvSpPr>
          <p:spPr bwMode="gray">
            <a:xfrm>
              <a:off x="791064" y="2894379"/>
              <a:ext cx="1746412" cy="112430"/>
            </a:xfrm>
            <a:prstGeom prst="rect">
              <a:avLst/>
            </a:prstGeom>
            <a:noFill/>
            <a:ln w="9525">
              <a:noFill/>
              <a:miter lim="800000"/>
              <a:headEnd/>
              <a:tailEnd/>
            </a:ln>
          </p:spPr>
          <p:txBody>
            <a:bodyPr wrap="squar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GOT</a:t>
              </a:r>
              <a:r>
                <a:rPr lang="en-GB" sz="1000" b="0" baseline="-25000" dirty="0">
                  <a:solidFill>
                    <a:srgbClr val="000000"/>
                  </a:solidFill>
                  <a:latin typeface="+mn-lt"/>
                  <a:cs typeface="Arial" panose="020B0604020202020204" pitchFamily="34" charset="0"/>
                </a:rPr>
                <a:t>1</a:t>
              </a:r>
              <a:r>
                <a:rPr lang="en-GB" sz="1000" b="0" dirty="0">
                  <a:solidFill>
                    <a:srgbClr val="000000"/>
                  </a:solidFill>
                  <a:latin typeface="+mn-lt"/>
                  <a:cs typeface="Arial" panose="020B0604020202020204" pitchFamily="34" charset="0"/>
                </a:rPr>
                <a:t> 16:15 D-1, GOT</a:t>
              </a:r>
              <a:r>
                <a:rPr lang="en-GB" sz="1000" b="0" baseline="-25000" dirty="0">
                  <a:solidFill>
                    <a:srgbClr val="000000"/>
                  </a:solidFill>
                  <a:latin typeface="+mn-lt"/>
                  <a:cs typeface="Arial" panose="020B0604020202020204" pitchFamily="34" charset="0"/>
                </a:rPr>
                <a:t>2</a:t>
              </a:r>
              <a:r>
                <a:rPr lang="en-GB" sz="1000" b="0" dirty="0">
                  <a:solidFill>
                    <a:srgbClr val="000000"/>
                  </a:solidFill>
                  <a:latin typeface="+mn-lt"/>
                  <a:cs typeface="Arial" panose="020B0604020202020204" pitchFamily="34" charset="0"/>
                </a:rPr>
                <a:t> 11:15 D*</a:t>
              </a:r>
            </a:p>
          </p:txBody>
        </p:sp>
        <p:sp>
          <p:nvSpPr>
            <p:cNvPr id="246" name="Pfeil nach links und rechts 145"/>
            <p:cNvSpPr/>
            <p:nvPr/>
          </p:nvSpPr>
          <p:spPr>
            <a:xfrm>
              <a:off x="561290" y="2907040"/>
              <a:ext cx="169366" cy="92333"/>
            </a:xfrm>
            <a:prstGeom prst="lef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nvGrpSpPr>
            <p:cNvPr id="280" name="Gruppe 172"/>
            <p:cNvGrpSpPr/>
            <p:nvPr/>
          </p:nvGrpSpPr>
          <p:grpSpPr>
            <a:xfrm>
              <a:off x="504709" y="1555606"/>
              <a:ext cx="1753033" cy="1902273"/>
              <a:chOff x="596016" y="2075264"/>
              <a:chExt cx="1753033" cy="1902273"/>
            </a:xfrm>
          </p:grpSpPr>
          <p:grpSp>
            <p:nvGrpSpPr>
              <p:cNvPr id="281" name="Gruppieren 1"/>
              <p:cNvGrpSpPr>
                <a:grpSpLocks/>
              </p:cNvGrpSpPr>
              <p:nvPr/>
            </p:nvGrpSpPr>
            <p:grpSpPr>
              <a:xfrm>
                <a:off x="596016" y="2075264"/>
                <a:ext cx="1753033" cy="1902273"/>
                <a:chOff x="395287" y="5189345"/>
                <a:chExt cx="1799890" cy="1988618"/>
              </a:xfrm>
            </p:grpSpPr>
            <p:sp>
              <p:nvSpPr>
                <p:cNvPr id="286" name="Line 4"/>
                <p:cNvSpPr>
                  <a:spLocks noChangeShapeType="1"/>
                </p:cNvSpPr>
                <p:nvPr/>
              </p:nvSpPr>
              <p:spPr bwMode="gray">
                <a:xfrm rot="16200000">
                  <a:off x="-597501" y="6185174"/>
                  <a:ext cx="1985577" cy="1"/>
                </a:xfrm>
                <a:prstGeom prst="line">
                  <a:avLst/>
                </a:prstGeom>
                <a:noFill/>
                <a:ln w="9525" cap="flat" cmpd="sng" algn="ctr">
                  <a:solidFill>
                    <a:schemeClr val="accent3"/>
                  </a:solidFill>
                  <a:prstDash val="solid"/>
                  <a:miter lim="800000"/>
                  <a:headEnd type="none" w="med" len="med"/>
                  <a:tailEnd type="none" w="med" len="med"/>
                </a:ln>
              </p:spPr>
              <p:txBody>
                <a:bodyPr/>
                <a:lstStyle/>
                <a:p>
                  <a:endParaRPr lang="en-GB" sz="1000" dirty="0">
                    <a:latin typeface="+mn-lt"/>
                    <a:cs typeface="Arial" panose="020B0604020202020204" pitchFamily="34" charset="0"/>
                  </a:endParaRPr>
                </a:p>
              </p:txBody>
            </p:sp>
            <p:sp>
              <p:nvSpPr>
                <p:cNvPr id="287" name="Rectangle 5"/>
                <p:cNvSpPr>
                  <a:spLocks noChangeArrowheads="1"/>
                </p:cNvSpPr>
                <p:nvPr/>
              </p:nvSpPr>
              <p:spPr bwMode="gray">
                <a:xfrm>
                  <a:off x="675245" y="5615282"/>
                  <a:ext cx="1519932" cy="11753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GOT 21:00 D-1 GCT H-70min D</a:t>
                  </a:r>
                </a:p>
              </p:txBody>
            </p:sp>
            <p:sp>
              <p:nvSpPr>
                <p:cNvPr id="289" name="Rectangle 9"/>
                <p:cNvSpPr>
                  <a:spLocks noChangeArrowheads="1"/>
                </p:cNvSpPr>
                <p:nvPr/>
              </p:nvSpPr>
              <p:spPr bwMode="gray">
                <a:xfrm>
                  <a:off x="675245" y="5405246"/>
                  <a:ext cx="1519932" cy="11753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GOT 18:00 D-1 GCT H-60min D</a:t>
                  </a:r>
                </a:p>
              </p:txBody>
            </p:sp>
            <p:sp>
              <p:nvSpPr>
                <p:cNvPr id="290" name="Rectangle 11"/>
                <p:cNvSpPr>
                  <a:spLocks noChangeArrowheads="1"/>
                </p:cNvSpPr>
                <p:nvPr/>
              </p:nvSpPr>
              <p:spPr bwMode="gray">
                <a:xfrm>
                  <a:off x="675245" y="5189345"/>
                  <a:ext cx="1519932" cy="117533"/>
                </a:xfrm>
                <a:prstGeom prst="rect">
                  <a:avLst/>
                </a:prstGeom>
                <a:noFill/>
                <a:ln w="9525">
                  <a:noFill/>
                  <a:miter lim="800000"/>
                  <a:headEnd/>
                  <a:tailEnd/>
                </a:ln>
              </p:spPr>
              <p:txBody>
                <a:bodyPr wrap="none" lIns="0" tIns="0" rIns="0" bIns="0" anchor="ctr">
                  <a:spAutoFit/>
                </a:bodyPr>
                <a:lstStyle/>
                <a:p>
                  <a:pPr defTabSz="762000" eaLnBrk="0" hangingPunct="0"/>
                  <a:r>
                    <a:rPr lang="de-DE" sz="1000" dirty="0">
                      <a:latin typeface="+mn-lt"/>
                      <a:cs typeface="Arial" panose="020B0604020202020204" pitchFamily="34" charset="0"/>
                    </a:rPr>
                    <a:t>GOT 14:00 D-1 GCT H-60min D</a:t>
                  </a:r>
                </a:p>
              </p:txBody>
            </p:sp>
          </p:grpSp>
          <p:sp>
            <p:nvSpPr>
              <p:cNvPr id="282" name="Pfeil nach links und rechts 226"/>
              <p:cNvSpPr/>
              <p:nvPr/>
            </p:nvSpPr>
            <p:spPr>
              <a:xfrm>
                <a:off x="658964" y="2086539"/>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283" name="Pfeil nach links und rechts 138"/>
              <p:cNvSpPr/>
              <p:nvPr/>
            </p:nvSpPr>
            <p:spPr>
              <a:xfrm>
                <a:off x="658964" y="2291838"/>
                <a:ext cx="169366" cy="92333"/>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285" name="Pfeil nach links und rechts 146"/>
              <p:cNvSpPr/>
              <p:nvPr/>
            </p:nvSpPr>
            <p:spPr>
              <a:xfrm>
                <a:off x="664173" y="2492754"/>
                <a:ext cx="169366" cy="92333"/>
              </a:xfrm>
              <a:prstGeom prst="leftRight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grpSp>
        <p:sp>
          <p:nvSpPr>
            <p:cNvPr id="291" name="Rectangle 5"/>
            <p:cNvSpPr>
              <a:spLocks noChangeArrowheads="1"/>
            </p:cNvSpPr>
            <p:nvPr/>
          </p:nvSpPr>
          <p:spPr bwMode="gray">
            <a:xfrm>
              <a:off x="781200" y="2349741"/>
              <a:ext cx="1480364" cy="112430"/>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GOT 15:30 D-1 GCT H-60min D</a:t>
              </a:r>
            </a:p>
          </p:txBody>
        </p:sp>
        <p:sp>
          <p:nvSpPr>
            <p:cNvPr id="292" name="Pfeil nach links und rechts 146"/>
            <p:cNvSpPr/>
            <p:nvPr/>
          </p:nvSpPr>
          <p:spPr>
            <a:xfrm>
              <a:off x="570497" y="2359790"/>
              <a:ext cx="169366" cy="92333"/>
            </a:xfrm>
            <a:prstGeom prst="lef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93" name="Pfeil nach links und rechts 146"/>
            <p:cNvSpPr/>
            <p:nvPr/>
          </p:nvSpPr>
          <p:spPr>
            <a:xfrm>
              <a:off x="572235" y="2549171"/>
              <a:ext cx="169366" cy="92333"/>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94" name="Pfeil nach links und rechts 146"/>
            <p:cNvSpPr/>
            <p:nvPr/>
          </p:nvSpPr>
          <p:spPr>
            <a:xfrm>
              <a:off x="572235" y="2732109"/>
              <a:ext cx="169366" cy="92333"/>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95" name="Rectangle 5"/>
            <p:cNvSpPr>
              <a:spLocks noChangeArrowheads="1"/>
            </p:cNvSpPr>
            <p:nvPr/>
          </p:nvSpPr>
          <p:spPr bwMode="gray">
            <a:xfrm>
              <a:off x="787964" y="2533940"/>
              <a:ext cx="1560945" cy="112430"/>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GOT </a:t>
              </a:r>
              <a:r>
                <a:rPr lang="en-GB" sz="1000" dirty="0">
                  <a:latin typeface="+mn-lt"/>
                  <a:cs typeface="Arial" panose="020B0604020202020204" pitchFamily="34" charset="0"/>
                </a:rPr>
                <a:t>21</a:t>
              </a:r>
              <a:r>
                <a:rPr lang="en-GB" sz="1000" b="0" dirty="0">
                  <a:latin typeface="+mn-lt"/>
                  <a:cs typeface="Arial" panose="020B0604020202020204" pitchFamily="34" charset="0"/>
                </a:rPr>
                <a:t>:05 D-1 GCT H-60min D**</a:t>
              </a:r>
            </a:p>
          </p:txBody>
        </p:sp>
        <p:sp>
          <p:nvSpPr>
            <p:cNvPr id="296" name="Rectangle 5"/>
            <p:cNvSpPr>
              <a:spLocks noChangeArrowheads="1"/>
            </p:cNvSpPr>
            <p:nvPr/>
          </p:nvSpPr>
          <p:spPr bwMode="gray">
            <a:xfrm>
              <a:off x="789293" y="2717118"/>
              <a:ext cx="1480364" cy="112430"/>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GOT </a:t>
              </a:r>
              <a:r>
                <a:rPr lang="en-GB" sz="1000" dirty="0">
                  <a:latin typeface="+mn-lt"/>
                  <a:cs typeface="Arial" panose="020B0604020202020204" pitchFamily="34" charset="0"/>
                </a:rPr>
                <a:t>21</a:t>
              </a:r>
              <a:r>
                <a:rPr lang="en-GB" sz="1000" b="0" dirty="0">
                  <a:latin typeface="+mn-lt"/>
                  <a:cs typeface="Arial" panose="020B0604020202020204" pitchFamily="34" charset="0"/>
                </a:rPr>
                <a:t>:00 D-1 GCT H-60min D</a:t>
              </a:r>
            </a:p>
          </p:txBody>
        </p:sp>
        <p:sp>
          <p:nvSpPr>
            <p:cNvPr id="297" name="Rectangle 5"/>
            <p:cNvSpPr>
              <a:spLocks noChangeArrowheads="1"/>
            </p:cNvSpPr>
            <p:nvPr/>
          </p:nvSpPr>
          <p:spPr bwMode="gray">
            <a:xfrm>
              <a:off x="799032" y="3062094"/>
              <a:ext cx="1753908" cy="224861"/>
            </a:xfrm>
            <a:prstGeom prst="rect">
              <a:avLst/>
            </a:prstGeom>
            <a:noFill/>
            <a:ln w="9525">
              <a:noFill/>
              <a:miter lim="800000"/>
              <a:headEnd/>
              <a:tailEnd/>
            </a:ln>
          </p:spPr>
          <p:txBody>
            <a:bodyPr wrap="squar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6 Implicit auctions run by OMIE</a:t>
              </a:r>
              <a:br>
                <a:rPr lang="en-GB" sz="1000" b="0" dirty="0">
                  <a:solidFill>
                    <a:srgbClr val="000000"/>
                  </a:solidFill>
                  <a:latin typeface="+mn-lt"/>
                  <a:cs typeface="Arial" panose="020B0604020202020204" pitchFamily="34" charset="0"/>
                </a:rPr>
              </a:br>
              <a:r>
                <a:rPr lang="en-GB" sz="1000" b="0" dirty="0">
                  <a:solidFill>
                    <a:srgbClr val="000000"/>
                  </a:solidFill>
                  <a:latin typeface="+mn-lt"/>
                  <a:cs typeface="Arial" panose="020B0604020202020204" pitchFamily="34" charset="0"/>
                </a:rPr>
                <a:t>(2 in D-1, 4 in D)*</a:t>
              </a:r>
            </a:p>
          </p:txBody>
        </p:sp>
        <p:sp>
          <p:nvSpPr>
            <p:cNvPr id="298" name="Pfeil nach links und rechts 145"/>
            <p:cNvSpPr/>
            <p:nvPr/>
          </p:nvSpPr>
          <p:spPr>
            <a:xfrm>
              <a:off x="563051" y="3075253"/>
              <a:ext cx="169366" cy="92333"/>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315" name="Rectangle 11"/>
            <p:cNvSpPr>
              <a:spLocks noChangeArrowheads="1"/>
            </p:cNvSpPr>
            <p:nvPr/>
          </p:nvSpPr>
          <p:spPr bwMode="gray">
            <a:xfrm>
              <a:off x="777378" y="2170570"/>
              <a:ext cx="1480364" cy="112430"/>
            </a:xfrm>
            <a:prstGeom prst="rect">
              <a:avLst/>
            </a:prstGeom>
            <a:noFill/>
            <a:ln w="9525">
              <a:noFill/>
              <a:miter lim="800000"/>
              <a:headEnd/>
              <a:tailEnd/>
            </a:ln>
          </p:spPr>
          <p:txBody>
            <a:bodyPr wrap="none" lIns="0" tIns="0" rIns="0" bIns="0" anchor="ctr">
              <a:spAutoFit/>
            </a:bodyPr>
            <a:lstStyle/>
            <a:p>
              <a:pPr defTabSz="762000" eaLnBrk="0" hangingPunct="0"/>
              <a:r>
                <a:rPr lang="de-DE" sz="1000" dirty="0">
                  <a:latin typeface="+mn-lt"/>
                  <a:cs typeface="Arial" panose="020B0604020202020204" pitchFamily="34" charset="0"/>
                </a:rPr>
                <a:t>GOT 14:00 D-1 GCT H-60min D</a:t>
              </a:r>
            </a:p>
          </p:txBody>
        </p:sp>
        <p:sp>
          <p:nvSpPr>
            <p:cNvPr id="316" name="Pfeil nach links und rechts 226"/>
            <p:cNvSpPr/>
            <p:nvPr/>
          </p:nvSpPr>
          <p:spPr>
            <a:xfrm>
              <a:off x="567656" y="2181847"/>
              <a:ext cx="169366" cy="92333"/>
            </a:xfrm>
            <a:prstGeom prst="lef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181" name="Pfeil nach links und rechts 145"/>
            <p:cNvSpPr/>
            <p:nvPr/>
          </p:nvSpPr>
          <p:spPr>
            <a:xfrm>
              <a:off x="561547" y="3314903"/>
              <a:ext cx="169366" cy="92333"/>
            </a:xfrm>
            <a:prstGeom prst="leftRigh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82" name="Rectangle 7"/>
            <p:cNvSpPr>
              <a:spLocks noChangeArrowheads="1"/>
            </p:cNvSpPr>
            <p:nvPr/>
          </p:nvSpPr>
          <p:spPr bwMode="gray">
            <a:xfrm>
              <a:off x="799899" y="3324719"/>
              <a:ext cx="1480364" cy="112430"/>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GOT 1</a:t>
              </a:r>
              <a:r>
                <a:rPr lang="lv-LV" sz="1000" b="0" dirty="0">
                  <a:latin typeface="+mn-lt"/>
                  <a:cs typeface="Arial" panose="020B0604020202020204" pitchFamily="34" charset="0"/>
                </a:rPr>
                <a:t>4</a:t>
              </a:r>
              <a:r>
                <a:rPr lang="en-GB" sz="1000" b="0" dirty="0">
                  <a:latin typeface="+mn-lt"/>
                  <a:cs typeface="Arial" panose="020B0604020202020204" pitchFamily="34" charset="0"/>
                </a:rPr>
                <a:t>:00 D-1 GCT H-30min D</a:t>
              </a:r>
            </a:p>
          </p:txBody>
        </p:sp>
      </p:grpSp>
      <p:sp>
        <p:nvSpPr>
          <p:cNvPr id="99" name="Pfeil nach links und rechts 98"/>
          <p:cNvSpPr/>
          <p:nvPr/>
        </p:nvSpPr>
        <p:spPr>
          <a:xfrm rot="2735870">
            <a:off x="5483893" y="4675018"/>
            <a:ext cx="355788" cy="199546"/>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2" name="Pfeil nach links und rechts 159"/>
          <p:cNvSpPr/>
          <p:nvPr/>
        </p:nvSpPr>
        <p:spPr>
          <a:xfrm rot="7668867">
            <a:off x="4928040" y="4567495"/>
            <a:ext cx="309362" cy="186223"/>
          </a:xfrm>
          <a:prstGeom prst="lef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Tree>
    <p:extLst>
      <p:ext uri="{BB962C8B-B14F-4D97-AF65-F5344CB8AC3E}">
        <p14:creationId xmlns:p14="http://schemas.microsoft.com/office/powerpoint/2010/main" val="9381721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Gate opening (GOT) and gate closure (GCT) times as of </a:t>
            </a:r>
            <a:r>
              <a:rPr lang="en-GB" dirty="0" smtClean="0"/>
              <a:t>12.06.2018</a:t>
            </a:r>
            <a:endParaRPr lang="en-GB"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4</a:t>
            </a:fld>
            <a:endParaRPr lang="en-US" altLang="en-US" dirty="0"/>
          </a:p>
        </p:txBody>
      </p:sp>
      <p:sp>
        <p:nvSpPr>
          <p:cNvPr id="245" name="CuadroTexto 244"/>
          <p:cNvSpPr txBox="1"/>
          <p:nvPr/>
        </p:nvSpPr>
        <p:spPr>
          <a:xfrm>
            <a:off x="665533" y="6287100"/>
            <a:ext cx="3795931" cy="415498"/>
          </a:xfrm>
          <a:prstGeom prst="rect">
            <a:avLst/>
          </a:prstGeom>
          <a:noFill/>
        </p:spPr>
        <p:txBody>
          <a:bodyPr wrap="square" lIns="0" tIns="0" rIns="0" bIns="0" rtlCol="0">
            <a:spAutoFit/>
          </a:bodyPr>
          <a:lstStyle/>
          <a:p>
            <a:r>
              <a:rPr lang="en-US" sz="900" dirty="0"/>
              <a:t>* GCT dependent on delivery hour</a:t>
            </a:r>
          </a:p>
          <a:p>
            <a:r>
              <a:rPr lang="en-US" sz="900" dirty="0"/>
              <a:t>** For DE-FR border, the same GCT applies for both half-hours of a given hour, cf. detailed slides on DE-FR</a:t>
            </a:r>
          </a:p>
        </p:txBody>
      </p:sp>
      <p:grpSp>
        <p:nvGrpSpPr>
          <p:cNvPr id="6" name="Gruppe 5"/>
          <p:cNvGrpSpPr/>
          <p:nvPr/>
        </p:nvGrpSpPr>
        <p:grpSpPr>
          <a:xfrm>
            <a:off x="660222" y="1381128"/>
            <a:ext cx="2884276" cy="2527046"/>
            <a:chOff x="4895096" y="1149312"/>
            <a:chExt cx="2225991" cy="1692506"/>
          </a:xfrm>
        </p:grpSpPr>
        <p:sp>
          <p:nvSpPr>
            <p:cNvPr id="216" name="Textfeld 215"/>
            <p:cNvSpPr txBox="1"/>
            <p:nvPr/>
          </p:nvSpPr>
          <p:spPr>
            <a:xfrm>
              <a:off x="4895096" y="1149312"/>
              <a:ext cx="2225991" cy="329817"/>
            </a:xfrm>
            <a:prstGeom prst="rect">
              <a:avLst/>
            </a:prstGeom>
            <a:noFill/>
          </p:spPr>
          <p:txBody>
            <a:bodyPr wrap="square" lIns="0" tIns="0" rIns="0" bIns="0" rtlCol="0">
              <a:spAutoFit/>
            </a:bodyPr>
            <a:lstStyle/>
            <a:p>
              <a:r>
                <a:rPr lang="en-GB" sz="1600" b="1" dirty="0">
                  <a:latin typeface="+mn-lt"/>
                </a:rPr>
                <a:t>As of </a:t>
              </a:r>
              <a:r>
                <a:rPr lang="en-GB" sz="1600" b="1" dirty="0" smtClean="0">
                  <a:latin typeface="+mn-lt"/>
                </a:rPr>
                <a:t>12.06.2018 (for delivery on 13.06.2018)</a:t>
              </a:r>
              <a:endParaRPr lang="en-GB" sz="1600" b="1" dirty="0">
                <a:latin typeface="+mn-lt"/>
              </a:endParaRPr>
            </a:p>
          </p:txBody>
        </p:sp>
        <p:grpSp>
          <p:nvGrpSpPr>
            <p:cNvPr id="224" name="Gruppe 223"/>
            <p:cNvGrpSpPr/>
            <p:nvPr/>
          </p:nvGrpSpPr>
          <p:grpSpPr>
            <a:xfrm>
              <a:off x="4910558" y="1597548"/>
              <a:ext cx="1758481" cy="1098866"/>
              <a:chOff x="596017" y="2078173"/>
              <a:chExt cx="1758481" cy="1098866"/>
            </a:xfrm>
          </p:grpSpPr>
          <p:grpSp>
            <p:nvGrpSpPr>
              <p:cNvPr id="110" name="Gruppieren 1"/>
              <p:cNvGrpSpPr>
                <a:grpSpLocks/>
              </p:cNvGrpSpPr>
              <p:nvPr/>
            </p:nvGrpSpPr>
            <p:grpSpPr>
              <a:xfrm>
                <a:off x="596017" y="2078173"/>
                <a:ext cx="1758481" cy="1098866"/>
                <a:chOff x="395288" y="5192387"/>
                <a:chExt cx="1805484" cy="1148744"/>
              </a:xfrm>
            </p:grpSpPr>
            <p:sp>
              <p:nvSpPr>
                <p:cNvPr id="112" name="Line 4"/>
                <p:cNvSpPr>
                  <a:spLocks noChangeShapeType="1"/>
                </p:cNvSpPr>
                <p:nvPr/>
              </p:nvSpPr>
              <p:spPr bwMode="gray">
                <a:xfrm rot="16200000" flipV="1">
                  <a:off x="-179083" y="5766758"/>
                  <a:ext cx="1148744" cy="2"/>
                </a:xfrm>
                <a:prstGeom prst="line">
                  <a:avLst/>
                </a:prstGeom>
                <a:noFill/>
                <a:ln w="9525" cap="flat" cmpd="sng" algn="ctr">
                  <a:solidFill>
                    <a:schemeClr val="accent3"/>
                  </a:solidFill>
                  <a:prstDash val="solid"/>
                  <a:miter lim="800000"/>
                  <a:headEnd type="none" w="med" len="med"/>
                  <a:tailEnd type="none" w="med" len="med"/>
                </a:ln>
              </p:spPr>
              <p:txBody>
                <a:bodyPr/>
                <a:lstStyle/>
                <a:p>
                  <a:endParaRPr lang="en-GB" sz="1000" dirty="0">
                    <a:latin typeface="+mn-lt"/>
                    <a:cs typeface="Arial" panose="020B0604020202020204" pitchFamily="34" charset="0"/>
                  </a:endParaRPr>
                </a:p>
              </p:txBody>
            </p:sp>
            <p:sp>
              <p:nvSpPr>
                <p:cNvPr id="114" name="Rectangle 5"/>
                <p:cNvSpPr>
                  <a:spLocks noChangeArrowheads="1"/>
                </p:cNvSpPr>
                <p:nvPr/>
              </p:nvSpPr>
              <p:spPr bwMode="gray">
                <a:xfrm>
                  <a:off x="675245" y="6042351"/>
                  <a:ext cx="1525527" cy="107746"/>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GOT 22:00 D-1 GCT H-60min D**</a:t>
                  </a:r>
                </a:p>
              </p:txBody>
            </p:sp>
            <p:sp>
              <p:nvSpPr>
                <p:cNvPr id="116" name="Rectangle 7"/>
                <p:cNvSpPr>
                  <a:spLocks noChangeArrowheads="1"/>
                </p:cNvSpPr>
                <p:nvPr/>
              </p:nvSpPr>
              <p:spPr bwMode="gray">
                <a:xfrm>
                  <a:off x="675245" y="5626039"/>
                  <a:ext cx="1446774" cy="107746"/>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GOT 18:00 D-1 GCT H-30min D</a:t>
                  </a:r>
                </a:p>
              </p:txBody>
            </p:sp>
            <p:sp>
              <p:nvSpPr>
                <p:cNvPr id="118" name="Rectangle 9"/>
                <p:cNvSpPr>
                  <a:spLocks noChangeArrowheads="1"/>
                </p:cNvSpPr>
                <p:nvPr/>
              </p:nvSpPr>
              <p:spPr bwMode="gray">
                <a:xfrm>
                  <a:off x="675245" y="5410139"/>
                  <a:ext cx="1446774" cy="107746"/>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GOT 18:00 D-1 GCT H-60min D</a:t>
                  </a:r>
                </a:p>
              </p:txBody>
            </p:sp>
            <p:sp>
              <p:nvSpPr>
                <p:cNvPr id="120" name="Rectangle 11"/>
                <p:cNvSpPr>
                  <a:spLocks noChangeArrowheads="1"/>
                </p:cNvSpPr>
                <p:nvPr/>
              </p:nvSpPr>
              <p:spPr bwMode="gray">
                <a:xfrm>
                  <a:off x="675245" y="5194238"/>
                  <a:ext cx="1446774" cy="107746"/>
                </a:xfrm>
                <a:prstGeom prst="rect">
                  <a:avLst/>
                </a:prstGeom>
                <a:noFill/>
                <a:ln w="9525">
                  <a:noFill/>
                  <a:miter lim="800000"/>
                  <a:headEnd/>
                  <a:tailEnd/>
                </a:ln>
              </p:spPr>
              <p:txBody>
                <a:bodyPr wrap="none" lIns="0" tIns="0" rIns="0" bIns="0" anchor="ctr">
                  <a:spAutoFit/>
                </a:bodyPr>
                <a:lstStyle/>
                <a:p>
                  <a:pPr defTabSz="762000" eaLnBrk="0" hangingPunct="0"/>
                  <a:r>
                    <a:rPr lang="de-DE" sz="1000" dirty="0">
                      <a:latin typeface="+mn-lt"/>
                      <a:cs typeface="Arial" panose="020B0604020202020204" pitchFamily="34" charset="0"/>
                    </a:rPr>
                    <a:t>GOT 14:00 D-1 GCT H-60min D</a:t>
                  </a:r>
                </a:p>
              </p:txBody>
            </p:sp>
          </p:grpSp>
          <p:sp>
            <p:nvSpPr>
              <p:cNvPr id="227" name="Pfeil nach links und rechts 226"/>
              <p:cNvSpPr/>
              <p:nvPr/>
            </p:nvSpPr>
            <p:spPr>
              <a:xfrm>
                <a:off x="658964" y="2086539"/>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139" name="Pfeil nach links und rechts 138"/>
              <p:cNvSpPr/>
              <p:nvPr/>
            </p:nvSpPr>
            <p:spPr>
              <a:xfrm>
                <a:off x="658964" y="2291838"/>
                <a:ext cx="169366" cy="92333"/>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146" name="Pfeil nach links und rechts 145"/>
              <p:cNvSpPr/>
              <p:nvPr/>
            </p:nvSpPr>
            <p:spPr>
              <a:xfrm>
                <a:off x="667041" y="2498362"/>
                <a:ext cx="169366" cy="92333"/>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
            <p:nvSpPr>
              <p:cNvPr id="147" name="Pfeil nach links und rechts 146"/>
              <p:cNvSpPr/>
              <p:nvPr/>
            </p:nvSpPr>
            <p:spPr>
              <a:xfrm>
                <a:off x="664173" y="2896594"/>
                <a:ext cx="169366" cy="92333"/>
              </a:xfrm>
              <a:prstGeom prst="lef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grpSp>
        <p:sp>
          <p:nvSpPr>
            <p:cNvPr id="272" name="Rectangle 5"/>
            <p:cNvSpPr>
              <a:spLocks noChangeArrowheads="1"/>
            </p:cNvSpPr>
            <p:nvPr/>
          </p:nvSpPr>
          <p:spPr bwMode="gray">
            <a:xfrm>
              <a:off x="5189416" y="2635682"/>
              <a:ext cx="1753908" cy="206136"/>
            </a:xfrm>
            <a:prstGeom prst="rect">
              <a:avLst/>
            </a:prstGeom>
            <a:noFill/>
            <a:ln w="9525">
              <a:noFill/>
              <a:miter lim="800000"/>
              <a:headEnd/>
              <a:tailEnd/>
            </a:ln>
          </p:spPr>
          <p:txBody>
            <a:bodyPr wrap="square" lIns="0" tIns="0" rIns="0" bIns="0" anchor="ctr">
              <a:spAutoFit/>
            </a:bodyPr>
            <a:lstStyle/>
            <a:p>
              <a:pPr defTabSz="762000" eaLnBrk="0" hangingPunct="0"/>
              <a:r>
                <a:rPr lang="en-GB" sz="1000" b="0" dirty="0">
                  <a:solidFill>
                    <a:srgbClr val="000000"/>
                  </a:solidFill>
                  <a:latin typeface="+mn-lt"/>
                  <a:cs typeface="Arial" panose="020B0604020202020204" pitchFamily="34" charset="0"/>
                </a:rPr>
                <a:t>6 Implicit auctions run by OMIE</a:t>
              </a:r>
              <a:br>
                <a:rPr lang="en-GB" sz="1000" b="0" dirty="0">
                  <a:solidFill>
                    <a:srgbClr val="000000"/>
                  </a:solidFill>
                  <a:latin typeface="+mn-lt"/>
                  <a:cs typeface="Arial" panose="020B0604020202020204" pitchFamily="34" charset="0"/>
                </a:rPr>
              </a:br>
              <a:r>
                <a:rPr lang="en-GB" sz="1000" b="0" dirty="0">
                  <a:solidFill>
                    <a:srgbClr val="000000"/>
                  </a:solidFill>
                  <a:latin typeface="+mn-lt"/>
                  <a:cs typeface="Arial" panose="020B0604020202020204" pitchFamily="34" charset="0"/>
                </a:rPr>
                <a:t>(2 in D-1, 4 in D)*</a:t>
              </a:r>
            </a:p>
          </p:txBody>
        </p:sp>
        <p:sp>
          <p:nvSpPr>
            <p:cNvPr id="275" name="Pfeil nach links und rechts 145"/>
            <p:cNvSpPr/>
            <p:nvPr/>
          </p:nvSpPr>
          <p:spPr>
            <a:xfrm>
              <a:off x="4982010" y="2639466"/>
              <a:ext cx="169366" cy="92333"/>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nvGrpSpPr>
          <p:cNvPr id="5" name="Gruppe 4"/>
          <p:cNvGrpSpPr>
            <a:grpSpLocks noChangeAspect="1"/>
          </p:cNvGrpSpPr>
          <p:nvPr/>
        </p:nvGrpSpPr>
        <p:grpSpPr>
          <a:xfrm>
            <a:off x="2942402" y="1182660"/>
            <a:ext cx="4485667" cy="5406301"/>
            <a:chOff x="5054765" y="2282919"/>
            <a:chExt cx="3579501" cy="4314154"/>
          </a:xfrm>
        </p:grpSpPr>
        <p:grpSp>
          <p:nvGrpSpPr>
            <p:cNvPr id="322" name="Group 4"/>
            <p:cNvGrpSpPr/>
            <p:nvPr/>
          </p:nvGrpSpPr>
          <p:grpSpPr>
            <a:xfrm>
              <a:off x="5054765" y="2282919"/>
              <a:ext cx="3579501" cy="4314154"/>
              <a:chOff x="2860933" y="1700213"/>
              <a:chExt cx="3675187" cy="4429479"/>
            </a:xfrm>
            <a:solidFill>
              <a:schemeClr val="accent3"/>
            </a:solidFill>
          </p:grpSpPr>
          <p:sp>
            <p:nvSpPr>
              <p:cNvPr id="323" name="ee4p_AL_1_15912"/>
              <p:cNvSpPr>
                <a:spLocks noChangeAspect="1"/>
              </p:cNvSpPr>
              <p:nvPr>
                <p:custDataLst>
                  <p:tags r:id="rId1"/>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4" name="ee4p_AD_1_15912"/>
              <p:cNvSpPr>
                <a:spLocks noChangeAspect="1"/>
              </p:cNvSpPr>
              <p:nvPr>
                <p:custDataLst>
                  <p:tags r:id="rId2"/>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5" name="ee4p_AT_1_15912"/>
              <p:cNvSpPr>
                <a:spLocks noChangeAspect="1"/>
              </p:cNvSpPr>
              <p:nvPr>
                <p:custDataLst>
                  <p:tags r:id="rId3"/>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6" name="ee4p_BE_1_15912"/>
              <p:cNvSpPr>
                <a:spLocks noChangeAspect="1"/>
              </p:cNvSpPr>
              <p:nvPr>
                <p:custDataLst>
                  <p:tags r:id="rId4"/>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7" name="ee4p_BG_1_15912"/>
              <p:cNvSpPr>
                <a:spLocks noChangeAspect="1"/>
              </p:cNvSpPr>
              <p:nvPr>
                <p:custDataLst>
                  <p:tags r:id="rId5"/>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8" name="ee4p_BA_1_15912"/>
              <p:cNvSpPr>
                <a:spLocks noChangeAspect="1"/>
              </p:cNvSpPr>
              <p:nvPr>
                <p:custDataLst>
                  <p:tags r:id="rId6"/>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29" name="ee4p_CH_1_15912"/>
              <p:cNvSpPr>
                <a:spLocks noChangeAspect="1"/>
              </p:cNvSpPr>
              <p:nvPr>
                <p:custDataLst>
                  <p:tags r:id="rId7"/>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0" name="ee4p_CZ_1_15912"/>
              <p:cNvSpPr>
                <a:spLocks noChangeAspect="1"/>
              </p:cNvSpPr>
              <p:nvPr>
                <p:custDataLst>
                  <p:tags r:id="rId8"/>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1" name="ee4p_DE_1_15912"/>
              <p:cNvSpPr>
                <a:spLocks noChangeAspect="1"/>
              </p:cNvSpPr>
              <p:nvPr>
                <p:custDataLst>
                  <p:tags r:id="rId9"/>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2" name="ee4p_DK_1_15912"/>
              <p:cNvSpPr>
                <a:spLocks noChangeAspect="1"/>
              </p:cNvSpPr>
              <p:nvPr>
                <p:custDataLst>
                  <p:tags r:id="rId10"/>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3" name="ee4p_DK_2_15912"/>
              <p:cNvSpPr>
                <a:spLocks noChangeAspect="1"/>
              </p:cNvSpPr>
              <p:nvPr>
                <p:custDataLst>
                  <p:tags r:id="rId11"/>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4" name="ee4p_ES_1_15912"/>
              <p:cNvSpPr>
                <a:spLocks noChangeAspect="1"/>
              </p:cNvSpPr>
              <p:nvPr>
                <p:custDataLst>
                  <p:tags r:id="rId12"/>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5" name="ee4p_ES_2_15912"/>
              <p:cNvSpPr>
                <a:spLocks noChangeAspect="1"/>
              </p:cNvSpPr>
              <p:nvPr>
                <p:custDataLst>
                  <p:tags r:id="rId13"/>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6" name="ee4p_EE_1_15912"/>
              <p:cNvSpPr>
                <a:spLocks noChangeAspect="1"/>
              </p:cNvSpPr>
              <p:nvPr>
                <p:custDataLst>
                  <p:tags r:id="rId14"/>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7" name="ee4p_FI_1_15912"/>
              <p:cNvSpPr>
                <a:spLocks noChangeAspect="1"/>
              </p:cNvSpPr>
              <p:nvPr>
                <p:custDataLst>
                  <p:tags r:id="rId15"/>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8" name="ee4p_FR_1_15912"/>
              <p:cNvSpPr>
                <a:spLocks noChangeAspect="1"/>
              </p:cNvSpPr>
              <p:nvPr>
                <p:custDataLst>
                  <p:tags r:id="rId16"/>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39" name="ee4p_GB_1_15912"/>
              <p:cNvSpPr>
                <a:spLocks noChangeAspect="1"/>
              </p:cNvSpPr>
              <p:nvPr>
                <p:custDataLst>
                  <p:tags r:id="rId17"/>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0" name="ee4p_GR_1_15912"/>
              <p:cNvSpPr>
                <a:spLocks noChangeAspect="1"/>
              </p:cNvSpPr>
              <p:nvPr>
                <p:custDataLst>
                  <p:tags r:id="rId18"/>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1" name="ee4p_HR_1_15912"/>
              <p:cNvSpPr>
                <a:spLocks noChangeAspect="1"/>
              </p:cNvSpPr>
              <p:nvPr>
                <p:custDataLst>
                  <p:tags r:id="rId19"/>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2" name="ee4p_HU_1_15912"/>
              <p:cNvSpPr>
                <a:spLocks noChangeAspect="1"/>
              </p:cNvSpPr>
              <p:nvPr>
                <p:custDataLst>
                  <p:tags r:id="rId20"/>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3" name="ee4p_IE_1_15912"/>
              <p:cNvSpPr>
                <a:spLocks noChangeAspect="1"/>
              </p:cNvSpPr>
              <p:nvPr>
                <p:custDataLst>
                  <p:tags r:id="rId21"/>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4" name="ee4p_IT_1_15912"/>
              <p:cNvSpPr>
                <a:spLocks noChangeAspect="1"/>
              </p:cNvSpPr>
              <p:nvPr>
                <p:custDataLst>
                  <p:tags r:id="rId22"/>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5" name="ee4p_SM_1_15912"/>
              <p:cNvSpPr>
                <a:spLocks noChangeAspect="1"/>
              </p:cNvSpPr>
              <p:nvPr>
                <p:custDataLst>
                  <p:tags r:id="rId23"/>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6" name="ee4p_XK_1_15912"/>
              <p:cNvSpPr>
                <a:spLocks noChangeAspect="1"/>
              </p:cNvSpPr>
              <p:nvPr>
                <p:custDataLst>
                  <p:tags r:id="rId24"/>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7" name="ee4p_LI_1_15912"/>
              <p:cNvSpPr>
                <a:spLocks noChangeAspect="1"/>
              </p:cNvSpPr>
              <p:nvPr>
                <p:custDataLst>
                  <p:tags r:id="rId25"/>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8" name="ee4p_LT_1_15912"/>
              <p:cNvSpPr>
                <a:spLocks noChangeAspect="1"/>
              </p:cNvSpPr>
              <p:nvPr>
                <p:custDataLst>
                  <p:tags r:id="rId26"/>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49" name="ee4p_LU_1_15912"/>
              <p:cNvSpPr>
                <a:spLocks noChangeAspect="1"/>
              </p:cNvSpPr>
              <p:nvPr>
                <p:custDataLst>
                  <p:tags r:id="rId27"/>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0" name="ee4p_LV_1_15912"/>
              <p:cNvSpPr>
                <a:spLocks noChangeAspect="1"/>
              </p:cNvSpPr>
              <p:nvPr>
                <p:custDataLst>
                  <p:tags r:id="rId28"/>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1" name="ee4p_MC_1_15912"/>
              <p:cNvSpPr>
                <a:spLocks noChangeAspect="1"/>
              </p:cNvSpPr>
              <p:nvPr>
                <p:custDataLst>
                  <p:tags r:id="rId29"/>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2" name="ee4p_MK_1_15912"/>
              <p:cNvSpPr>
                <a:spLocks noChangeAspect="1"/>
              </p:cNvSpPr>
              <p:nvPr>
                <p:custDataLst>
                  <p:tags r:id="rId30"/>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3" name="ee4p_MT_1_15912"/>
              <p:cNvSpPr>
                <a:spLocks noChangeAspect="1"/>
              </p:cNvSpPr>
              <p:nvPr>
                <p:custDataLst>
                  <p:tags r:id="rId31"/>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4" name="ee4p_MT_2_15912"/>
              <p:cNvSpPr>
                <a:spLocks noChangeAspect="1"/>
              </p:cNvSpPr>
              <p:nvPr>
                <p:custDataLst>
                  <p:tags r:id="rId32"/>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5" name="ee4p_ME_1_15912"/>
              <p:cNvSpPr>
                <a:spLocks noChangeAspect="1"/>
              </p:cNvSpPr>
              <p:nvPr>
                <p:custDataLst>
                  <p:tags r:id="rId33"/>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6" name="ee4p_NL_1_15912"/>
              <p:cNvSpPr>
                <a:spLocks noChangeAspect="1"/>
              </p:cNvSpPr>
              <p:nvPr>
                <p:custDataLst>
                  <p:tags r:id="rId34"/>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7" name="ee4p_NO_1_15912"/>
              <p:cNvSpPr>
                <a:spLocks noChangeAspect="1"/>
              </p:cNvSpPr>
              <p:nvPr>
                <p:custDataLst>
                  <p:tags r:id="rId35"/>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8" name="ee4p_PL_1_15912"/>
              <p:cNvSpPr>
                <a:spLocks noChangeAspect="1"/>
              </p:cNvSpPr>
              <p:nvPr>
                <p:custDataLst>
                  <p:tags r:id="rId36"/>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59" name="ee4p_PT_1_15912"/>
              <p:cNvSpPr>
                <a:spLocks noChangeAspect="1"/>
              </p:cNvSpPr>
              <p:nvPr>
                <p:custDataLst>
                  <p:tags r:id="rId37"/>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0" name="ee4p_RO_1_15912"/>
              <p:cNvSpPr>
                <a:spLocks noChangeAspect="1"/>
              </p:cNvSpPr>
              <p:nvPr>
                <p:custDataLst>
                  <p:tags r:id="rId38"/>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1" name="ee4p_IT_2_15912"/>
              <p:cNvSpPr>
                <a:spLocks noChangeAspect="1"/>
              </p:cNvSpPr>
              <p:nvPr>
                <p:custDataLst>
                  <p:tags r:id="rId39"/>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2" name="ee4p_RS_1_15912"/>
              <p:cNvSpPr>
                <a:spLocks noChangeAspect="1"/>
              </p:cNvSpPr>
              <p:nvPr>
                <p:custDataLst>
                  <p:tags r:id="rId40"/>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3" name="ee4p_SK_1_15912"/>
              <p:cNvSpPr>
                <a:spLocks noChangeAspect="1"/>
              </p:cNvSpPr>
              <p:nvPr>
                <p:custDataLst>
                  <p:tags r:id="rId41"/>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4" name="ee4p_SI_1_15912"/>
              <p:cNvSpPr>
                <a:spLocks noChangeAspect="1"/>
              </p:cNvSpPr>
              <p:nvPr>
                <p:custDataLst>
                  <p:tags r:id="rId42"/>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5" name="ee4p_SE_1_15912"/>
              <p:cNvSpPr>
                <a:spLocks noChangeAspect="1"/>
              </p:cNvSpPr>
              <p:nvPr>
                <p:custDataLst>
                  <p:tags r:id="rId43"/>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366" name="ee4p_VA_1_15912"/>
              <p:cNvSpPr>
                <a:spLocks noChangeAspect="1"/>
              </p:cNvSpPr>
              <p:nvPr>
                <p:custDataLst>
                  <p:tags r:id="rId44"/>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grpSp>
        <p:cxnSp>
          <p:nvCxnSpPr>
            <p:cNvPr id="175" name="Gerade Verbindung 174"/>
            <p:cNvCxnSpPr>
              <a:cxnSpLocks noChangeAspect="1"/>
            </p:cNvCxnSpPr>
            <p:nvPr/>
          </p:nvCxnSpPr>
          <p:spPr>
            <a:xfrm flipH="1">
              <a:off x="6459770" y="4089333"/>
              <a:ext cx="50147" cy="57755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a:cxnSpLocks noChangeAspect="1"/>
            </p:cNvCxnSpPr>
            <p:nvPr/>
          </p:nvCxnSpPr>
          <p:spPr>
            <a:xfrm flipH="1">
              <a:off x="6937108" y="4404057"/>
              <a:ext cx="60211" cy="18500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0" name="Gerade Verbindung 199"/>
            <p:cNvCxnSpPr>
              <a:cxnSpLocks noChangeAspect="1"/>
            </p:cNvCxnSpPr>
            <p:nvPr/>
          </p:nvCxnSpPr>
          <p:spPr>
            <a:xfrm>
              <a:off x="6583310" y="4080786"/>
              <a:ext cx="105461" cy="18043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8" name="Gerade Verbindung 227"/>
            <p:cNvCxnSpPr>
              <a:cxnSpLocks noChangeAspect="1"/>
            </p:cNvCxnSpPr>
            <p:nvPr/>
          </p:nvCxnSpPr>
          <p:spPr>
            <a:xfrm flipH="1">
              <a:off x="8118412" y="3748057"/>
              <a:ext cx="33575" cy="18807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0" name="Pfeil nach links und rechts 229"/>
            <p:cNvSpPr/>
            <p:nvPr/>
          </p:nvSpPr>
          <p:spPr>
            <a:xfrm>
              <a:off x="6880553" y="3703757"/>
              <a:ext cx="266871" cy="15456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1" name="Pfeil nach links und rechts 230"/>
            <p:cNvSpPr/>
            <p:nvPr/>
          </p:nvSpPr>
          <p:spPr>
            <a:xfrm>
              <a:off x="7890626" y="2834256"/>
              <a:ext cx="261361" cy="160282"/>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2" name="Pfeil nach links und rechts 231"/>
            <p:cNvSpPr/>
            <p:nvPr/>
          </p:nvSpPr>
          <p:spPr>
            <a:xfrm rot="16637802">
              <a:off x="6357968" y="4262312"/>
              <a:ext cx="279978" cy="172718"/>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3" name="Pfeil nach links und rechts 232"/>
            <p:cNvSpPr/>
            <p:nvPr/>
          </p:nvSpPr>
          <p:spPr>
            <a:xfrm rot="14592840">
              <a:off x="6492464" y="4087715"/>
              <a:ext cx="297204" cy="15428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4" name="Pfeil nach links und rechts 233"/>
            <p:cNvSpPr/>
            <p:nvPr/>
          </p:nvSpPr>
          <p:spPr>
            <a:xfrm rot="17513078">
              <a:off x="6877041" y="4456049"/>
              <a:ext cx="169366" cy="92333"/>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6" name="Pfeil nach links und rechts 235"/>
            <p:cNvSpPr/>
            <p:nvPr/>
          </p:nvSpPr>
          <p:spPr>
            <a:xfrm rot="6014458">
              <a:off x="7991793" y="3736109"/>
              <a:ext cx="258977" cy="149934"/>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7" name="Pfeil nach links und rechts 236"/>
            <p:cNvSpPr/>
            <p:nvPr/>
          </p:nvSpPr>
          <p:spPr>
            <a:xfrm rot="6014458">
              <a:off x="8050346" y="4062410"/>
              <a:ext cx="263567" cy="136579"/>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8" name="Pfeil nach links und rechts 237"/>
            <p:cNvSpPr/>
            <p:nvPr/>
          </p:nvSpPr>
          <p:spPr>
            <a:xfrm rot="6014458">
              <a:off x="7853251" y="4298109"/>
              <a:ext cx="283472" cy="143547"/>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39" name="Pfeil nach links und rechts 238"/>
            <p:cNvSpPr/>
            <p:nvPr/>
          </p:nvSpPr>
          <p:spPr>
            <a:xfrm rot="5683661">
              <a:off x="6654504" y="4460841"/>
              <a:ext cx="169366" cy="92333"/>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0" name="Pfeil nach links und rechts 239"/>
            <p:cNvSpPr/>
            <p:nvPr/>
          </p:nvSpPr>
          <p:spPr>
            <a:xfrm>
              <a:off x="6423376" y="4648622"/>
              <a:ext cx="277806" cy="149219"/>
            </a:xfrm>
            <a:prstGeom prst="lef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1" name="Pfeil nach links und rechts 240"/>
            <p:cNvSpPr/>
            <p:nvPr/>
          </p:nvSpPr>
          <p:spPr>
            <a:xfrm rot="6347083">
              <a:off x="6227901" y="4779326"/>
              <a:ext cx="287433" cy="154564"/>
            </a:xfrm>
            <a:prstGeom prst="lef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2" name="Pfeil nach links und rechts 241"/>
            <p:cNvSpPr/>
            <p:nvPr/>
          </p:nvSpPr>
          <p:spPr>
            <a:xfrm rot="6347083">
              <a:off x="6161465" y="5018595"/>
              <a:ext cx="257494" cy="159295"/>
            </a:xfrm>
            <a:prstGeom prst="lef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3" name="Pfeil nach links und rechts 242"/>
            <p:cNvSpPr/>
            <p:nvPr/>
          </p:nvSpPr>
          <p:spPr>
            <a:xfrm rot="6825114">
              <a:off x="5870761" y="5719598"/>
              <a:ext cx="289402" cy="158915"/>
            </a:xfrm>
            <a:prstGeom prst="lef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47" name="Pfeil nach links und rechts 246"/>
            <p:cNvSpPr/>
            <p:nvPr/>
          </p:nvSpPr>
          <p:spPr>
            <a:xfrm>
              <a:off x="5242538" y="5936687"/>
              <a:ext cx="306935" cy="130106"/>
            </a:xfrm>
            <a:prstGeom prst="lef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9" name="Pfeil nach links und rechts 151"/>
            <p:cNvSpPr/>
            <p:nvPr/>
          </p:nvSpPr>
          <p:spPr>
            <a:xfrm rot="19637112">
              <a:off x="6742059" y="4053970"/>
              <a:ext cx="291206" cy="171427"/>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25" name="Pfeil nach links und rechts 151"/>
            <p:cNvSpPr/>
            <p:nvPr/>
          </p:nvSpPr>
          <p:spPr>
            <a:xfrm rot="19637112">
              <a:off x="6933513" y="4248047"/>
              <a:ext cx="262645" cy="157748"/>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63" name="Pfeil nach links und rechts 248"/>
            <p:cNvSpPr/>
            <p:nvPr/>
          </p:nvSpPr>
          <p:spPr>
            <a:xfrm rot="4194626">
              <a:off x="6825600" y="5145257"/>
              <a:ext cx="274906" cy="173436"/>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72" name="Pfeil nach links und rechts 159"/>
            <p:cNvSpPr/>
            <p:nvPr/>
          </p:nvSpPr>
          <p:spPr>
            <a:xfrm rot="7756492">
              <a:off x="6413715" y="5095556"/>
              <a:ext cx="274467" cy="176628"/>
            </a:xfrm>
            <a:prstGeom prst="lef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71" name="Pfeil nach links und rechts 145"/>
            <p:cNvSpPr/>
            <p:nvPr/>
          </p:nvSpPr>
          <p:spPr>
            <a:xfrm>
              <a:off x="5226868" y="6067536"/>
              <a:ext cx="322610" cy="133960"/>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cxnSp>
          <p:nvCxnSpPr>
            <p:cNvPr id="278" name="Gerade Verbindung 277"/>
            <p:cNvCxnSpPr>
              <a:cxnSpLocks/>
            </p:cNvCxnSpPr>
            <p:nvPr/>
          </p:nvCxnSpPr>
          <p:spPr>
            <a:xfrm>
              <a:off x="7253680" y="4333366"/>
              <a:ext cx="491436" cy="6720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79" name="Pfeil nach links und rechts 278"/>
            <p:cNvSpPr/>
            <p:nvPr/>
          </p:nvSpPr>
          <p:spPr>
            <a:xfrm rot="549519">
              <a:off x="7437166" y="4298458"/>
              <a:ext cx="263904" cy="147634"/>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sp>
        <p:nvSpPr>
          <p:cNvPr id="93" name="Rectangle 5"/>
          <p:cNvSpPr>
            <a:spLocks noChangeArrowheads="1"/>
          </p:cNvSpPr>
          <p:nvPr/>
        </p:nvSpPr>
        <p:spPr bwMode="gray">
          <a:xfrm>
            <a:off x="1032918" y="2921291"/>
            <a:ext cx="2170833" cy="210634"/>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Segoe UI" panose="020B0502040204020203" pitchFamily="34" charset="0"/>
                <a:cs typeface="Arial" panose="020B0604020202020204" pitchFamily="34" charset="0"/>
              </a:rPr>
              <a:t>GOT </a:t>
            </a:r>
            <a:r>
              <a:rPr lang="en-GB" sz="1000" dirty="0">
                <a:latin typeface="Segoe UI" panose="020B0502040204020203" pitchFamily="34" charset="0"/>
                <a:cs typeface="Arial" panose="020B0604020202020204" pitchFamily="34" charset="0"/>
              </a:rPr>
              <a:t>21</a:t>
            </a:r>
            <a:r>
              <a:rPr lang="en-GB" sz="1000" b="0" dirty="0">
                <a:latin typeface="Segoe UI" panose="020B0502040204020203" pitchFamily="34" charset="0"/>
                <a:cs typeface="Arial" panose="020B0604020202020204" pitchFamily="34" charset="0"/>
              </a:rPr>
              <a:t>:00 D-1 GCT H-60min D</a:t>
            </a:r>
          </a:p>
        </p:txBody>
      </p:sp>
      <p:sp>
        <p:nvSpPr>
          <p:cNvPr id="94" name="Pfeil nach links und rechts 93"/>
          <p:cNvSpPr/>
          <p:nvPr/>
        </p:nvSpPr>
        <p:spPr>
          <a:xfrm>
            <a:off x="769728" y="2963189"/>
            <a:ext cx="219452" cy="137860"/>
          </a:xfrm>
          <a:prstGeom prst="lef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chemeClr val="tx1"/>
              </a:solidFill>
            </a:endParaRPr>
          </a:p>
        </p:txBody>
      </p:sp>
    </p:spTree>
    <p:extLst>
      <p:ext uri="{BB962C8B-B14F-4D97-AF65-F5344CB8AC3E}">
        <p14:creationId xmlns:p14="http://schemas.microsoft.com/office/powerpoint/2010/main" val="3654195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Fallback</a:t>
            </a:r>
            <a:endParaRPr lang="de-DE"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5</a:t>
            </a:fld>
            <a:endParaRPr lang="en-US" altLang="en-US" dirty="0"/>
          </a:p>
        </p:txBody>
      </p:sp>
      <p:sp>
        <p:nvSpPr>
          <p:cNvPr id="4" name="Textplatzhalter 3"/>
          <p:cNvSpPr>
            <a:spLocks noGrp="1"/>
          </p:cNvSpPr>
          <p:nvPr>
            <p:ph type="body" sz="quarter" idx="13"/>
          </p:nvPr>
        </p:nvSpPr>
        <p:spPr/>
        <p:txBody>
          <a:bodyPr/>
          <a:lstStyle/>
          <a:p>
            <a:r>
              <a:rPr lang="en-US" dirty="0" smtClean="0"/>
              <a:t>In case of failure of the XBID solution the intraday market trade would still remain possible internally within each bidding zone, provided local trading is offered by the NEMOs.</a:t>
            </a:r>
          </a:p>
          <a:p>
            <a:r>
              <a:rPr lang="en-US" dirty="0" smtClean="0"/>
              <a:t>Sufficient measures have been taken to achieve a high XBID solution availability</a:t>
            </a:r>
          </a:p>
          <a:p>
            <a:r>
              <a:rPr lang="en-US" dirty="0" smtClean="0"/>
              <a:t>There </a:t>
            </a:r>
            <a:r>
              <a:rPr lang="en-US" dirty="0"/>
              <a:t>will be no fallback option for any of the borders that participate in the first </a:t>
            </a:r>
            <a:r>
              <a:rPr lang="en-US" dirty="0" err="1"/>
              <a:t>go-live</a:t>
            </a:r>
            <a:r>
              <a:rPr lang="en-US" dirty="0"/>
              <a:t> of XBID. </a:t>
            </a:r>
          </a:p>
          <a:p>
            <a:pPr marL="0" indent="0">
              <a:buNone/>
            </a:pPr>
            <a:endParaRPr lang="de-DE" dirty="0"/>
          </a:p>
        </p:txBody>
      </p:sp>
    </p:spTree>
    <p:extLst>
      <p:ext uri="{BB962C8B-B14F-4D97-AF65-F5344CB8AC3E}">
        <p14:creationId xmlns:p14="http://schemas.microsoft.com/office/powerpoint/2010/main" val="2247388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8" name="Group 4"/>
          <p:cNvGrpSpPr/>
          <p:nvPr/>
        </p:nvGrpSpPr>
        <p:grpSpPr>
          <a:xfrm>
            <a:off x="5218659" y="1860245"/>
            <a:ext cx="3579501" cy="4314154"/>
            <a:chOff x="2860933" y="1700213"/>
            <a:chExt cx="3675187" cy="4429479"/>
          </a:xfrm>
          <a:solidFill>
            <a:schemeClr val="accent3"/>
          </a:solidFill>
        </p:grpSpPr>
        <p:sp>
          <p:nvSpPr>
            <p:cNvPr id="109" name="ee4p_AL_1_15912"/>
            <p:cNvSpPr>
              <a:spLocks noChangeAspect="1"/>
            </p:cNvSpPr>
            <p:nvPr>
              <p:custDataLst>
                <p:tags r:id="rId2"/>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56" name="ee4p_AD_1_15912"/>
            <p:cNvSpPr>
              <a:spLocks noChangeAspect="1"/>
            </p:cNvSpPr>
            <p:nvPr>
              <p:custDataLst>
                <p:tags r:id="rId3"/>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57" name="ee4p_AT_1_15912"/>
            <p:cNvSpPr>
              <a:spLocks noChangeAspect="1"/>
            </p:cNvSpPr>
            <p:nvPr>
              <p:custDataLst>
                <p:tags r:id="rId4"/>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58" name="ee4p_BE_1_15912"/>
            <p:cNvSpPr>
              <a:spLocks noChangeAspect="1"/>
            </p:cNvSpPr>
            <p:nvPr>
              <p:custDataLst>
                <p:tags r:id="rId5"/>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59" name="ee4p_BG_1_15912"/>
            <p:cNvSpPr>
              <a:spLocks noChangeAspect="1"/>
            </p:cNvSpPr>
            <p:nvPr>
              <p:custDataLst>
                <p:tags r:id="rId6"/>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0" name="ee4p_BA_1_15912"/>
            <p:cNvSpPr>
              <a:spLocks noChangeAspect="1"/>
            </p:cNvSpPr>
            <p:nvPr>
              <p:custDataLst>
                <p:tags r:id="rId7"/>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1" name="ee4p_CH_1_15912"/>
            <p:cNvSpPr>
              <a:spLocks noChangeAspect="1"/>
            </p:cNvSpPr>
            <p:nvPr>
              <p:custDataLst>
                <p:tags r:id="rId8"/>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2" name="ee4p_CZ_1_15912"/>
            <p:cNvSpPr>
              <a:spLocks noChangeAspect="1"/>
            </p:cNvSpPr>
            <p:nvPr>
              <p:custDataLst>
                <p:tags r:id="rId9"/>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3" name="ee4p_DE_1_15912"/>
            <p:cNvSpPr>
              <a:spLocks noChangeAspect="1"/>
            </p:cNvSpPr>
            <p:nvPr>
              <p:custDataLst>
                <p:tags r:id="rId10"/>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4" name="ee4p_DK_1_15912"/>
            <p:cNvSpPr>
              <a:spLocks noChangeAspect="1"/>
            </p:cNvSpPr>
            <p:nvPr>
              <p:custDataLst>
                <p:tags r:id="rId11"/>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5" name="ee4p_DK_2_15912"/>
            <p:cNvSpPr>
              <a:spLocks noChangeAspect="1"/>
            </p:cNvSpPr>
            <p:nvPr>
              <p:custDataLst>
                <p:tags r:id="rId12"/>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6" name="ee4p_ES_1_15912"/>
            <p:cNvSpPr>
              <a:spLocks noChangeAspect="1"/>
            </p:cNvSpPr>
            <p:nvPr>
              <p:custDataLst>
                <p:tags r:id="rId13"/>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7" name="ee4p_ES_2_15912"/>
            <p:cNvSpPr>
              <a:spLocks noChangeAspect="1"/>
            </p:cNvSpPr>
            <p:nvPr>
              <p:custDataLst>
                <p:tags r:id="rId14"/>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8" name="ee4p_EE_1_15912"/>
            <p:cNvSpPr>
              <a:spLocks noChangeAspect="1"/>
            </p:cNvSpPr>
            <p:nvPr>
              <p:custDataLst>
                <p:tags r:id="rId15"/>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69" name="ee4p_FI_1_15912"/>
            <p:cNvSpPr>
              <a:spLocks noChangeAspect="1"/>
            </p:cNvSpPr>
            <p:nvPr>
              <p:custDataLst>
                <p:tags r:id="rId16"/>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0" name="ee4p_FR_1_15912"/>
            <p:cNvSpPr>
              <a:spLocks noChangeAspect="1"/>
            </p:cNvSpPr>
            <p:nvPr>
              <p:custDataLst>
                <p:tags r:id="rId17"/>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1" name="ee4p_GB_1_15912"/>
            <p:cNvSpPr>
              <a:spLocks noChangeAspect="1"/>
            </p:cNvSpPr>
            <p:nvPr>
              <p:custDataLst>
                <p:tags r:id="rId18"/>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2" name="ee4p_GR_1_15912"/>
            <p:cNvSpPr>
              <a:spLocks noChangeAspect="1"/>
            </p:cNvSpPr>
            <p:nvPr>
              <p:custDataLst>
                <p:tags r:id="rId19"/>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3" name="ee4p_HR_1_15912"/>
            <p:cNvSpPr>
              <a:spLocks noChangeAspect="1"/>
            </p:cNvSpPr>
            <p:nvPr>
              <p:custDataLst>
                <p:tags r:id="rId20"/>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4" name="ee4p_HU_1_15912"/>
            <p:cNvSpPr>
              <a:spLocks noChangeAspect="1"/>
            </p:cNvSpPr>
            <p:nvPr>
              <p:custDataLst>
                <p:tags r:id="rId21"/>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5" name="ee4p_IE_1_15912"/>
            <p:cNvSpPr>
              <a:spLocks noChangeAspect="1"/>
            </p:cNvSpPr>
            <p:nvPr>
              <p:custDataLst>
                <p:tags r:id="rId22"/>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6" name="ee4p_IT_1_15912"/>
            <p:cNvSpPr>
              <a:spLocks noChangeAspect="1"/>
            </p:cNvSpPr>
            <p:nvPr>
              <p:custDataLst>
                <p:tags r:id="rId23"/>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7" name="ee4p_SM_1_15912"/>
            <p:cNvSpPr>
              <a:spLocks noChangeAspect="1"/>
            </p:cNvSpPr>
            <p:nvPr>
              <p:custDataLst>
                <p:tags r:id="rId24"/>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8" name="ee4p_XK_1_15912"/>
            <p:cNvSpPr>
              <a:spLocks noChangeAspect="1"/>
            </p:cNvSpPr>
            <p:nvPr>
              <p:custDataLst>
                <p:tags r:id="rId25"/>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79" name="ee4p_LI_1_15912"/>
            <p:cNvSpPr>
              <a:spLocks noChangeAspect="1"/>
            </p:cNvSpPr>
            <p:nvPr>
              <p:custDataLst>
                <p:tags r:id="rId26"/>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0" name="ee4p_LT_1_15912"/>
            <p:cNvSpPr>
              <a:spLocks noChangeAspect="1"/>
            </p:cNvSpPr>
            <p:nvPr>
              <p:custDataLst>
                <p:tags r:id="rId27"/>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1" name="ee4p_LU_1_15912"/>
            <p:cNvSpPr>
              <a:spLocks noChangeAspect="1"/>
            </p:cNvSpPr>
            <p:nvPr>
              <p:custDataLst>
                <p:tags r:id="rId28"/>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2" name="ee4p_LV_1_15912"/>
            <p:cNvSpPr>
              <a:spLocks noChangeAspect="1"/>
            </p:cNvSpPr>
            <p:nvPr>
              <p:custDataLst>
                <p:tags r:id="rId29"/>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3" name="ee4p_MC_1_15912"/>
            <p:cNvSpPr>
              <a:spLocks noChangeAspect="1"/>
            </p:cNvSpPr>
            <p:nvPr>
              <p:custDataLst>
                <p:tags r:id="rId30"/>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4" name="ee4p_MK_1_15912"/>
            <p:cNvSpPr>
              <a:spLocks noChangeAspect="1"/>
            </p:cNvSpPr>
            <p:nvPr>
              <p:custDataLst>
                <p:tags r:id="rId31"/>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5" name="ee4p_MT_1_15912"/>
            <p:cNvSpPr>
              <a:spLocks noChangeAspect="1"/>
            </p:cNvSpPr>
            <p:nvPr>
              <p:custDataLst>
                <p:tags r:id="rId32"/>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6" name="ee4p_MT_2_15912"/>
            <p:cNvSpPr>
              <a:spLocks noChangeAspect="1"/>
            </p:cNvSpPr>
            <p:nvPr>
              <p:custDataLst>
                <p:tags r:id="rId33"/>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7" name="ee4p_ME_1_15912"/>
            <p:cNvSpPr>
              <a:spLocks noChangeAspect="1"/>
            </p:cNvSpPr>
            <p:nvPr>
              <p:custDataLst>
                <p:tags r:id="rId34"/>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8" name="ee4p_NL_1_15912"/>
            <p:cNvSpPr>
              <a:spLocks noChangeAspect="1"/>
            </p:cNvSpPr>
            <p:nvPr>
              <p:custDataLst>
                <p:tags r:id="rId35"/>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89" name="ee4p_NO_1_15912"/>
            <p:cNvSpPr>
              <a:spLocks noChangeAspect="1"/>
            </p:cNvSpPr>
            <p:nvPr>
              <p:custDataLst>
                <p:tags r:id="rId36"/>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90" name="ee4p_PL_1_15912"/>
            <p:cNvSpPr>
              <a:spLocks noChangeAspect="1"/>
            </p:cNvSpPr>
            <p:nvPr>
              <p:custDataLst>
                <p:tags r:id="rId37"/>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91" name="ee4p_PT_1_15912"/>
            <p:cNvSpPr>
              <a:spLocks noChangeAspect="1"/>
            </p:cNvSpPr>
            <p:nvPr>
              <p:custDataLst>
                <p:tags r:id="rId38"/>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92" name="ee4p_RO_1_15912"/>
            <p:cNvSpPr>
              <a:spLocks noChangeAspect="1"/>
            </p:cNvSpPr>
            <p:nvPr>
              <p:custDataLst>
                <p:tags r:id="rId39"/>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93" name="ee4p_IT_2_15912"/>
            <p:cNvSpPr>
              <a:spLocks noChangeAspect="1"/>
            </p:cNvSpPr>
            <p:nvPr>
              <p:custDataLst>
                <p:tags r:id="rId40"/>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94" name="ee4p_RS_1_15912"/>
            <p:cNvSpPr>
              <a:spLocks noChangeAspect="1"/>
            </p:cNvSpPr>
            <p:nvPr>
              <p:custDataLst>
                <p:tags r:id="rId41"/>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95" name="ee4p_SK_1_15912"/>
            <p:cNvSpPr>
              <a:spLocks noChangeAspect="1"/>
            </p:cNvSpPr>
            <p:nvPr>
              <p:custDataLst>
                <p:tags r:id="rId42"/>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96" name="ee4p_SI_1_15912"/>
            <p:cNvSpPr>
              <a:spLocks noChangeAspect="1"/>
            </p:cNvSpPr>
            <p:nvPr>
              <p:custDataLst>
                <p:tags r:id="rId43"/>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97" name="ee4p_SE_1_15912"/>
            <p:cNvSpPr>
              <a:spLocks noChangeAspect="1"/>
            </p:cNvSpPr>
            <p:nvPr>
              <p:custDataLst>
                <p:tags r:id="rId44"/>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solidFill>
              <a:schemeClr val="accent2">
                <a:lumMod val="40000"/>
                <a:lumOff val="60000"/>
              </a:schemeClr>
            </a:solid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sp>
          <p:nvSpPr>
            <p:cNvPr id="198" name="ee4p_VA_1_15912"/>
            <p:cNvSpPr>
              <a:spLocks noChangeAspect="1"/>
            </p:cNvSpPr>
            <p:nvPr>
              <p:custDataLst>
                <p:tags r:id="rId45"/>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e-DE" sz="1600" dirty="0" err="1">
                <a:solidFill>
                  <a:schemeClr val="tx1"/>
                </a:solidFill>
                <a:latin typeface="Arial" panose="020B0604020202020204" pitchFamily="34" charset="0"/>
                <a:cs typeface="Arial" panose="020B0604020202020204" pitchFamily="34" charset="0"/>
              </a:endParaRPr>
            </a:p>
          </p:txBody>
        </p:sp>
      </p:grpSp>
      <p:sp>
        <p:nvSpPr>
          <p:cNvPr id="2" name="Titel 1"/>
          <p:cNvSpPr>
            <a:spLocks noGrp="1"/>
          </p:cNvSpPr>
          <p:nvPr>
            <p:ph type="title"/>
          </p:nvPr>
        </p:nvSpPr>
        <p:spPr/>
        <p:txBody>
          <a:bodyPr/>
          <a:lstStyle/>
          <a:p>
            <a:r>
              <a:rPr lang="en-GB" dirty="0"/>
              <a:t>Rollback </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6</a:t>
            </a:fld>
            <a:endParaRPr lang="en-US" altLang="en-US" dirty="0"/>
          </a:p>
        </p:txBody>
      </p:sp>
      <p:sp>
        <p:nvSpPr>
          <p:cNvPr id="4" name="Textplatzhalter 3"/>
          <p:cNvSpPr>
            <a:spLocks noGrp="1"/>
          </p:cNvSpPr>
          <p:nvPr>
            <p:ph type="body" sz="quarter" idx="13"/>
          </p:nvPr>
        </p:nvSpPr>
        <p:spPr>
          <a:xfrm>
            <a:off x="539999" y="1439999"/>
            <a:ext cx="4068577" cy="4896000"/>
          </a:xfrm>
        </p:spPr>
        <p:txBody>
          <a:bodyPr>
            <a:normAutofit fontScale="92500" lnSpcReduction="10000"/>
          </a:bodyPr>
          <a:lstStyle/>
          <a:p>
            <a:pPr marL="171450" lvl="1" indent="-171450">
              <a:spcAft>
                <a:spcPts val="1200"/>
              </a:spcAft>
              <a:buClrTx/>
            </a:pPr>
            <a:r>
              <a:rPr lang="en-GB" dirty="0"/>
              <a:t>Rollback is defined as situation where the XBID Steering Committee is forced to decide to stop operations of the SIDC and to return to the situation before Initial Go-Live.</a:t>
            </a:r>
          </a:p>
          <a:p>
            <a:pPr marL="171450" lvl="1" indent="-171450">
              <a:spcAft>
                <a:spcPts val="1200"/>
              </a:spcAft>
              <a:buClrTx/>
            </a:pPr>
            <a:r>
              <a:rPr lang="en-GB" dirty="0"/>
              <a:t>Each Operational Party shall for its own decide how to organise at the local level, the consequences of such Rollback.</a:t>
            </a:r>
          </a:p>
          <a:p>
            <a:pPr marL="171450" lvl="1" indent="-171450">
              <a:spcAft>
                <a:spcPts val="1200"/>
              </a:spcAft>
              <a:buClrTx/>
            </a:pPr>
            <a:r>
              <a:rPr lang="en-GB" dirty="0"/>
              <a:t>Rollback option is available up to 2 months after </a:t>
            </a:r>
            <a:r>
              <a:rPr lang="en-GB" dirty="0" err="1"/>
              <a:t>go-live</a:t>
            </a:r>
            <a:r>
              <a:rPr lang="en-GB" dirty="0"/>
              <a:t>. </a:t>
            </a:r>
          </a:p>
          <a:p>
            <a:pPr marL="171450" lvl="1" indent="-171450">
              <a:spcAft>
                <a:spcPts val="1200"/>
              </a:spcAft>
              <a:buClrTx/>
            </a:pPr>
            <a:r>
              <a:rPr lang="en-GB" dirty="0"/>
              <a:t>Decision and initiation of rollback need to be done within 2 months after go-live.</a:t>
            </a:r>
          </a:p>
          <a:p>
            <a:pPr marL="171450" lvl="1" indent="-171450">
              <a:spcAft>
                <a:spcPts val="1200"/>
              </a:spcAft>
              <a:buClrTx/>
            </a:pPr>
            <a:r>
              <a:rPr lang="en-GB" dirty="0"/>
              <a:t>Rollback solutions are equal to the current intraday solutions implemented at the various </a:t>
            </a:r>
            <a:r>
              <a:rPr lang="en-GB" dirty="0" smtClean="0"/>
              <a:t>borders.</a:t>
            </a:r>
            <a:endParaRPr lang="en-GB" dirty="0"/>
          </a:p>
        </p:txBody>
      </p:sp>
      <p:grpSp>
        <p:nvGrpSpPr>
          <p:cNvPr id="81" name="Gruppe 78"/>
          <p:cNvGrpSpPr/>
          <p:nvPr/>
        </p:nvGrpSpPr>
        <p:grpSpPr>
          <a:xfrm>
            <a:off x="5158893" y="1339896"/>
            <a:ext cx="3637837" cy="4395273"/>
            <a:chOff x="568965" y="1524239"/>
            <a:chExt cx="3637837" cy="4395273"/>
          </a:xfrm>
        </p:grpSpPr>
        <p:sp>
          <p:nvSpPr>
            <p:cNvPr id="82" name="Textfeld 99"/>
            <p:cNvSpPr txBox="1"/>
            <p:nvPr/>
          </p:nvSpPr>
          <p:spPr>
            <a:xfrm>
              <a:off x="568965" y="1524239"/>
              <a:ext cx="3637837" cy="184666"/>
            </a:xfrm>
            <a:prstGeom prst="rect">
              <a:avLst/>
            </a:prstGeom>
            <a:noFill/>
          </p:spPr>
          <p:txBody>
            <a:bodyPr wrap="square" lIns="0" tIns="0" rIns="0" bIns="0" rtlCol="0">
              <a:spAutoFit/>
            </a:bodyPr>
            <a:lstStyle/>
            <a:p>
              <a:r>
                <a:rPr lang="en-GB" sz="1200" b="1" dirty="0">
                  <a:latin typeface="+mn-lt"/>
                </a:rPr>
                <a:t>Rollback situation is equal to current solutions</a:t>
              </a:r>
            </a:p>
          </p:txBody>
        </p:sp>
        <p:grpSp>
          <p:nvGrpSpPr>
            <p:cNvPr id="83" name="Gruppieren 1"/>
            <p:cNvGrpSpPr>
              <a:grpSpLocks/>
            </p:cNvGrpSpPr>
            <p:nvPr/>
          </p:nvGrpSpPr>
          <p:grpSpPr>
            <a:xfrm>
              <a:off x="596015" y="2062866"/>
              <a:ext cx="2313864" cy="991893"/>
              <a:chOff x="395286" y="5176388"/>
              <a:chExt cx="2375715" cy="1036916"/>
            </a:xfrm>
          </p:grpSpPr>
          <p:sp>
            <p:nvSpPr>
              <p:cNvPr id="149" name="Line 4"/>
              <p:cNvSpPr>
                <a:spLocks noChangeShapeType="1"/>
              </p:cNvSpPr>
              <p:nvPr/>
            </p:nvSpPr>
            <p:spPr bwMode="gray">
              <a:xfrm rot="16200000" flipV="1">
                <a:off x="-115172" y="5702845"/>
                <a:ext cx="1020917" cy="1"/>
              </a:xfrm>
              <a:prstGeom prst="line">
                <a:avLst/>
              </a:prstGeom>
              <a:noFill/>
              <a:ln w="9525" cap="flat" cmpd="sng" algn="ctr">
                <a:solidFill>
                  <a:schemeClr val="accent3"/>
                </a:solidFill>
                <a:prstDash val="solid"/>
                <a:miter lim="800000"/>
                <a:headEnd type="none" w="med" len="med"/>
                <a:tailEnd type="none" w="med" len="med"/>
              </a:ln>
            </p:spPr>
            <p:txBody>
              <a:bodyPr/>
              <a:lstStyle/>
              <a:p>
                <a:endParaRPr lang="en-GB" sz="1000" dirty="0">
                  <a:solidFill>
                    <a:schemeClr val="tx1"/>
                  </a:solidFill>
                  <a:latin typeface="+mn-lt"/>
                  <a:cs typeface="Arial" panose="020B0604020202020204" pitchFamily="34" charset="0"/>
                </a:endParaRPr>
              </a:p>
            </p:txBody>
          </p:sp>
          <p:sp>
            <p:nvSpPr>
              <p:cNvPr id="150" name="Rectangle 5"/>
              <p:cNvSpPr>
                <a:spLocks noChangeArrowheads="1"/>
              </p:cNvSpPr>
              <p:nvPr/>
            </p:nvSpPr>
            <p:spPr bwMode="gray">
              <a:xfrm>
                <a:off x="682014" y="5799060"/>
                <a:ext cx="1201471"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ICS platform explicit </a:t>
                </a:r>
              </a:p>
            </p:txBody>
          </p:sp>
          <p:sp>
            <p:nvSpPr>
              <p:cNvPr id="151" name="Rectangle 7"/>
              <p:cNvSpPr>
                <a:spLocks noChangeArrowheads="1"/>
              </p:cNvSpPr>
              <p:nvPr/>
            </p:nvSpPr>
            <p:spPr bwMode="gray">
              <a:xfrm>
                <a:off x="675245" y="5599476"/>
                <a:ext cx="875594"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err="1">
                    <a:latin typeface="+mn-lt"/>
                    <a:cs typeface="Arial" panose="020B0604020202020204" pitchFamily="34" charset="0"/>
                  </a:rPr>
                  <a:t>E·sica</a:t>
                </a:r>
                <a:r>
                  <a:rPr lang="en-GB" sz="1000" b="0" dirty="0">
                    <a:latin typeface="+mn-lt"/>
                    <a:cs typeface="Arial" panose="020B0604020202020204" pitchFamily="34" charset="0"/>
                  </a:rPr>
                  <a:t> platform</a:t>
                </a:r>
              </a:p>
            </p:txBody>
          </p:sp>
          <p:sp>
            <p:nvSpPr>
              <p:cNvPr id="152" name="Rectangle 9"/>
              <p:cNvSpPr>
                <a:spLocks noChangeArrowheads="1"/>
              </p:cNvSpPr>
              <p:nvPr/>
            </p:nvSpPr>
            <p:spPr bwMode="gray">
              <a:xfrm>
                <a:off x="675246" y="5383576"/>
                <a:ext cx="1356182"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MIBEL implicit auctions</a:t>
                </a:r>
              </a:p>
            </p:txBody>
          </p:sp>
          <p:sp>
            <p:nvSpPr>
              <p:cNvPr id="153" name="Rectangle 11"/>
              <p:cNvSpPr>
                <a:spLocks noChangeArrowheads="1"/>
              </p:cNvSpPr>
              <p:nvPr/>
            </p:nvSpPr>
            <p:spPr bwMode="gray">
              <a:xfrm>
                <a:off x="687352" y="5176388"/>
                <a:ext cx="2083649" cy="160873"/>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mn-lt"/>
                    <a:cs typeface="Arial" panose="020B0604020202020204" pitchFamily="34" charset="0"/>
                  </a:rPr>
                  <a:t>Nord Pool Intraday system (implicit)</a:t>
                </a:r>
              </a:p>
            </p:txBody>
          </p:sp>
        </p:grpSp>
        <p:sp>
          <p:nvSpPr>
            <p:cNvPr id="84" name="Pfeil nach links und rechts 226"/>
            <p:cNvSpPr/>
            <p:nvPr/>
          </p:nvSpPr>
          <p:spPr>
            <a:xfrm>
              <a:off x="658964" y="2086539"/>
              <a:ext cx="169366" cy="923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85" name="Pfeil nach links und rechts 138"/>
            <p:cNvSpPr/>
            <p:nvPr/>
          </p:nvSpPr>
          <p:spPr>
            <a:xfrm>
              <a:off x="658964" y="2291838"/>
              <a:ext cx="169366" cy="92333"/>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86" name="Pfeil nach links und rechts 145"/>
            <p:cNvSpPr/>
            <p:nvPr/>
          </p:nvSpPr>
          <p:spPr>
            <a:xfrm>
              <a:off x="667041" y="2498362"/>
              <a:ext cx="169366" cy="92333"/>
            </a:xfrm>
            <a:prstGeom prst="lef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87" name="Pfeil nach links und rechts 146"/>
            <p:cNvSpPr/>
            <p:nvPr/>
          </p:nvSpPr>
          <p:spPr>
            <a:xfrm>
              <a:off x="664173" y="2681036"/>
              <a:ext cx="169366" cy="92333"/>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t> </a:t>
              </a:r>
            </a:p>
          </p:txBody>
        </p:sp>
        <p:grpSp>
          <p:nvGrpSpPr>
            <p:cNvPr id="88" name="Gruppe 16"/>
            <p:cNvGrpSpPr/>
            <p:nvPr/>
          </p:nvGrpSpPr>
          <p:grpSpPr>
            <a:xfrm>
              <a:off x="812868" y="2590696"/>
              <a:ext cx="3009948" cy="3328816"/>
              <a:chOff x="812868" y="2590696"/>
              <a:chExt cx="3009948" cy="3328816"/>
            </a:xfrm>
          </p:grpSpPr>
          <p:graphicFrame>
            <p:nvGraphicFramePr>
              <p:cNvPr id="148" name="ee4pMapWizardDataSheet_43215"/>
              <p:cNvGraphicFramePr>
                <a:graphicFrameLocks noChangeAspect="1"/>
              </p:cNvGraphicFramePr>
              <p:nvPr>
                <p:extLst>
                  <p:ext uri="{D42A27DB-BD31-4B8C-83A1-F6EECF244321}">
                    <p14:modId xmlns:p14="http://schemas.microsoft.com/office/powerpoint/2010/main" val="1913105597"/>
                  </p:ext>
                </p:extLst>
              </p:nvPr>
            </p:nvGraphicFramePr>
            <p:xfrm>
              <a:off x="3538162" y="4669517"/>
              <a:ext cx="0" cy="0"/>
            </p:xfrm>
            <a:graphic>
              <a:graphicData uri="http://schemas.openxmlformats.org/presentationml/2006/ole">
                <mc:AlternateContent xmlns:mc="http://schemas.openxmlformats.org/markup-compatibility/2006">
                  <mc:Choice xmlns:v="urn:schemas-microsoft-com:vml" Requires="v">
                    <p:oleObj spid="_x0000_s7257" name="Arbeitsblatt" showAsIcon="1" r:id="rId48" imgW="914400" imgH="771480" progId="Excel.Sheet.12">
                      <p:embed/>
                    </p:oleObj>
                  </mc:Choice>
                  <mc:Fallback>
                    <p:oleObj name="Arbeitsblatt" showAsIcon="1" r:id="rId48" imgW="914400" imgH="771480" progId="Excel.Sheet.12">
                      <p:embed/>
                      <p:pic>
                        <p:nvPicPr>
                          <p:cNvPr id="0" name=""/>
                          <p:cNvPicPr/>
                          <p:nvPr/>
                        </p:nvPicPr>
                        <p:blipFill>
                          <a:blip r:embed="rId49"/>
                          <a:stretch>
                            <a:fillRect/>
                          </a:stretch>
                        </p:blipFill>
                        <p:spPr>
                          <a:xfrm>
                            <a:off x="3538162" y="4669517"/>
                            <a:ext cx="0" cy="0"/>
                          </a:xfrm>
                          <a:prstGeom prst="rect">
                            <a:avLst/>
                          </a:prstGeom>
                        </p:spPr>
                      </p:pic>
                    </p:oleObj>
                  </mc:Fallback>
                </mc:AlternateContent>
              </a:graphicData>
            </a:graphic>
          </p:graphicFrame>
          <p:cxnSp>
            <p:nvCxnSpPr>
              <p:cNvPr id="90" name="Gerade Verbindung 216"/>
              <p:cNvCxnSpPr>
                <a:cxnSpLocks noChangeAspect="1"/>
              </p:cNvCxnSpPr>
              <p:nvPr/>
            </p:nvCxnSpPr>
            <p:spPr>
              <a:xfrm flipH="1">
                <a:off x="2033462" y="3854096"/>
                <a:ext cx="50147" cy="57755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218"/>
              <p:cNvCxnSpPr>
                <a:cxnSpLocks noChangeAspect="1"/>
              </p:cNvCxnSpPr>
              <p:nvPr/>
            </p:nvCxnSpPr>
            <p:spPr>
              <a:xfrm>
                <a:off x="2157002" y="3845549"/>
                <a:ext cx="105461" cy="180437"/>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Pfeil nach links und rechts 147"/>
              <p:cNvSpPr/>
              <p:nvPr/>
            </p:nvSpPr>
            <p:spPr>
              <a:xfrm>
                <a:off x="2460534" y="3433292"/>
                <a:ext cx="267145" cy="155242"/>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94" name="Pfeil nach links und rechts 148"/>
              <p:cNvSpPr/>
              <p:nvPr/>
            </p:nvSpPr>
            <p:spPr>
              <a:xfrm>
                <a:off x="3400885" y="2590696"/>
                <a:ext cx="261361" cy="168606"/>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95" name="Pfeil nach links und rechts 149"/>
              <p:cNvSpPr/>
              <p:nvPr/>
            </p:nvSpPr>
            <p:spPr>
              <a:xfrm rot="16637802">
                <a:off x="1965898" y="4096956"/>
                <a:ext cx="212287" cy="123389"/>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96" name="Pfeil nach links und rechts 150"/>
              <p:cNvSpPr/>
              <p:nvPr/>
            </p:nvSpPr>
            <p:spPr>
              <a:xfrm rot="14592840">
                <a:off x="2072679" y="3838173"/>
                <a:ext cx="263285" cy="161152"/>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97" name="Pfeil nach links und rechts 151"/>
              <p:cNvSpPr/>
              <p:nvPr/>
            </p:nvSpPr>
            <p:spPr>
              <a:xfrm rot="17513078">
                <a:off x="2385346" y="4237444"/>
                <a:ext cx="245996" cy="119901"/>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99" name="Pfeil nach links und rechts 153"/>
              <p:cNvSpPr/>
              <p:nvPr/>
            </p:nvSpPr>
            <p:spPr>
              <a:xfrm rot="6014458">
                <a:off x="3565438" y="3523013"/>
                <a:ext cx="291836" cy="131041"/>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0" name="Pfeil nach links und rechts 154"/>
              <p:cNvSpPr/>
              <p:nvPr/>
            </p:nvSpPr>
            <p:spPr>
              <a:xfrm rot="6014458">
                <a:off x="3620149" y="3771257"/>
                <a:ext cx="270702" cy="13463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1" name="Pfeil nach links und rechts 155"/>
              <p:cNvSpPr/>
              <p:nvPr/>
            </p:nvSpPr>
            <p:spPr>
              <a:xfrm rot="6014458">
                <a:off x="3475104" y="3980132"/>
                <a:ext cx="268274" cy="126302"/>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2" name="Pfeil nach links und rechts 156"/>
              <p:cNvSpPr/>
              <p:nvPr/>
            </p:nvSpPr>
            <p:spPr>
              <a:xfrm rot="5683661">
                <a:off x="2197221" y="4214403"/>
                <a:ext cx="230640" cy="130376"/>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3" name="Pfeil nach links und rechts 157"/>
              <p:cNvSpPr/>
              <p:nvPr/>
            </p:nvSpPr>
            <p:spPr>
              <a:xfrm>
                <a:off x="2003357" y="4433268"/>
                <a:ext cx="277468" cy="164327"/>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4" name="Pfeil nach links und rechts 158"/>
              <p:cNvSpPr/>
              <p:nvPr/>
            </p:nvSpPr>
            <p:spPr>
              <a:xfrm rot="6347083">
                <a:off x="1828534" y="4545174"/>
                <a:ext cx="206386" cy="130957"/>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5" name="Pfeil nach links und rechts 159"/>
              <p:cNvSpPr/>
              <p:nvPr/>
            </p:nvSpPr>
            <p:spPr>
              <a:xfrm rot="6347083">
                <a:off x="1773712" y="4793034"/>
                <a:ext cx="226259" cy="120451"/>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6" name="Pfeil nach links und rechts 160"/>
              <p:cNvSpPr/>
              <p:nvPr/>
            </p:nvSpPr>
            <p:spPr>
              <a:xfrm rot="6825114">
                <a:off x="1453773" y="5490263"/>
                <a:ext cx="271035" cy="167297"/>
              </a:xfrm>
              <a:prstGeom prst="lef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7" name="Pfeil nach links und rechts 161"/>
              <p:cNvSpPr/>
              <p:nvPr/>
            </p:nvSpPr>
            <p:spPr>
              <a:xfrm>
                <a:off x="812868" y="5773448"/>
                <a:ext cx="264611" cy="146064"/>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0" name="Pfeil nach links und rechts 151"/>
              <p:cNvSpPr/>
              <p:nvPr/>
            </p:nvSpPr>
            <p:spPr>
              <a:xfrm rot="19637112">
                <a:off x="2338490" y="3852018"/>
                <a:ext cx="275762" cy="164369"/>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11" name="Pfeil nach links und rechts 151"/>
              <p:cNvSpPr/>
              <p:nvPr/>
            </p:nvSpPr>
            <p:spPr>
              <a:xfrm rot="19637112">
                <a:off x="2463162" y="4004314"/>
                <a:ext cx="270399" cy="156470"/>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grpSp>
      </p:grpSp>
      <p:sp>
        <p:nvSpPr>
          <p:cNvPr id="79" name="Rectangle 5"/>
          <p:cNvSpPr>
            <a:spLocks noChangeArrowheads="1"/>
          </p:cNvSpPr>
          <p:nvPr/>
        </p:nvSpPr>
        <p:spPr bwMode="gray">
          <a:xfrm>
            <a:off x="5466886" y="2665485"/>
            <a:ext cx="1184620" cy="153888"/>
          </a:xfrm>
          <a:prstGeom prst="rect">
            <a:avLst/>
          </a:prstGeom>
          <a:noFill/>
          <a:ln w="9525">
            <a:noFill/>
            <a:miter lim="800000"/>
            <a:headEnd/>
            <a:tailEnd/>
          </a:ln>
        </p:spPr>
        <p:txBody>
          <a:bodyPr wrap="none" lIns="0" tIns="0" rIns="0" bIns="0" anchor="ctr">
            <a:spAutoFit/>
          </a:bodyPr>
          <a:lstStyle/>
          <a:p>
            <a:pPr defTabSz="762000" eaLnBrk="0" hangingPunct="0"/>
            <a:r>
              <a:rPr lang="en-GB" sz="1000" b="0" dirty="0">
                <a:latin typeface="Segoe UI" panose="020B0502040204020203" pitchFamily="34" charset="0"/>
                <a:cs typeface="Arial" panose="020B0604020202020204" pitchFamily="34" charset="0"/>
              </a:rPr>
              <a:t>ICS platform implicit </a:t>
            </a:r>
          </a:p>
        </p:txBody>
      </p:sp>
      <p:sp>
        <p:nvSpPr>
          <p:cNvPr id="80" name="Pfeil nach links und rechts 146"/>
          <p:cNvSpPr/>
          <p:nvPr/>
        </p:nvSpPr>
        <p:spPr>
          <a:xfrm>
            <a:off x="5255781" y="2688018"/>
            <a:ext cx="169366" cy="92333"/>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t> </a:t>
            </a:r>
          </a:p>
        </p:txBody>
      </p:sp>
      <p:cxnSp>
        <p:nvCxnSpPr>
          <p:cNvPr id="154" name="Gerade Verbindung 153"/>
          <p:cNvCxnSpPr>
            <a:cxnSpLocks/>
          </p:cNvCxnSpPr>
          <p:nvPr/>
        </p:nvCxnSpPr>
        <p:spPr>
          <a:xfrm>
            <a:off x="7418818" y="3902934"/>
            <a:ext cx="519039" cy="8137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5" name="Pfeil nach links und rechts 154"/>
          <p:cNvSpPr/>
          <p:nvPr/>
        </p:nvSpPr>
        <p:spPr>
          <a:xfrm rot="518793">
            <a:off x="7573265" y="3877070"/>
            <a:ext cx="260044" cy="144803"/>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92" name="Pfeil nach links und rechts 158"/>
          <p:cNvSpPr/>
          <p:nvPr/>
        </p:nvSpPr>
        <p:spPr>
          <a:xfrm rot="7758819">
            <a:off x="6554576" y="4671624"/>
            <a:ext cx="234847" cy="131465"/>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08" name="Pfeil nach links und rechts 158"/>
          <p:cNvSpPr/>
          <p:nvPr/>
        </p:nvSpPr>
        <p:spPr>
          <a:xfrm rot="7758819">
            <a:off x="6623860" y="4737041"/>
            <a:ext cx="244999" cy="132989"/>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Tree>
    <p:extLst>
      <p:ext uri="{BB962C8B-B14F-4D97-AF65-F5344CB8AC3E}">
        <p14:creationId xmlns:p14="http://schemas.microsoft.com/office/powerpoint/2010/main" val="19749542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Cross-border trading </a:t>
            </a:r>
            <a:r>
              <a:rPr lang="en-GB" dirty="0" smtClean="0"/>
              <a:t>possibilities </a:t>
            </a:r>
            <a:r>
              <a:rPr lang="en-GB" dirty="0"/>
              <a:t>for </a:t>
            </a:r>
            <a:r>
              <a:rPr lang="en-GB" dirty="0" smtClean="0"/>
              <a:t>D-1 delivery (tentative)*	 1/3</a:t>
            </a:r>
            <a:endParaRPr lang="en-GB"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7</a:t>
            </a:fld>
            <a:endParaRPr lang="en-US" altLang="en-US" dirty="0"/>
          </a:p>
        </p:txBody>
      </p:sp>
      <p:sp>
        <p:nvSpPr>
          <p:cNvPr id="76" name="Textfeld 75"/>
          <p:cNvSpPr txBox="1"/>
          <p:nvPr/>
        </p:nvSpPr>
        <p:spPr>
          <a:xfrm>
            <a:off x="510493" y="3387975"/>
            <a:ext cx="622690" cy="215444"/>
          </a:xfrm>
          <a:prstGeom prst="rect">
            <a:avLst/>
          </a:prstGeom>
          <a:noFill/>
        </p:spPr>
        <p:txBody>
          <a:bodyPr wrap="square" lIns="0" tIns="0" rIns="0" bIns="0" rtlCol="0">
            <a:spAutoFit/>
          </a:bodyPr>
          <a:lstStyle/>
          <a:p>
            <a:r>
              <a:rPr lang="de-DE" sz="1400" b="1" dirty="0"/>
              <a:t>LIP 1</a:t>
            </a:r>
          </a:p>
        </p:txBody>
      </p:sp>
      <p:sp>
        <p:nvSpPr>
          <p:cNvPr id="77" name="Tekstboks 7"/>
          <p:cNvSpPr txBox="1"/>
          <p:nvPr/>
        </p:nvSpPr>
        <p:spPr>
          <a:xfrm>
            <a:off x="1129533" y="3390031"/>
            <a:ext cx="1585615" cy="184666"/>
          </a:xfrm>
          <a:prstGeom prst="rect">
            <a:avLst/>
          </a:prstGeom>
          <a:noFill/>
        </p:spPr>
        <p:txBody>
          <a:bodyPr wrap="square" lIns="0" tIns="0" rIns="0" bIns="0" rtlCol="0">
            <a:spAutoFit/>
          </a:bodyPr>
          <a:lstStyle/>
          <a:p>
            <a:r>
              <a:rPr lang="en-GB" sz="1200" dirty="0" smtClean="0"/>
              <a:t>Nordic borders  </a:t>
            </a:r>
            <a:endParaRPr lang="en-GB" sz="1200" dirty="0"/>
          </a:p>
        </p:txBody>
      </p:sp>
      <p:sp>
        <p:nvSpPr>
          <p:cNvPr id="78" name="Rechteck 77"/>
          <p:cNvSpPr/>
          <p:nvPr>
            <p:custDataLst>
              <p:tags r:id="rId1"/>
            </p:custDataLst>
          </p:nvPr>
        </p:nvSpPr>
        <p:spPr bwMode="auto">
          <a:xfrm>
            <a:off x="3067344" y="3336307"/>
            <a:ext cx="2693940"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GB" sz="1200" dirty="0">
                <a:solidFill>
                  <a:schemeClr val="tx1">
                    <a:lumMod val="100000"/>
                  </a:schemeClr>
                </a:solidFill>
                <a:latin typeface="+mj-lt"/>
              </a:rPr>
              <a:t>No ATCs released for trading </a:t>
            </a:r>
          </a:p>
          <a:p>
            <a:pPr algn="ctr" eaLnBrk="0" hangingPunct="0">
              <a:spcAft>
                <a:spcPct val="0"/>
              </a:spcAft>
            </a:pPr>
            <a:r>
              <a:rPr lang="en-GB" sz="1200" dirty="0">
                <a:solidFill>
                  <a:schemeClr val="tx1">
                    <a:lumMod val="100000"/>
                  </a:schemeClr>
                </a:solidFill>
                <a:latin typeface="+mj-lt"/>
              </a:rPr>
              <a:t>day D-1</a:t>
            </a:r>
          </a:p>
        </p:txBody>
      </p:sp>
      <p:cxnSp>
        <p:nvCxnSpPr>
          <p:cNvPr id="80" name="Gerade Verbindung 79"/>
          <p:cNvCxnSpPr/>
          <p:nvPr/>
        </p:nvCxnSpPr>
        <p:spPr>
          <a:xfrm>
            <a:off x="5761284" y="3553912"/>
            <a:ext cx="0" cy="334542"/>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5" name="Rechteck 84"/>
          <p:cNvSpPr/>
          <p:nvPr>
            <p:custDataLst>
              <p:tags r:id="rId2"/>
            </p:custDataLst>
          </p:nvPr>
        </p:nvSpPr>
        <p:spPr bwMode="auto">
          <a:xfrm>
            <a:off x="5763776" y="3336306"/>
            <a:ext cx="2703308" cy="435212"/>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endParaRPr lang="en-GB" sz="1200" dirty="0">
              <a:solidFill>
                <a:schemeClr val="tx1">
                  <a:lumMod val="100000"/>
                </a:schemeClr>
              </a:solidFill>
            </a:endParaRPr>
          </a:p>
        </p:txBody>
      </p:sp>
      <p:cxnSp>
        <p:nvCxnSpPr>
          <p:cNvPr id="99" name="Gerade Verbindung 98"/>
          <p:cNvCxnSpPr/>
          <p:nvPr/>
        </p:nvCxnSpPr>
        <p:spPr>
          <a:xfrm flipH="1">
            <a:off x="3062660" y="2179864"/>
            <a:ext cx="179834" cy="1208111"/>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747346" y="2179864"/>
            <a:ext cx="1727682" cy="1208111"/>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8" name="Textfeld 117"/>
          <p:cNvSpPr txBox="1"/>
          <p:nvPr/>
        </p:nvSpPr>
        <p:spPr>
          <a:xfrm>
            <a:off x="508001" y="4414718"/>
            <a:ext cx="622690" cy="215444"/>
          </a:xfrm>
          <a:prstGeom prst="rect">
            <a:avLst/>
          </a:prstGeom>
          <a:noFill/>
        </p:spPr>
        <p:txBody>
          <a:bodyPr wrap="square" lIns="0" tIns="0" rIns="0" bIns="0" rtlCol="0">
            <a:spAutoFit/>
          </a:bodyPr>
          <a:lstStyle/>
          <a:p>
            <a:r>
              <a:rPr lang="de-DE" sz="1400" b="1" dirty="0"/>
              <a:t>LIP 2</a:t>
            </a:r>
          </a:p>
        </p:txBody>
      </p:sp>
      <p:sp>
        <p:nvSpPr>
          <p:cNvPr id="119" name="Tekstboks 7"/>
          <p:cNvSpPr txBox="1"/>
          <p:nvPr/>
        </p:nvSpPr>
        <p:spPr>
          <a:xfrm>
            <a:off x="1127041" y="4416774"/>
            <a:ext cx="1585615" cy="184666"/>
          </a:xfrm>
          <a:prstGeom prst="rect">
            <a:avLst/>
          </a:prstGeom>
          <a:noFill/>
        </p:spPr>
        <p:txBody>
          <a:bodyPr wrap="square" lIns="0" tIns="0" rIns="0" bIns="0" rtlCol="0">
            <a:spAutoFit/>
          </a:bodyPr>
          <a:lstStyle/>
          <a:p>
            <a:r>
              <a:rPr lang="da-DK" sz="1200" dirty="0"/>
              <a:t>DK – internal &amp; </a:t>
            </a:r>
            <a:r>
              <a:rPr lang="da-DK" sz="1200" dirty="0" err="1"/>
              <a:t>Kontek</a:t>
            </a:r>
            <a:r>
              <a:rPr lang="da-DK" sz="1200" dirty="0"/>
              <a:t> </a:t>
            </a:r>
          </a:p>
        </p:txBody>
      </p:sp>
      <p:sp>
        <p:nvSpPr>
          <p:cNvPr id="128" name="Textfeld 127"/>
          <p:cNvSpPr txBox="1"/>
          <p:nvPr/>
        </p:nvSpPr>
        <p:spPr>
          <a:xfrm>
            <a:off x="507374" y="5370337"/>
            <a:ext cx="622690" cy="215444"/>
          </a:xfrm>
          <a:prstGeom prst="rect">
            <a:avLst/>
          </a:prstGeom>
          <a:noFill/>
        </p:spPr>
        <p:txBody>
          <a:bodyPr wrap="square" lIns="0" tIns="0" rIns="0" bIns="0" rtlCol="0">
            <a:spAutoFit/>
          </a:bodyPr>
          <a:lstStyle/>
          <a:p>
            <a:r>
              <a:rPr lang="de-DE" sz="1400" b="1" dirty="0"/>
              <a:t>LIP 3</a:t>
            </a:r>
          </a:p>
        </p:txBody>
      </p:sp>
      <p:sp>
        <p:nvSpPr>
          <p:cNvPr id="129" name="Tekstboks 7"/>
          <p:cNvSpPr txBox="1"/>
          <p:nvPr/>
        </p:nvSpPr>
        <p:spPr>
          <a:xfrm>
            <a:off x="1126414" y="5372393"/>
            <a:ext cx="1585615" cy="184666"/>
          </a:xfrm>
          <a:prstGeom prst="rect">
            <a:avLst/>
          </a:prstGeom>
          <a:noFill/>
        </p:spPr>
        <p:txBody>
          <a:bodyPr wrap="square" lIns="0" tIns="0" rIns="0" bIns="0" rtlCol="0">
            <a:spAutoFit/>
          </a:bodyPr>
          <a:lstStyle/>
          <a:p>
            <a:r>
              <a:rPr lang="da-DK" sz="1200" dirty="0"/>
              <a:t>DE-DK1, DE-NL </a:t>
            </a:r>
          </a:p>
        </p:txBody>
      </p:sp>
      <p:sp>
        <p:nvSpPr>
          <p:cNvPr id="130" name="Rechteck 129"/>
          <p:cNvSpPr/>
          <p:nvPr>
            <p:custDataLst>
              <p:tags r:id="rId3"/>
            </p:custDataLst>
          </p:nvPr>
        </p:nvSpPr>
        <p:spPr bwMode="auto">
          <a:xfrm>
            <a:off x="3054857" y="5318669"/>
            <a:ext cx="1761447"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GB" sz="1200" dirty="0">
                <a:solidFill>
                  <a:schemeClr val="tx1">
                    <a:lumMod val="100000"/>
                  </a:schemeClr>
                </a:solidFill>
                <a:latin typeface="+mj-lt"/>
              </a:rPr>
              <a:t>ATC released for trading day D-1</a:t>
            </a:r>
          </a:p>
        </p:txBody>
      </p:sp>
      <p:cxnSp>
        <p:nvCxnSpPr>
          <p:cNvPr id="131" name="Gerade Verbindung 130"/>
          <p:cNvCxnSpPr>
            <a:stCxn id="130" idx="1"/>
          </p:cNvCxnSpPr>
          <p:nvPr/>
        </p:nvCxnSpPr>
        <p:spPr>
          <a:xfrm>
            <a:off x="3054857" y="5536275"/>
            <a:ext cx="0" cy="33454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2" name="Gerade Verbindung 131"/>
          <p:cNvCxnSpPr>
            <a:stCxn id="72" idx="3"/>
          </p:cNvCxnSpPr>
          <p:nvPr/>
        </p:nvCxnSpPr>
        <p:spPr>
          <a:xfrm flipH="1">
            <a:off x="5758165" y="5538612"/>
            <a:ext cx="1872" cy="33220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33" name="Rechteck 132"/>
          <p:cNvSpPr/>
          <p:nvPr>
            <p:custDataLst>
              <p:tags r:id="rId4"/>
            </p:custDataLst>
          </p:nvPr>
        </p:nvSpPr>
        <p:spPr bwMode="auto">
          <a:xfrm>
            <a:off x="5760657" y="5318667"/>
            <a:ext cx="1756496" cy="439889"/>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endParaRPr lang="en-GB" sz="800" dirty="0">
              <a:solidFill>
                <a:schemeClr val="tx1">
                  <a:lumMod val="100000"/>
                </a:schemeClr>
              </a:solidFill>
              <a:latin typeface="+mj-lt"/>
            </a:endParaRPr>
          </a:p>
        </p:txBody>
      </p:sp>
      <p:cxnSp>
        <p:nvCxnSpPr>
          <p:cNvPr id="134" name="Gerade Verbindung 133"/>
          <p:cNvCxnSpPr/>
          <p:nvPr/>
        </p:nvCxnSpPr>
        <p:spPr>
          <a:xfrm>
            <a:off x="8462971" y="5536273"/>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1" name="Gerade Verbindung 140"/>
          <p:cNvCxnSpPr/>
          <p:nvPr/>
        </p:nvCxnSpPr>
        <p:spPr>
          <a:xfrm>
            <a:off x="3055484" y="4580656"/>
            <a:ext cx="2492" cy="1089642"/>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a:endCxn id="155" idx="3"/>
          </p:cNvCxnSpPr>
          <p:nvPr/>
        </p:nvCxnSpPr>
        <p:spPr>
          <a:xfrm>
            <a:off x="8455020" y="4577702"/>
            <a:ext cx="7951" cy="958571"/>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55" name="Rechteck 154"/>
          <p:cNvSpPr/>
          <p:nvPr>
            <p:custDataLst>
              <p:tags r:id="rId5"/>
            </p:custDataLst>
          </p:nvPr>
        </p:nvSpPr>
        <p:spPr bwMode="auto">
          <a:xfrm>
            <a:off x="7517154" y="5318667"/>
            <a:ext cx="945817" cy="435211"/>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endParaRPr lang="en-GB" sz="1050" dirty="0">
              <a:solidFill>
                <a:schemeClr val="tx1">
                  <a:lumMod val="100000"/>
                </a:schemeClr>
              </a:solidFill>
            </a:endParaRPr>
          </a:p>
        </p:txBody>
      </p:sp>
      <p:cxnSp>
        <p:nvCxnSpPr>
          <p:cNvPr id="160" name="Gerade Verbindung 159"/>
          <p:cNvCxnSpPr/>
          <p:nvPr/>
        </p:nvCxnSpPr>
        <p:spPr>
          <a:xfrm>
            <a:off x="7509202" y="5501957"/>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1" name="Textfeld 160"/>
          <p:cNvSpPr txBox="1"/>
          <p:nvPr/>
        </p:nvSpPr>
        <p:spPr>
          <a:xfrm>
            <a:off x="7351925" y="5826882"/>
            <a:ext cx="339512" cy="153888"/>
          </a:xfrm>
          <a:prstGeom prst="rect">
            <a:avLst/>
          </a:prstGeom>
          <a:noFill/>
        </p:spPr>
        <p:txBody>
          <a:bodyPr wrap="square" lIns="0" tIns="0" rIns="0" bIns="0" rtlCol="0">
            <a:spAutoFit/>
          </a:bodyPr>
          <a:lstStyle/>
          <a:p>
            <a:r>
              <a:rPr lang="de-DE" sz="1000" dirty="0"/>
              <a:t>18:00</a:t>
            </a:r>
          </a:p>
        </p:txBody>
      </p:sp>
      <p:sp>
        <p:nvSpPr>
          <p:cNvPr id="51" name="Rechteck 50"/>
          <p:cNvSpPr/>
          <p:nvPr>
            <p:custDataLst>
              <p:tags r:id="rId6"/>
            </p:custDataLst>
          </p:nvPr>
        </p:nvSpPr>
        <p:spPr bwMode="auto">
          <a:xfrm>
            <a:off x="3242494" y="1744653"/>
            <a:ext cx="175154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GB" sz="1200" b="1" dirty="0">
                <a:solidFill>
                  <a:schemeClr val="tx1">
                    <a:lumMod val="100000"/>
                  </a:schemeClr>
                </a:solidFill>
                <a:latin typeface="+mj-lt"/>
              </a:rPr>
              <a:t>D-2: Pre-launch</a:t>
            </a:r>
          </a:p>
        </p:txBody>
      </p:sp>
      <p:sp>
        <p:nvSpPr>
          <p:cNvPr id="52" name="Rechteck 51"/>
          <p:cNvSpPr/>
          <p:nvPr>
            <p:custDataLst>
              <p:tags r:id="rId7"/>
            </p:custDataLst>
          </p:nvPr>
        </p:nvSpPr>
        <p:spPr bwMode="auto">
          <a:xfrm>
            <a:off x="4994594" y="1744653"/>
            <a:ext cx="175154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r>
              <a:rPr lang="en-GB" sz="1200" b="1" dirty="0">
                <a:solidFill>
                  <a:schemeClr val="tx1">
                    <a:lumMod val="100000"/>
                  </a:schemeClr>
                </a:solidFill>
                <a:latin typeface="+mj-lt"/>
              </a:rPr>
              <a:t>D-1: Launch</a:t>
            </a:r>
          </a:p>
        </p:txBody>
      </p:sp>
      <p:sp>
        <p:nvSpPr>
          <p:cNvPr id="53" name="Rechteck 52"/>
          <p:cNvSpPr/>
          <p:nvPr>
            <p:custDataLst>
              <p:tags r:id="rId8"/>
            </p:custDataLst>
          </p:nvPr>
        </p:nvSpPr>
        <p:spPr bwMode="auto">
          <a:xfrm>
            <a:off x="6739395" y="1744653"/>
            <a:ext cx="175154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r>
              <a:rPr lang="en-GB" sz="1200" b="1" dirty="0">
                <a:solidFill>
                  <a:schemeClr val="tx1">
                    <a:lumMod val="100000"/>
                  </a:schemeClr>
                </a:solidFill>
              </a:rPr>
              <a:t>D: Delivery of energy traded in XBID</a:t>
            </a:r>
          </a:p>
        </p:txBody>
      </p:sp>
      <p:cxnSp>
        <p:nvCxnSpPr>
          <p:cNvPr id="54" name="Gerade Verbindung 53"/>
          <p:cNvCxnSpPr>
            <a:stCxn id="51" idx="1"/>
          </p:cNvCxnSpPr>
          <p:nvPr/>
        </p:nvCxnSpPr>
        <p:spPr>
          <a:xfrm>
            <a:off x="3242494" y="1962259"/>
            <a:ext cx="0" cy="35974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a:stCxn id="52" idx="1"/>
          </p:cNvCxnSpPr>
          <p:nvPr/>
        </p:nvCxnSpPr>
        <p:spPr>
          <a:xfrm flipH="1">
            <a:off x="4994038" y="1962259"/>
            <a:ext cx="556" cy="35974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58" name="Textfeld 57"/>
          <p:cNvSpPr txBox="1"/>
          <p:nvPr/>
        </p:nvSpPr>
        <p:spPr>
          <a:xfrm>
            <a:off x="2881920" y="2300979"/>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59" name="Textfeld 58"/>
          <p:cNvSpPr txBox="1"/>
          <p:nvPr/>
        </p:nvSpPr>
        <p:spPr>
          <a:xfrm>
            <a:off x="4645603" y="2320006"/>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cxnSp>
        <p:nvCxnSpPr>
          <p:cNvPr id="60" name="Gerade Verbindung 59"/>
          <p:cNvCxnSpPr/>
          <p:nvPr/>
        </p:nvCxnSpPr>
        <p:spPr>
          <a:xfrm>
            <a:off x="8482988" y="1962259"/>
            <a:ext cx="651" cy="35774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a:stCxn id="53" idx="1"/>
          </p:cNvCxnSpPr>
          <p:nvPr/>
        </p:nvCxnSpPr>
        <p:spPr>
          <a:xfrm flipH="1">
            <a:off x="6738187" y="1962259"/>
            <a:ext cx="1208" cy="33872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2" name="Textfeld 61"/>
          <p:cNvSpPr txBox="1"/>
          <p:nvPr/>
        </p:nvSpPr>
        <p:spPr>
          <a:xfrm>
            <a:off x="6373032" y="2287740"/>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63" name="Textfeld 62"/>
          <p:cNvSpPr txBox="1"/>
          <p:nvPr/>
        </p:nvSpPr>
        <p:spPr>
          <a:xfrm>
            <a:off x="8116601" y="2320006"/>
            <a:ext cx="716855" cy="184666"/>
          </a:xfrm>
          <a:prstGeom prst="rect">
            <a:avLst/>
          </a:prstGeom>
          <a:noFill/>
        </p:spPr>
        <p:txBody>
          <a:bodyPr wrap="square" lIns="0" tIns="0" rIns="0" bIns="0" rtlCol="0">
            <a:spAutoFit/>
          </a:bodyPr>
          <a:lstStyle/>
          <a:p>
            <a:r>
              <a:rPr lang="de-DE" sz="1200" dirty="0" smtClean="0">
                <a:solidFill>
                  <a:srgbClr val="FF0000"/>
                </a:solidFill>
              </a:rPr>
              <a:t>14 June</a:t>
            </a:r>
            <a:endParaRPr lang="de-DE" sz="1200" dirty="0">
              <a:solidFill>
                <a:srgbClr val="FF0000"/>
              </a:solidFill>
            </a:endParaRPr>
          </a:p>
        </p:txBody>
      </p:sp>
      <p:sp>
        <p:nvSpPr>
          <p:cNvPr id="64" name="Textfeld 63"/>
          <p:cNvSpPr txBox="1"/>
          <p:nvPr/>
        </p:nvSpPr>
        <p:spPr>
          <a:xfrm>
            <a:off x="2704504" y="3888454"/>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65" name="Textfeld 64"/>
          <p:cNvSpPr txBox="1"/>
          <p:nvPr/>
        </p:nvSpPr>
        <p:spPr>
          <a:xfrm>
            <a:off x="5409894" y="3866148"/>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66" name="Textfeld 65"/>
          <p:cNvSpPr txBox="1"/>
          <p:nvPr/>
        </p:nvSpPr>
        <p:spPr>
          <a:xfrm>
            <a:off x="8094527" y="3866148"/>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70" name="Textfeld 69"/>
          <p:cNvSpPr txBox="1"/>
          <p:nvPr/>
        </p:nvSpPr>
        <p:spPr>
          <a:xfrm>
            <a:off x="2696754" y="5896586"/>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71" name="Textfeld 70"/>
          <p:cNvSpPr txBox="1"/>
          <p:nvPr/>
        </p:nvSpPr>
        <p:spPr>
          <a:xfrm>
            <a:off x="5402144" y="5874280"/>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74" name="Textfeld 73"/>
          <p:cNvSpPr txBox="1"/>
          <p:nvPr/>
        </p:nvSpPr>
        <p:spPr>
          <a:xfrm>
            <a:off x="8086777" y="5874280"/>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72" name="Rechteck 122"/>
          <p:cNvSpPr/>
          <p:nvPr>
            <p:custDataLst>
              <p:tags r:id="rId9"/>
            </p:custDataLst>
          </p:nvPr>
        </p:nvSpPr>
        <p:spPr bwMode="auto">
          <a:xfrm>
            <a:off x="4816304" y="5318667"/>
            <a:ext cx="943733" cy="439889"/>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endParaRPr lang="en-GB" sz="800" dirty="0">
              <a:solidFill>
                <a:schemeClr val="tx1">
                  <a:lumMod val="100000"/>
                </a:schemeClr>
              </a:solidFill>
              <a:latin typeface="+mj-lt"/>
            </a:endParaRPr>
          </a:p>
        </p:txBody>
      </p:sp>
      <p:cxnSp>
        <p:nvCxnSpPr>
          <p:cNvPr id="75" name="Gerade Verbindung 159"/>
          <p:cNvCxnSpPr/>
          <p:nvPr/>
        </p:nvCxnSpPr>
        <p:spPr>
          <a:xfrm>
            <a:off x="4801455" y="5549560"/>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9" name="Textfeld 160"/>
          <p:cNvSpPr txBox="1"/>
          <p:nvPr/>
        </p:nvSpPr>
        <p:spPr>
          <a:xfrm>
            <a:off x="4659316" y="5896861"/>
            <a:ext cx="486774" cy="153888"/>
          </a:xfrm>
          <a:prstGeom prst="rect">
            <a:avLst/>
          </a:prstGeom>
          <a:noFill/>
        </p:spPr>
        <p:txBody>
          <a:bodyPr wrap="square" lIns="0" tIns="0" rIns="0" bIns="0" rtlCol="0">
            <a:spAutoFit/>
          </a:bodyPr>
          <a:lstStyle/>
          <a:p>
            <a:r>
              <a:rPr lang="de-DE" sz="1000" dirty="0" smtClean="0"/>
              <a:t>18:00</a:t>
            </a:r>
            <a:endParaRPr lang="de-DE" sz="1000" dirty="0"/>
          </a:p>
        </p:txBody>
      </p:sp>
      <p:cxnSp>
        <p:nvCxnSpPr>
          <p:cNvPr id="81" name="Gerade Verbindung 159"/>
          <p:cNvCxnSpPr/>
          <p:nvPr/>
        </p:nvCxnSpPr>
        <p:spPr>
          <a:xfrm>
            <a:off x="5284132" y="5778904"/>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2" name="Textfeld 160"/>
          <p:cNvSpPr txBox="1"/>
          <p:nvPr/>
        </p:nvSpPr>
        <p:spPr>
          <a:xfrm>
            <a:off x="5141993" y="6392030"/>
            <a:ext cx="486774" cy="153888"/>
          </a:xfrm>
          <a:prstGeom prst="rect">
            <a:avLst/>
          </a:prstGeom>
          <a:noFill/>
        </p:spPr>
        <p:txBody>
          <a:bodyPr wrap="square" lIns="0" tIns="0" rIns="0" bIns="0" rtlCol="0">
            <a:spAutoFit/>
          </a:bodyPr>
          <a:lstStyle/>
          <a:p>
            <a:r>
              <a:rPr lang="de-DE" sz="1000" dirty="0" smtClean="0"/>
              <a:t>21:00</a:t>
            </a:r>
            <a:endParaRPr lang="de-DE" sz="1000" dirty="0"/>
          </a:p>
        </p:txBody>
      </p:sp>
      <p:sp>
        <p:nvSpPr>
          <p:cNvPr id="4" name="Rektangel 3"/>
          <p:cNvSpPr/>
          <p:nvPr/>
        </p:nvSpPr>
        <p:spPr>
          <a:xfrm>
            <a:off x="510493" y="1500734"/>
            <a:ext cx="2184844" cy="91160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smtClean="0">
                <a:solidFill>
                  <a:schemeClr val="bg2">
                    <a:lumMod val="25000"/>
                  </a:schemeClr>
                </a:solidFill>
              </a:rPr>
              <a:t>*Exact timing/sequence shall be properly confirmed shortly before the </a:t>
            </a:r>
            <a:r>
              <a:rPr lang="en-GB" sz="1200" dirty="0" err="1" smtClean="0">
                <a:solidFill>
                  <a:schemeClr val="bg2">
                    <a:lumMod val="25000"/>
                  </a:schemeClr>
                </a:solidFill>
              </a:rPr>
              <a:t>go-live</a:t>
            </a:r>
            <a:r>
              <a:rPr lang="en-GB" sz="1200" dirty="0" smtClean="0">
                <a:solidFill>
                  <a:schemeClr val="bg2">
                    <a:lumMod val="25000"/>
                  </a:schemeClr>
                </a:solidFill>
              </a:rPr>
              <a:t> through the usual market communication.</a:t>
            </a:r>
            <a:endParaRPr lang="en-GB" sz="1200" dirty="0">
              <a:solidFill>
                <a:schemeClr val="bg2">
                  <a:lumMod val="25000"/>
                </a:schemeClr>
              </a:solidFill>
            </a:endParaRPr>
          </a:p>
        </p:txBody>
      </p:sp>
      <p:sp>
        <p:nvSpPr>
          <p:cNvPr id="83" name="Rechteck 77"/>
          <p:cNvSpPr/>
          <p:nvPr>
            <p:custDataLst>
              <p:tags r:id="rId10"/>
            </p:custDataLst>
          </p:nvPr>
        </p:nvSpPr>
        <p:spPr bwMode="auto">
          <a:xfrm>
            <a:off x="3065196" y="4261447"/>
            <a:ext cx="2693940"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GB" sz="1200" dirty="0">
                <a:solidFill>
                  <a:schemeClr val="tx1">
                    <a:lumMod val="100000"/>
                  </a:schemeClr>
                </a:solidFill>
                <a:latin typeface="+mj-lt"/>
              </a:rPr>
              <a:t>No ATCs released for trading </a:t>
            </a:r>
          </a:p>
          <a:p>
            <a:pPr algn="ctr" eaLnBrk="0" hangingPunct="0">
              <a:spcAft>
                <a:spcPct val="0"/>
              </a:spcAft>
            </a:pPr>
            <a:r>
              <a:rPr lang="en-GB" sz="1200" dirty="0">
                <a:solidFill>
                  <a:schemeClr val="tx1">
                    <a:lumMod val="100000"/>
                  </a:schemeClr>
                </a:solidFill>
                <a:latin typeface="+mj-lt"/>
              </a:rPr>
              <a:t>day D-1</a:t>
            </a:r>
          </a:p>
        </p:txBody>
      </p:sp>
      <p:sp>
        <p:nvSpPr>
          <p:cNvPr id="84" name="Rechteck 84"/>
          <p:cNvSpPr/>
          <p:nvPr>
            <p:custDataLst>
              <p:tags r:id="rId11"/>
            </p:custDataLst>
          </p:nvPr>
        </p:nvSpPr>
        <p:spPr bwMode="auto">
          <a:xfrm>
            <a:off x="5761628" y="4261446"/>
            <a:ext cx="2703308" cy="435212"/>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endParaRPr lang="en-GB" sz="1200" dirty="0">
              <a:solidFill>
                <a:schemeClr val="tx1">
                  <a:lumMod val="100000"/>
                </a:schemeClr>
              </a:solidFill>
            </a:endParaRPr>
          </a:p>
        </p:txBody>
      </p:sp>
      <p:sp>
        <p:nvSpPr>
          <p:cNvPr id="86" name="Textfeld 63"/>
          <p:cNvSpPr txBox="1"/>
          <p:nvPr/>
        </p:nvSpPr>
        <p:spPr>
          <a:xfrm>
            <a:off x="2702356" y="4813594"/>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87" name="Textfeld 64"/>
          <p:cNvSpPr txBox="1"/>
          <p:nvPr/>
        </p:nvSpPr>
        <p:spPr>
          <a:xfrm>
            <a:off x="5407746" y="4791288"/>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88" name="Textfeld 65"/>
          <p:cNvSpPr txBox="1"/>
          <p:nvPr/>
        </p:nvSpPr>
        <p:spPr>
          <a:xfrm>
            <a:off x="8092379" y="4791288"/>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cxnSp>
        <p:nvCxnSpPr>
          <p:cNvPr id="138" name="Gerade Verbindung 137"/>
          <p:cNvCxnSpPr>
            <a:stCxn id="78" idx="1"/>
          </p:cNvCxnSpPr>
          <p:nvPr/>
        </p:nvCxnSpPr>
        <p:spPr>
          <a:xfrm flipH="1">
            <a:off x="3057976" y="3553913"/>
            <a:ext cx="9368" cy="809136"/>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5" name="Gerade Verbindung 144"/>
          <p:cNvCxnSpPr>
            <a:stCxn id="85" idx="3"/>
          </p:cNvCxnSpPr>
          <p:nvPr/>
        </p:nvCxnSpPr>
        <p:spPr>
          <a:xfrm flipH="1">
            <a:off x="8455020" y="3553912"/>
            <a:ext cx="12064" cy="102379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6" name="Rechteck 122"/>
          <p:cNvSpPr/>
          <p:nvPr>
            <p:custDataLst>
              <p:tags r:id="rId12"/>
            </p:custDataLst>
          </p:nvPr>
        </p:nvSpPr>
        <p:spPr bwMode="auto">
          <a:xfrm>
            <a:off x="507374" y="6050749"/>
            <a:ext cx="943733" cy="512655"/>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r>
              <a:rPr lang="en-GB" sz="1200" dirty="0" smtClean="0">
                <a:solidFill>
                  <a:schemeClr val="tx1">
                    <a:lumMod val="100000"/>
                  </a:schemeClr>
                </a:solidFill>
                <a:latin typeface="+mj-lt"/>
              </a:rPr>
              <a:t>Trading for delivery day D-1</a:t>
            </a:r>
            <a:endParaRPr lang="en-GB" sz="1200" dirty="0">
              <a:solidFill>
                <a:schemeClr val="tx1">
                  <a:lumMod val="100000"/>
                </a:schemeClr>
              </a:solidFill>
              <a:latin typeface="+mj-lt"/>
            </a:endParaRPr>
          </a:p>
        </p:txBody>
      </p:sp>
      <p:sp>
        <p:nvSpPr>
          <p:cNvPr id="57" name="Rechteck 122"/>
          <p:cNvSpPr/>
          <p:nvPr>
            <p:custDataLst>
              <p:tags r:id="rId13"/>
            </p:custDataLst>
          </p:nvPr>
        </p:nvSpPr>
        <p:spPr bwMode="auto">
          <a:xfrm>
            <a:off x="1461740" y="6050749"/>
            <a:ext cx="943733" cy="505802"/>
          </a:xfrm>
          <a:prstGeom prst="rect">
            <a:avLst/>
          </a:prstGeom>
          <a:solidFill>
            <a:schemeClr val="accent1">
              <a:lumMod val="40000"/>
              <a:lumOff val="60000"/>
            </a:schemeClr>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r>
              <a:rPr lang="en-GB" sz="1200" dirty="0" smtClean="0">
                <a:solidFill>
                  <a:schemeClr val="tx1">
                    <a:lumMod val="100000"/>
                  </a:schemeClr>
                </a:solidFill>
                <a:latin typeface="+mj-lt"/>
              </a:rPr>
              <a:t>No trading for delivery D-1</a:t>
            </a:r>
            <a:endParaRPr lang="en-GB" sz="1200" dirty="0">
              <a:solidFill>
                <a:schemeClr val="tx1">
                  <a:lumMod val="100000"/>
                </a:schemeClr>
              </a:solidFill>
              <a:latin typeface="+mj-lt"/>
            </a:endParaRPr>
          </a:p>
        </p:txBody>
      </p:sp>
    </p:spTree>
    <p:extLst>
      <p:ext uri="{BB962C8B-B14F-4D97-AF65-F5344CB8AC3E}">
        <p14:creationId xmlns:p14="http://schemas.microsoft.com/office/powerpoint/2010/main" val="24561261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3" name="Gerade Verbindung 84"/>
          <p:cNvCxnSpPr/>
          <p:nvPr/>
        </p:nvCxnSpPr>
        <p:spPr>
          <a:xfrm>
            <a:off x="7445760" y="4646830"/>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GB" dirty="0"/>
              <a:t>Cross-border trading possibilities for D-1 </a:t>
            </a:r>
            <a:r>
              <a:rPr lang="en-GB" dirty="0" smtClean="0"/>
              <a:t>delivery (tentative</a:t>
            </a:r>
            <a:r>
              <a:rPr lang="en-GB" dirty="0"/>
              <a:t>)* 	2/3</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8</a:t>
            </a:fld>
            <a:endParaRPr lang="en-US" altLang="en-US" dirty="0"/>
          </a:p>
        </p:txBody>
      </p:sp>
      <p:sp>
        <p:nvSpPr>
          <p:cNvPr id="19" name="Rechteck 18"/>
          <p:cNvSpPr/>
          <p:nvPr>
            <p:custDataLst>
              <p:tags r:id="rId1"/>
            </p:custDataLst>
          </p:nvPr>
        </p:nvSpPr>
        <p:spPr bwMode="auto">
          <a:xfrm>
            <a:off x="3242494" y="1744653"/>
            <a:ext cx="175154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GB" sz="1200" b="1" dirty="0">
                <a:solidFill>
                  <a:schemeClr val="tx1">
                    <a:lumMod val="100000"/>
                  </a:schemeClr>
                </a:solidFill>
                <a:latin typeface="+mj-lt"/>
              </a:rPr>
              <a:t>D-2: Pre-launch</a:t>
            </a:r>
          </a:p>
        </p:txBody>
      </p:sp>
      <p:sp>
        <p:nvSpPr>
          <p:cNvPr id="21" name="Rechteck 20"/>
          <p:cNvSpPr/>
          <p:nvPr>
            <p:custDataLst>
              <p:tags r:id="rId2"/>
            </p:custDataLst>
          </p:nvPr>
        </p:nvSpPr>
        <p:spPr bwMode="auto">
          <a:xfrm>
            <a:off x="4994594" y="1744653"/>
            <a:ext cx="175154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r>
              <a:rPr lang="en-GB" sz="1200" b="1" dirty="0">
                <a:solidFill>
                  <a:schemeClr val="tx1">
                    <a:lumMod val="100000"/>
                  </a:schemeClr>
                </a:solidFill>
                <a:latin typeface="+mj-lt"/>
              </a:rPr>
              <a:t>D-1: Launch</a:t>
            </a:r>
          </a:p>
        </p:txBody>
      </p:sp>
      <p:sp>
        <p:nvSpPr>
          <p:cNvPr id="25" name="Rechteck 24"/>
          <p:cNvSpPr/>
          <p:nvPr>
            <p:custDataLst>
              <p:tags r:id="rId3"/>
            </p:custDataLst>
          </p:nvPr>
        </p:nvSpPr>
        <p:spPr bwMode="auto">
          <a:xfrm>
            <a:off x="6739395" y="1744653"/>
            <a:ext cx="175154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r>
              <a:rPr lang="en-GB" sz="1200" b="1" dirty="0">
                <a:solidFill>
                  <a:schemeClr val="tx1">
                    <a:lumMod val="100000"/>
                  </a:schemeClr>
                </a:solidFill>
              </a:rPr>
              <a:t>D: Delivery of energy traded in XBID</a:t>
            </a:r>
          </a:p>
        </p:txBody>
      </p:sp>
      <p:cxnSp>
        <p:nvCxnSpPr>
          <p:cNvPr id="45" name="Gerade Verbindung 44"/>
          <p:cNvCxnSpPr>
            <a:stCxn id="19" idx="1"/>
          </p:cNvCxnSpPr>
          <p:nvPr/>
        </p:nvCxnSpPr>
        <p:spPr>
          <a:xfrm>
            <a:off x="3242494" y="1962259"/>
            <a:ext cx="0" cy="35974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a:stCxn id="21" idx="1"/>
          </p:cNvCxnSpPr>
          <p:nvPr/>
        </p:nvCxnSpPr>
        <p:spPr>
          <a:xfrm flipH="1">
            <a:off x="4994038" y="1962259"/>
            <a:ext cx="556" cy="35974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a:xfrm>
            <a:off x="8482988" y="1962259"/>
            <a:ext cx="651" cy="35774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a:stCxn id="25" idx="1"/>
          </p:cNvCxnSpPr>
          <p:nvPr/>
        </p:nvCxnSpPr>
        <p:spPr>
          <a:xfrm flipH="1">
            <a:off x="6738187" y="1962259"/>
            <a:ext cx="1208" cy="33872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6" name="Textfeld 75"/>
          <p:cNvSpPr txBox="1"/>
          <p:nvPr/>
        </p:nvSpPr>
        <p:spPr>
          <a:xfrm>
            <a:off x="510493" y="3462406"/>
            <a:ext cx="622690" cy="215444"/>
          </a:xfrm>
          <a:prstGeom prst="rect">
            <a:avLst/>
          </a:prstGeom>
          <a:noFill/>
        </p:spPr>
        <p:txBody>
          <a:bodyPr wrap="square" lIns="0" tIns="0" rIns="0" bIns="0" rtlCol="0">
            <a:spAutoFit/>
          </a:bodyPr>
          <a:lstStyle/>
          <a:p>
            <a:r>
              <a:rPr lang="de-DE" sz="1400" b="1" dirty="0"/>
              <a:t>LIP 4</a:t>
            </a:r>
          </a:p>
        </p:txBody>
      </p:sp>
      <p:sp>
        <p:nvSpPr>
          <p:cNvPr id="77" name="Tekstboks 7"/>
          <p:cNvSpPr txBox="1"/>
          <p:nvPr/>
        </p:nvSpPr>
        <p:spPr>
          <a:xfrm>
            <a:off x="1129533" y="3464462"/>
            <a:ext cx="1585615" cy="184666"/>
          </a:xfrm>
          <a:prstGeom prst="rect">
            <a:avLst/>
          </a:prstGeom>
          <a:noFill/>
        </p:spPr>
        <p:txBody>
          <a:bodyPr wrap="square" lIns="0" tIns="0" rIns="0" bIns="0" rtlCol="0">
            <a:spAutoFit/>
          </a:bodyPr>
          <a:lstStyle/>
          <a:p>
            <a:r>
              <a:rPr lang="da-DK" sz="1200" dirty="0"/>
              <a:t>NO2-NL </a:t>
            </a:r>
          </a:p>
        </p:txBody>
      </p:sp>
      <p:sp>
        <p:nvSpPr>
          <p:cNvPr id="78" name="Rechteck 77"/>
          <p:cNvSpPr/>
          <p:nvPr>
            <p:custDataLst>
              <p:tags r:id="rId4"/>
            </p:custDataLst>
          </p:nvPr>
        </p:nvSpPr>
        <p:spPr bwMode="auto">
          <a:xfrm>
            <a:off x="3057976" y="3410738"/>
            <a:ext cx="2703308"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GB" sz="1200" dirty="0">
                <a:solidFill>
                  <a:schemeClr val="tx1">
                    <a:lumMod val="100000"/>
                  </a:schemeClr>
                </a:solidFill>
                <a:latin typeface="+mj-lt"/>
              </a:rPr>
              <a:t>No ATC released for trading day D-1</a:t>
            </a:r>
          </a:p>
        </p:txBody>
      </p:sp>
      <p:cxnSp>
        <p:nvCxnSpPr>
          <p:cNvPr id="80" name="Gerade Verbindung 79"/>
          <p:cNvCxnSpPr>
            <a:stCxn id="78" idx="3"/>
          </p:cNvCxnSpPr>
          <p:nvPr/>
        </p:nvCxnSpPr>
        <p:spPr>
          <a:xfrm>
            <a:off x="5761284" y="3628344"/>
            <a:ext cx="0" cy="33454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5" name="Rechteck 84"/>
          <p:cNvSpPr/>
          <p:nvPr>
            <p:custDataLst>
              <p:tags r:id="rId5"/>
            </p:custDataLst>
          </p:nvPr>
        </p:nvSpPr>
        <p:spPr bwMode="auto">
          <a:xfrm>
            <a:off x="5763776" y="3410737"/>
            <a:ext cx="2703308" cy="435211"/>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endParaRPr lang="en-GB" sz="1200" dirty="0">
              <a:solidFill>
                <a:schemeClr val="tx1">
                  <a:lumMod val="100000"/>
                </a:schemeClr>
              </a:solidFill>
              <a:latin typeface="+mj-lt"/>
            </a:endParaRPr>
          </a:p>
        </p:txBody>
      </p:sp>
      <p:cxnSp>
        <p:nvCxnSpPr>
          <p:cNvPr id="99" name="Gerade Verbindung 98"/>
          <p:cNvCxnSpPr/>
          <p:nvPr/>
        </p:nvCxnSpPr>
        <p:spPr>
          <a:xfrm flipH="1">
            <a:off x="3075094" y="2179864"/>
            <a:ext cx="167400" cy="1230874"/>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747346" y="2179864"/>
            <a:ext cx="1715622" cy="1230873"/>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8" name="Textfeld 117"/>
          <p:cNvSpPr txBox="1"/>
          <p:nvPr/>
        </p:nvSpPr>
        <p:spPr>
          <a:xfrm>
            <a:off x="508001" y="4489149"/>
            <a:ext cx="622690" cy="215444"/>
          </a:xfrm>
          <a:prstGeom prst="rect">
            <a:avLst/>
          </a:prstGeom>
          <a:noFill/>
        </p:spPr>
        <p:txBody>
          <a:bodyPr wrap="square" lIns="0" tIns="0" rIns="0" bIns="0" rtlCol="0">
            <a:spAutoFit/>
          </a:bodyPr>
          <a:lstStyle/>
          <a:p>
            <a:r>
              <a:rPr lang="de-DE" sz="1400" b="1" dirty="0"/>
              <a:t>LIP 5</a:t>
            </a:r>
          </a:p>
        </p:txBody>
      </p:sp>
      <p:sp>
        <p:nvSpPr>
          <p:cNvPr id="119" name="Tekstboks 7"/>
          <p:cNvSpPr txBox="1"/>
          <p:nvPr/>
        </p:nvSpPr>
        <p:spPr>
          <a:xfrm>
            <a:off x="1127041" y="4491205"/>
            <a:ext cx="1585615" cy="184666"/>
          </a:xfrm>
          <a:prstGeom prst="rect">
            <a:avLst/>
          </a:prstGeom>
          <a:noFill/>
        </p:spPr>
        <p:txBody>
          <a:bodyPr wrap="square" lIns="0" tIns="0" rIns="0" bIns="0" rtlCol="0">
            <a:spAutoFit/>
          </a:bodyPr>
          <a:lstStyle/>
          <a:p>
            <a:r>
              <a:rPr lang="da-DK" sz="1200" dirty="0"/>
              <a:t>FR-DE</a:t>
            </a:r>
          </a:p>
        </p:txBody>
      </p:sp>
      <p:sp>
        <p:nvSpPr>
          <p:cNvPr id="120" name="Rechteck 119"/>
          <p:cNvSpPr/>
          <p:nvPr>
            <p:custDataLst>
              <p:tags r:id="rId6"/>
            </p:custDataLst>
          </p:nvPr>
        </p:nvSpPr>
        <p:spPr bwMode="auto">
          <a:xfrm>
            <a:off x="3055484" y="4437481"/>
            <a:ext cx="1488871"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GB" sz="1200" dirty="0">
                <a:solidFill>
                  <a:schemeClr val="tx1">
                    <a:lumMod val="100000"/>
                  </a:schemeClr>
                </a:solidFill>
                <a:latin typeface="+mj-lt"/>
              </a:rPr>
              <a:t>ATC released for trading day D-1</a:t>
            </a:r>
          </a:p>
        </p:txBody>
      </p:sp>
      <p:cxnSp>
        <p:nvCxnSpPr>
          <p:cNvPr id="122" name="Gerade Verbindung 121"/>
          <p:cNvCxnSpPr>
            <a:stCxn id="64" idx="3"/>
          </p:cNvCxnSpPr>
          <p:nvPr/>
        </p:nvCxnSpPr>
        <p:spPr>
          <a:xfrm flipH="1">
            <a:off x="5758792" y="4652779"/>
            <a:ext cx="2492" cy="336849"/>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3" name="Rechteck 122"/>
          <p:cNvSpPr/>
          <p:nvPr>
            <p:custDataLst>
              <p:tags r:id="rId7"/>
            </p:custDataLst>
          </p:nvPr>
        </p:nvSpPr>
        <p:spPr bwMode="auto">
          <a:xfrm>
            <a:off x="5753333" y="4437480"/>
            <a:ext cx="1692000" cy="435211"/>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endParaRPr lang="en-GB" sz="900" dirty="0">
              <a:solidFill>
                <a:schemeClr val="tx1">
                  <a:lumMod val="100000"/>
                </a:schemeClr>
              </a:solidFill>
              <a:latin typeface="+mj-lt"/>
            </a:endParaRPr>
          </a:p>
        </p:txBody>
      </p:sp>
      <p:sp>
        <p:nvSpPr>
          <p:cNvPr id="128" name="Textfeld 127"/>
          <p:cNvSpPr txBox="1"/>
          <p:nvPr/>
        </p:nvSpPr>
        <p:spPr>
          <a:xfrm>
            <a:off x="507374" y="5444768"/>
            <a:ext cx="622690" cy="215444"/>
          </a:xfrm>
          <a:prstGeom prst="rect">
            <a:avLst/>
          </a:prstGeom>
          <a:noFill/>
        </p:spPr>
        <p:txBody>
          <a:bodyPr wrap="square" lIns="0" tIns="0" rIns="0" bIns="0" rtlCol="0">
            <a:spAutoFit/>
          </a:bodyPr>
          <a:lstStyle/>
          <a:p>
            <a:r>
              <a:rPr lang="de-DE" sz="1400" b="1" dirty="0"/>
              <a:t>LIP 6</a:t>
            </a:r>
          </a:p>
        </p:txBody>
      </p:sp>
      <p:sp>
        <p:nvSpPr>
          <p:cNvPr id="129" name="Tekstboks 7"/>
          <p:cNvSpPr txBox="1"/>
          <p:nvPr/>
        </p:nvSpPr>
        <p:spPr>
          <a:xfrm>
            <a:off x="1126414" y="5446824"/>
            <a:ext cx="1585615" cy="184666"/>
          </a:xfrm>
          <a:prstGeom prst="rect">
            <a:avLst/>
          </a:prstGeom>
          <a:noFill/>
        </p:spPr>
        <p:txBody>
          <a:bodyPr wrap="square" lIns="0" tIns="0" rIns="0" bIns="0" rtlCol="0">
            <a:spAutoFit/>
          </a:bodyPr>
          <a:lstStyle/>
          <a:p>
            <a:r>
              <a:rPr lang="da-DK" sz="1200" dirty="0"/>
              <a:t>BE-NL </a:t>
            </a:r>
            <a:endParaRPr lang="da-DK" sz="1200" dirty="0">
              <a:solidFill>
                <a:schemeClr val="accent1"/>
              </a:solidFill>
            </a:endParaRPr>
          </a:p>
        </p:txBody>
      </p:sp>
      <p:sp>
        <p:nvSpPr>
          <p:cNvPr id="130" name="Rechteck 129"/>
          <p:cNvSpPr/>
          <p:nvPr>
            <p:custDataLst>
              <p:tags r:id="rId8"/>
            </p:custDataLst>
          </p:nvPr>
        </p:nvSpPr>
        <p:spPr bwMode="auto">
          <a:xfrm>
            <a:off x="3054857" y="5393100"/>
            <a:ext cx="1480331"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GB" sz="1200" dirty="0">
                <a:solidFill>
                  <a:schemeClr val="tx1">
                    <a:lumMod val="100000"/>
                  </a:schemeClr>
                </a:solidFill>
                <a:latin typeface="+mj-lt"/>
              </a:rPr>
              <a:t>ATC released for trading day D-1</a:t>
            </a:r>
          </a:p>
        </p:txBody>
      </p:sp>
      <p:cxnSp>
        <p:nvCxnSpPr>
          <p:cNvPr id="131" name="Gerade Verbindung 130"/>
          <p:cNvCxnSpPr>
            <a:stCxn id="130" idx="1"/>
          </p:cNvCxnSpPr>
          <p:nvPr/>
        </p:nvCxnSpPr>
        <p:spPr>
          <a:xfrm>
            <a:off x="3054857" y="5610706"/>
            <a:ext cx="0" cy="33454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2" name="Gerade Verbindung 131"/>
          <p:cNvCxnSpPr>
            <a:stCxn id="65" idx="3"/>
          </p:cNvCxnSpPr>
          <p:nvPr/>
        </p:nvCxnSpPr>
        <p:spPr>
          <a:xfrm>
            <a:off x="5752117" y="5611645"/>
            <a:ext cx="6048" cy="333602"/>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33" name="Rechteck 132"/>
          <p:cNvSpPr/>
          <p:nvPr>
            <p:custDataLst>
              <p:tags r:id="rId9"/>
            </p:custDataLst>
          </p:nvPr>
        </p:nvSpPr>
        <p:spPr bwMode="auto">
          <a:xfrm>
            <a:off x="5760656" y="5393099"/>
            <a:ext cx="1702239" cy="435212"/>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endParaRPr lang="en-GB" sz="900" dirty="0">
              <a:solidFill>
                <a:schemeClr val="tx1">
                  <a:lumMod val="100000"/>
                </a:schemeClr>
              </a:solidFill>
            </a:endParaRPr>
          </a:p>
        </p:txBody>
      </p:sp>
      <p:cxnSp>
        <p:nvCxnSpPr>
          <p:cNvPr id="134" name="Gerade Verbindung 133"/>
          <p:cNvCxnSpPr/>
          <p:nvPr/>
        </p:nvCxnSpPr>
        <p:spPr>
          <a:xfrm>
            <a:off x="8462971" y="5610704"/>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8" name="Gerade Verbindung 137"/>
          <p:cNvCxnSpPr>
            <a:stCxn id="78" idx="1"/>
          </p:cNvCxnSpPr>
          <p:nvPr/>
        </p:nvCxnSpPr>
        <p:spPr>
          <a:xfrm>
            <a:off x="3057976" y="3628344"/>
            <a:ext cx="0" cy="809136"/>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1" name="Gerade Verbindung 140"/>
          <p:cNvCxnSpPr>
            <a:stCxn id="120" idx="1"/>
          </p:cNvCxnSpPr>
          <p:nvPr/>
        </p:nvCxnSpPr>
        <p:spPr>
          <a:xfrm>
            <a:off x="3055484" y="4655087"/>
            <a:ext cx="2492" cy="1089642"/>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5" name="Gerade Verbindung 144"/>
          <p:cNvCxnSpPr>
            <a:stCxn id="85" idx="3"/>
          </p:cNvCxnSpPr>
          <p:nvPr/>
        </p:nvCxnSpPr>
        <p:spPr>
          <a:xfrm flipH="1">
            <a:off x="8462971" y="3628343"/>
            <a:ext cx="4113" cy="1021553"/>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a:endCxn id="155" idx="3"/>
          </p:cNvCxnSpPr>
          <p:nvPr/>
        </p:nvCxnSpPr>
        <p:spPr>
          <a:xfrm>
            <a:off x="8462971" y="4649896"/>
            <a:ext cx="0" cy="960808"/>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55" name="Rechteck 154"/>
          <p:cNvSpPr/>
          <p:nvPr>
            <p:custDataLst>
              <p:tags r:id="rId10"/>
            </p:custDataLst>
          </p:nvPr>
        </p:nvSpPr>
        <p:spPr bwMode="auto">
          <a:xfrm>
            <a:off x="7462896" y="5393098"/>
            <a:ext cx="1000075" cy="435211"/>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endParaRPr lang="en-GB" sz="1050" dirty="0">
              <a:solidFill>
                <a:schemeClr val="tx1">
                  <a:lumMod val="100000"/>
                </a:schemeClr>
              </a:solidFill>
            </a:endParaRPr>
          </a:p>
        </p:txBody>
      </p:sp>
      <p:cxnSp>
        <p:nvCxnSpPr>
          <p:cNvPr id="160" name="Gerade Verbindung 159"/>
          <p:cNvCxnSpPr/>
          <p:nvPr/>
        </p:nvCxnSpPr>
        <p:spPr>
          <a:xfrm>
            <a:off x="7457241" y="5576388"/>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61" name="Textfeld 160"/>
          <p:cNvSpPr txBox="1"/>
          <p:nvPr/>
        </p:nvSpPr>
        <p:spPr>
          <a:xfrm>
            <a:off x="7293140" y="5901313"/>
            <a:ext cx="339512" cy="153888"/>
          </a:xfrm>
          <a:prstGeom prst="rect">
            <a:avLst/>
          </a:prstGeom>
          <a:noFill/>
        </p:spPr>
        <p:txBody>
          <a:bodyPr wrap="square" lIns="0" tIns="0" rIns="0" bIns="0" rtlCol="0">
            <a:spAutoFit/>
          </a:bodyPr>
          <a:lstStyle/>
          <a:p>
            <a:r>
              <a:rPr lang="de-DE" sz="1000" dirty="0"/>
              <a:t>16:00</a:t>
            </a:r>
          </a:p>
        </p:txBody>
      </p:sp>
      <p:sp>
        <p:nvSpPr>
          <p:cNvPr id="54" name="Rechteck 154"/>
          <p:cNvSpPr/>
          <p:nvPr>
            <p:custDataLst>
              <p:tags r:id="rId11"/>
            </p:custDataLst>
          </p:nvPr>
        </p:nvSpPr>
        <p:spPr bwMode="auto">
          <a:xfrm>
            <a:off x="7445333" y="4437479"/>
            <a:ext cx="1017635" cy="435211"/>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endParaRPr lang="en-GB" sz="1050" dirty="0">
              <a:solidFill>
                <a:schemeClr val="tx1">
                  <a:lumMod val="100000"/>
                </a:schemeClr>
              </a:solidFill>
              <a:latin typeface="+mj-lt"/>
            </a:endParaRPr>
          </a:p>
        </p:txBody>
      </p:sp>
      <p:sp>
        <p:nvSpPr>
          <p:cNvPr id="71" name="Textfeld 85"/>
          <p:cNvSpPr txBox="1"/>
          <p:nvPr/>
        </p:nvSpPr>
        <p:spPr>
          <a:xfrm>
            <a:off x="7219864" y="4997269"/>
            <a:ext cx="451789" cy="153889"/>
          </a:xfrm>
          <a:prstGeom prst="rect">
            <a:avLst/>
          </a:prstGeom>
          <a:noFill/>
        </p:spPr>
        <p:txBody>
          <a:bodyPr wrap="square" lIns="0" tIns="0" rIns="0" bIns="0" rtlCol="0">
            <a:spAutoFit/>
          </a:bodyPr>
          <a:lstStyle/>
          <a:p>
            <a:pPr algn="ctr"/>
            <a:r>
              <a:rPr lang="en-US" sz="1000" dirty="0"/>
              <a:t>16:00</a:t>
            </a:r>
          </a:p>
        </p:txBody>
      </p:sp>
      <p:sp>
        <p:nvSpPr>
          <p:cNvPr id="64" name="Rechteck 122"/>
          <p:cNvSpPr/>
          <p:nvPr>
            <p:custDataLst>
              <p:tags r:id="rId12"/>
            </p:custDataLst>
          </p:nvPr>
        </p:nvSpPr>
        <p:spPr bwMode="auto">
          <a:xfrm>
            <a:off x="4544355" y="4437481"/>
            <a:ext cx="1216929" cy="430595"/>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endParaRPr lang="en-GB" sz="900" dirty="0">
              <a:solidFill>
                <a:schemeClr val="tx1">
                  <a:lumMod val="100000"/>
                </a:schemeClr>
              </a:solidFill>
              <a:latin typeface="+mj-lt"/>
            </a:endParaRPr>
          </a:p>
        </p:txBody>
      </p:sp>
      <p:sp>
        <p:nvSpPr>
          <p:cNvPr id="65" name="Rechteck 122"/>
          <p:cNvSpPr/>
          <p:nvPr>
            <p:custDataLst>
              <p:tags r:id="rId13"/>
            </p:custDataLst>
          </p:nvPr>
        </p:nvSpPr>
        <p:spPr bwMode="auto">
          <a:xfrm>
            <a:off x="4535188" y="5394980"/>
            <a:ext cx="1216929" cy="433329"/>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endParaRPr lang="en-GB" sz="900" dirty="0">
              <a:solidFill>
                <a:schemeClr val="tx1">
                  <a:lumMod val="100000"/>
                </a:schemeClr>
              </a:solidFill>
              <a:latin typeface="+mj-lt"/>
            </a:endParaRPr>
          </a:p>
        </p:txBody>
      </p:sp>
      <p:cxnSp>
        <p:nvCxnSpPr>
          <p:cNvPr id="66" name="Gerade Verbindung 84"/>
          <p:cNvCxnSpPr/>
          <p:nvPr/>
        </p:nvCxnSpPr>
        <p:spPr>
          <a:xfrm>
            <a:off x="4544356" y="4651915"/>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7" name="Textfeld 85"/>
          <p:cNvSpPr txBox="1"/>
          <p:nvPr/>
        </p:nvSpPr>
        <p:spPr>
          <a:xfrm>
            <a:off x="4318460" y="5002354"/>
            <a:ext cx="451789" cy="153889"/>
          </a:xfrm>
          <a:prstGeom prst="rect">
            <a:avLst/>
          </a:prstGeom>
          <a:noFill/>
        </p:spPr>
        <p:txBody>
          <a:bodyPr wrap="square" lIns="0" tIns="0" rIns="0" bIns="0" rtlCol="0">
            <a:spAutoFit/>
          </a:bodyPr>
          <a:lstStyle/>
          <a:p>
            <a:pPr algn="ctr"/>
            <a:r>
              <a:rPr lang="en-US" sz="1000" dirty="0"/>
              <a:t>21:05</a:t>
            </a:r>
          </a:p>
        </p:txBody>
      </p:sp>
      <p:cxnSp>
        <p:nvCxnSpPr>
          <p:cNvPr id="68" name="Gerade Verbindung 84"/>
          <p:cNvCxnSpPr/>
          <p:nvPr/>
        </p:nvCxnSpPr>
        <p:spPr>
          <a:xfrm>
            <a:off x="4544355" y="5598272"/>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9" name="Textfeld 85"/>
          <p:cNvSpPr txBox="1"/>
          <p:nvPr/>
        </p:nvSpPr>
        <p:spPr>
          <a:xfrm>
            <a:off x="4318459" y="5948711"/>
            <a:ext cx="451789" cy="153889"/>
          </a:xfrm>
          <a:prstGeom prst="rect">
            <a:avLst/>
          </a:prstGeom>
          <a:noFill/>
        </p:spPr>
        <p:txBody>
          <a:bodyPr wrap="square" lIns="0" tIns="0" rIns="0" bIns="0" rtlCol="0">
            <a:spAutoFit/>
          </a:bodyPr>
          <a:lstStyle/>
          <a:p>
            <a:pPr algn="ctr"/>
            <a:r>
              <a:rPr lang="en-US" sz="1000" dirty="0"/>
              <a:t>21:00</a:t>
            </a:r>
          </a:p>
        </p:txBody>
      </p:sp>
      <p:sp>
        <p:nvSpPr>
          <p:cNvPr id="74" name="Rektangel 3"/>
          <p:cNvSpPr/>
          <p:nvPr/>
        </p:nvSpPr>
        <p:spPr>
          <a:xfrm>
            <a:off x="510493" y="1500734"/>
            <a:ext cx="2184844" cy="91160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chemeClr val="bg2">
                    <a:lumMod val="25000"/>
                  </a:schemeClr>
                </a:solidFill>
              </a:rPr>
              <a:t>*Exact timing/sequence shall be properly confirmed shortly before the </a:t>
            </a:r>
            <a:r>
              <a:rPr lang="en-GB" sz="1200" dirty="0" err="1">
                <a:solidFill>
                  <a:schemeClr val="bg2">
                    <a:lumMod val="25000"/>
                  </a:schemeClr>
                </a:solidFill>
              </a:rPr>
              <a:t>go-live</a:t>
            </a:r>
            <a:r>
              <a:rPr lang="en-GB" sz="1200" dirty="0">
                <a:solidFill>
                  <a:schemeClr val="bg2">
                    <a:lumMod val="25000"/>
                  </a:schemeClr>
                </a:solidFill>
              </a:rPr>
              <a:t> through the usual market communication.</a:t>
            </a:r>
          </a:p>
        </p:txBody>
      </p:sp>
      <p:sp>
        <p:nvSpPr>
          <p:cNvPr id="70" name="Textfeld 57"/>
          <p:cNvSpPr txBox="1"/>
          <p:nvPr/>
        </p:nvSpPr>
        <p:spPr>
          <a:xfrm>
            <a:off x="2881920" y="2300979"/>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75" name="Textfeld 58"/>
          <p:cNvSpPr txBox="1"/>
          <p:nvPr/>
        </p:nvSpPr>
        <p:spPr>
          <a:xfrm>
            <a:off x="4645603" y="2320006"/>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79" name="Textfeld 61"/>
          <p:cNvSpPr txBox="1"/>
          <p:nvPr/>
        </p:nvSpPr>
        <p:spPr>
          <a:xfrm>
            <a:off x="6373032" y="2287740"/>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81" name="Textfeld 62"/>
          <p:cNvSpPr txBox="1"/>
          <p:nvPr/>
        </p:nvSpPr>
        <p:spPr>
          <a:xfrm>
            <a:off x="8116601" y="2320006"/>
            <a:ext cx="716855" cy="184666"/>
          </a:xfrm>
          <a:prstGeom prst="rect">
            <a:avLst/>
          </a:prstGeom>
          <a:noFill/>
        </p:spPr>
        <p:txBody>
          <a:bodyPr wrap="square" lIns="0" tIns="0" rIns="0" bIns="0" rtlCol="0">
            <a:spAutoFit/>
          </a:bodyPr>
          <a:lstStyle/>
          <a:p>
            <a:r>
              <a:rPr lang="de-DE" sz="1200" dirty="0" smtClean="0">
                <a:solidFill>
                  <a:srgbClr val="FF0000"/>
                </a:solidFill>
              </a:rPr>
              <a:t>14 June</a:t>
            </a:r>
            <a:endParaRPr lang="de-DE" sz="1200" dirty="0">
              <a:solidFill>
                <a:srgbClr val="FF0000"/>
              </a:solidFill>
            </a:endParaRPr>
          </a:p>
        </p:txBody>
      </p:sp>
      <p:sp>
        <p:nvSpPr>
          <p:cNvPr id="82" name="Textfeld 63"/>
          <p:cNvSpPr txBox="1"/>
          <p:nvPr/>
        </p:nvSpPr>
        <p:spPr>
          <a:xfrm>
            <a:off x="2704504" y="3962885"/>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83" name="Textfeld 64"/>
          <p:cNvSpPr txBox="1"/>
          <p:nvPr/>
        </p:nvSpPr>
        <p:spPr>
          <a:xfrm>
            <a:off x="5409894" y="3940579"/>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84" name="Textfeld 65"/>
          <p:cNvSpPr txBox="1"/>
          <p:nvPr/>
        </p:nvSpPr>
        <p:spPr>
          <a:xfrm>
            <a:off x="8094527" y="3940579"/>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86" name="Textfeld 66"/>
          <p:cNvSpPr txBox="1"/>
          <p:nvPr/>
        </p:nvSpPr>
        <p:spPr>
          <a:xfrm>
            <a:off x="2695337" y="5024660"/>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87" name="Textfeld 67"/>
          <p:cNvSpPr txBox="1"/>
          <p:nvPr/>
        </p:nvSpPr>
        <p:spPr>
          <a:xfrm>
            <a:off x="5400727" y="5002354"/>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88" name="Textfeld 68"/>
          <p:cNvSpPr txBox="1"/>
          <p:nvPr/>
        </p:nvSpPr>
        <p:spPr>
          <a:xfrm>
            <a:off x="8085360" y="5002354"/>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89" name="Textfeld 69"/>
          <p:cNvSpPr txBox="1"/>
          <p:nvPr/>
        </p:nvSpPr>
        <p:spPr>
          <a:xfrm>
            <a:off x="2696754" y="5971017"/>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90" name="Textfeld 70"/>
          <p:cNvSpPr txBox="1"/>
          <p:nvPr/>
        </p:nvSpPr>
        <p:spPr>
          <a:xfrm>
            <a:off x="5402144" y="5948711"/>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91" name="Textfeld 73"/>
          <p:cNvSpPr txBox="1"/>
          <p:nvPr/>
        </p:nvSpPr>
        <p:spPr>
          <a:xfrm>
            <a:off x="8086777" y="5948711"/>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93" name="Rechteck 122"/>
          <p:cNvSpPr/>
          <p:nvPr>
            <p:custDataLst>
              <p:tags r:id="rId14"/>
            </p:custDataLst>
          </p:nvPr>
        </p:nvSpPr>
        <p:spPr bwMode="auto">
          <a:xfrm>
            <a:off x="507374" y="6050749"/>
            <a:ext cx="943733" cy="512655"/>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r>
              <a:rPr lang="en-GB" sz="1200" dirty="0" smtClean="0">
                <a:solidFill>
                  <a:schemeClr val="tx1">
                    <a:lumMod val="100000"/>
                  </a:schemeClr>
                </a:solidFill>
                <a:latin typeface="+mj-lt"/>
              </a:rPr>
              <a:t>Trading for delivery day D-1</a:t>
            </a:r>
            <a:endParaRPr lang="en-GB" sz="1200" dirty="0">
              <a:solidFill>
                <a:schemeClr val="tx1">
                  <a:lumMod val="100000"/>
                </a:schemeClr>
              </a:solidFill>
              <a:latin typeface="+mj-lt"/>
            </a:endParaRPr>
          </a:p>
        </p:txBody>
      </p:sp>
      <p:sp>
        <p:nvSpPr>
          <p:cNvPr id="94" name="Rechteck 122"/>
          <p:cNvSpPr/>
          <p:nvPr>
            <p:custDataLst>
              <p:tags r:id="rId15"/>
            </p:custDataLst>
          </p:nvPr>
        </p:nvSpPr>
        <p:spPr bwMode="auto">
          <a:xfrm>
            <a:off x="1461740" y="6050749"/>
            <a:ext cx="943733" cy="505802"/>
          </a:xfrm>
          <a:prstGeom prst="rect">
            <a:avLst/>
          </a:prstGeom>
          <a:solidFill>
            <a:schemeClr val="accent1">
              <a:lumMod val="40000"/>
              <a:lumOff val="60000"/>
            </a:schemeClr>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r>
              <a:rPr lang="en-GB" sz="1200" dirty="0" smtClean="0">
                <a:solidFill>
                  <a:schemeClr val="tx1">
                    <a:lumMod val="100000"/>
                  </a:schemeClr>
                </a:solidFill>
                <a:latin typeface="+mj-lt"/>
              </a:rPr>
              <a:t>No trading for delivery D-1</a:t>
            </a:r>
            <a:endParaRPr lang="en-GB" sz="1200" dirty="0">
              <a:solidFill>
                <a:schemeClr val="tx1">
                  <a:lumMod val="100000"/>
                </a:schemeClr>
              </a:solidFill>
              <a:latin typeface="+mj-lt"/>
            </a:endParaRPr>
          </a:p>
        </p:txBody>
      </p:sp>
    </p:spTree>
    <p:extLst>
      <p:ext uri="{BB962C8B-B14F-4D97-AF65-F5344CB8AC3E}">
        <p14:creationId xmlns:p14="http://schemas.microsoft.com/office/powerpoint/2010/main" val="570180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Cross-border trading </a:t>
            </a:r>
            <a:r>
              <a:rPr lang="en-GB" dirty="0"/>
              <a:t>possibilities</a:t>
            </a:r>
            <a:r>
              <a:rPr lang="en-US" dirty="0" smtClean="0"/>
              <a:t> </a:t>
            </a:r>
            <a:r>
              <a:rPr lang="en-US" dirty="0"/>
              <a:t>for D-1 </a:t>
            </a:r>
            <a:r>
              <a:rPr lang="en-US" dirty="0" smtClean="0"/>
              <a:t>delivery </a:t>
            </a:r>
            <a:r>
              <a:rPr lang="en-GB" dirty="0" smtClean="0"/>
              <a:t>(tentative</a:t>
            </a:r>
            <a:r>
              <a:rPr lang="en-GB" dirty="0"/>
              <a:t>)* </a:t>
            </a:r>
            <a:r>
              <a:rPr lang="en-US" dirty="0"/>
              <a:t>	3/3</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59</a:t>
            </a:fld>
            <a:endParaRPr lang="en-US" altLang="en-US" dirty="0"/>
          </a:p>
        </p:txBody>
      </p:sp>
      <p:sp>
        <p:nvSpPr>
          <p:cNvPr id="76" name="Textfeld 75"/>
          <p:cNvSpPr txBox="1"/>
          <p:nvPr/>
        </p:nvSpPr>
        <p:spPr>
          <a:xfrm>
            <a:off x="510493" y="3185948"/>
            <a:ext cx="622690" cy="215444"/>
          </a:xfrm>
          <a:prstGeom prst="rect">
            <a:avLst/>
          </a:prstGeom>
          <a:noFill/>
        </p:spPr>
        <p:txBody>
          <a:bodyPr wrap="square" lIns="0" tIns="0" rIns="0" bIns="0" rtlCol="0">
            <a:spAutoFit/>
          </a:bodyPr>
          <a:lstStyle/>
          <a:p>
            <a:r>
              <a:rPr lang="en-US" sz="1400" b="1" dirty="0"/>
              <a:t>LIP 8</a:t>
            </a:r>
          </a:p>
        </p:txBody>
      </p:sp>
      <p:sp>
        <p:nvSpPr>
          <p:cNvPr id="77" name="Tekstboks 7"/>
          <p:cNvSpPr txBox="1"/>
          <p:nvPr/>
        </p:nvSpPr>
        <p:spPr>
          <a:xfrm>
            <a:off x="1129533" y="3188004"/>
            <a:ext cx="1585615" cy="184666"/>
          </a:xfrm>
          <a:prstGeom prst="rect">
            <a:avLst/>
          </a:prstGeom>
          <a:noFill/>
        </p:spPr>
        <p:txBody>
          <a:bodyPr wrap="square" lIns="0" tIns="0" rIns="0" bIns="0" rtlCol="0">
            <a:spAutoFit/>
          </a:bodyPr>
          <a:lstStyle/>
          <a:p>
            <a:r>
              <a:rPr lang="en-US" sz="1200" dirty="0"/>
              <a:t>BE-FR</a:t>
            </a:r>
            <a:endParaRPr lang="en-US" sz="1200" dirty="0">
              <a:solidFill>
                <a:schemeClr val="accent1"/>
              </a:solidFill>
            </a:endParaRPr>
          </a:p>
        </p:txBody>
      </p:sp>
      <p:sp>
        <p:nvSpPr>
          <p:cNvPr id="78" name="Rechteck 77"/>
          <p:cNvSpPr/>
          <p:nvPr>
            <p:custDataLst>
              <p:tags r:id="rId1"/>
            </p:custDataLst>
          </p:nvPr>
        </p:nvSpPr>
        <p:spPr bwMode="auto">
          <a:xfrm>
            <a:off x="3057976" y="3134280"/>
            <a:ext cx="1828131"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r>
              <a:rPr lang="en-US" sz="1200" dirty="0">
                <a:solidFill>
                  <a:schemeClr val="tx1">
                    <a:lumMod val="100000"/>
                  </a:schemeClr>
                </a:solidFill>
              </a:rPr>
              <a:t>ATC released for trading day D-1</a:t>
            </a:r>
          </a:p>
        </p:txBody>
      </p:sp>
      <p:cxnSp>
        <p:nvCxnSpPr>
          <p:cNvPr id="80" name="Gerade Verbindung 79"/>
          <p:cNvCxnSpPr>
            <a:stCxn id="73" idx="1"/>
          </p:cNvCxnSpPr>
          <p:nvPr/>
        </p:nvCxnSpPr>
        <p:spPr>
          <a:xfrm flipH="1">
            <a:off x="5761284" y="3351887"/>
            <a:ext cx="581" cy="33454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p:nvCxnSpPr>
        <p:spPr>
          <a:xfrm flipH="1">
            <a:off x="3064791" y="2179864"/>
            <a:ext cx="177703" cy="100814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6747346" y="2179864"/>
            <a:ext cx="1727682" cy="954416"/>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18" name="Textfeld 117"/>
          <p:cNvSpPr txBox="1"/>
          <p:nvPr/>
        </p:nvSpPr>
        <p:spPr>
          <a:xfrm>
            <a:off x="508001" y="4118095"/>
            <a:ext cx="622690" cy="430887"/>
          </a:xfrm>
          <a:prstGeom prst="rect">
            <a:avLst/>
          </a:prstGeom>
          <a:noFill/>
        </p:spPr>
        <p:txBody>
          <a:bodyPr wrap="square" lIns="0" tIns="0" rIns="0" bIns="0" rtlCol="0">
            <a:spAutoFit/>
          </a:bodyPr>
          <a:lstStyle/>
          <a:p>
            <a:r>
              <a:rPr lang="en-US" sz="1400" b="1" dirty="0"/>
              <a:t>LIP 9&amp;12 </a:t>
            </a:r>
          </a:p>
        </p:txBody>
      </p:sp>
      <p:sp>
        <p:nvSpPr>
          <p:cNvPr id="119" name="Tekstboks 7"/>
          <p:cNvSpPr txBox="1"/>
          <p:nvPr/>
        </p:nvSpPr>
        <p:spPr>
          <a:xfrm>
            <a:off x="1127041" y="4120151"/>
            <a:ext cx="1585615" cy="184666"/>
          </a:xfrm>
          <a:prstGeom prst="rect">
            <a:avLst/>
          </a:prstGeom>
          <a:noFill/>
        </p:spPr>
        <p:txBody>
          <a:bodyPr wrap="square" lIns="0" tIns="0" rIns="0" bIns="0" rtlCol="0">
            <a:spAutoFit/>
          </a:bodyPr>
          <a:lstStyle/>
          <a:p>
            <a:r>
              <a:rPr lang="en-US" sz="1200" dirty="0"/>
              <a:t>FR-ES</a:t>
            </a:r>
            <a:endParaRPr lang="en-US" sz="1200" dirty="0">
              <a:solidFill>
                <a:schemeClr val="accent1"/>
              </a:solidFill>
            </a:endParaRPr>
          </a:p>
        </p:txBody>
      </p:sp>
      <p:sp>
        <p:nvSpPr>
          <p:cNvPr id="128" name="Textfeld 127"/>
          <p:cNvSpPr txBox="1"/>
          <p:nvPr/>
        </p:nvSpPr>
        <p:spPr>
          <a:xfrm>
            <a:off x="507373" y="4997815"/>
            <a:ext cx="1459971" cy="430887"/>
          </a:xfrm>
          <a:prstGeom prst="rect">
            <a:avLst/>
          </a:prstGeom>
          <a:noFill/>
        </p:spPr>
        <p:txBody>
          <a:bodyPr wrap="square" lIns="0" tIns="0" rIns="0" bIns="0" rtlCol="0">
            <a:spAutoFit/>
          </a:bodyPr>
          <a:lstStyle/>
          <a:p>
            <a:r>
              <a:rPr lang="en-US" sz="1400" b="1" dirty="0"/>
              <a:t>LIP 13</a:t>
            </a:r>
            <a:r>
              <a:rPr lang="lv-LV" sz="1400" b="1" dirty="0"/>
              <a:t> </a:t>
            </a:r>
            <a:r>
              <a:rPr lang="de-DE" sz="1400" b="1" dirty="0"/>
              <a:t> </a:t>
            </a:r>
            <a:r>
              <a:rPr lang="lv-LV" sz="1400" dirty="0"/>
              <a:t>Baltic</a:t>
            </a:r>
            <a:r>
              <a:rPr lang="da-DK" sz="1400" b="1" dirty="0"/>
              <a:t> </a:t>
            </a:r>
            <a:r>
              <a:rPr lang="lv-LV" sz="1400" b="1" dirty="0"/>
              <a:t>	</a:t>
            </a:r>
            <a:endParaRPr lang="en-US" sz="1400" b="1" dirty="0"/>
          </a:p>
        </p:txBody>
      </p:sp>
      <p:sp>
        <p:nvSpPr>
          <p:cNvPr id="129" name="Tekstboks 7"/>
          <p:cNvSpPr txBox="1"/>
          <p:nvPr/>
        </p:nvSpPr>
        <p:spPr>
          <a:xfrm>
            <a:off x="484966" y="5233596"/>
            <a:ext cx="2171643" cy="615553"/>
          </a:xfrm>
          <a:prstGeom prst="rect">
            <a:avLst/>
          </a:prstGeom>
          <a:noFill/>
        </p:spPr>
        <p:txBody>
          <a:bodyPr wrap="square" lIns="0" tIns="0" rIns="0" bIns="0" rtlCol="0">
            <a:spAutoFit/>
          </a:bodyPr>
          <a:lstStyle/>
          <a:p>
            <a:r>
              <a:rPr lang="en-GB" sz="1000" dirty="0"/>
              <a:t>(only for Baltic AC internal interconnectors, for the DC interconnectors with Nordic, the Nordic LIP 1 approach applies) </a:t>
            </a:r>
          </a:p>
        </p:txBody>
      </p:sp>
      <p:cxnSp>
        <p:nvCxnSpPr>
          <p:cNvPr id="138" name="Gerade Verbindung 137"/>
          <p:cNvCxnSpPr>
            <a:stCxn id="78" idx="1"/>
          </p:cNvCxnSpPr>
          <p:nvPr/>
        </p:nvCxnSpPr>
        <p:spPr>
          <a:xfrm>
            <a:off x="3057976" y="3351886"/>
            <a:ext cx="0" cy="809136"/>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1" name="Gerade Verbindung 140"/>
          <p:cNvCxnSpPr/>
          <p:nvPr/>
        </p:nvCxnSpPr>
        <p:spPr>
          <a:xfrm>
            <a:off x="3055484" y="4284033"/>
            <a:ext cx="2492" cy="1089642"/>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5" name="Gerade Verbindung 144"/>
          <p:cNvCxnSpPr/>
          <p:nvPr/>
        </p:nvCxnSpPr>
        <p:spPr>
          <a:xfrm>
            <a:off x="8456641" y="3354177"/>
            <a:ext cx="0" cy="1024451"/>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a:off x="8456641" y="4410160"/>
            <a:ext cx="6330" cy="955618"/>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3" name="Rechteck 52"/>
          <p:cNvSpPr/>
          <p:nvPr>
            <p:custDataLst>
              <p:tags r:id="rId2"/>
            </p:custDataLst>
          </p:nvPr>
        </p:nvSpPr>
        <p:spPr bwMode="auto">
          <a:xfrm>
            <a:off x="3242494" y="1744653"/>
            <a:ext cx="175154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US" sz="1200" b="1" dirty="0">
                <a:solidFill>
                  <a:schemeClr val="tx1">
                    <a:lumMod val="100000"/>
                  </a:schemeClr>
                </a:solidFill>
                <a:latin typeface="+mj-lt"/>
              </a:rPr>
              <a:t>D-2: Pre-launch</a:t>
            </a:r>
          </a:p>
        </p:txBody>
      </p:sp>
      <p:sp>
        <p:nvSpPr>
          <p:cNvPr id="54" name="Rechteck 53"/>
          <p:cNvSpPr/>
          <p:nvPr>
            <p:custDataLst>
              <p:tags r:id="rId3"/>
            </p:custDataLst>
          </p:nvPr>
        </p:nvSpPr>
        <p:spPr bwMode="auto">
          <a:xfrm>
            <a:off x="4994594" y="1744653"/>
            <a:ext cx="175154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r>
              <a:rPr lang="en-US" sz="1200" b="1" dirty="0">
                <a:solidFill>
                  <a:schemeClr val="tx1">
                    <a:lumMod val="100000"/>
                  </a:schemeClr>
                </a:solidFill>
                <a:latin typeface="+mj-lt"/>
              </a:rPr>
              <a:t>D-1: Launch</a:t>
            </a:r>
          </a:p>
        </p:txBody>
      </p:sp>
      <p:sp>
        <p:nvSpPr>
          <p:cNvPr id="55" name="Rechteck 54"/>
          <p:cNvSpPr/>
          <p:nvPr>
            <p:custDataLst>
              <p:tags r:id="rId4"/>
            </p:custDataLst>
          </p:nvPr>
        </p:nvSpPr>
        <p:spPr bwMode="auto">
          <a:xfrm>
            <a:off x="6739395" y="1744653"/>
            <a:ext cx="175154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r>
              <a:rPr lang="en-US" sz="1200" b="1" dirty="0">
                <a:solidFill>
                  <a:schemeClr val="tx1">
                    <a:lumMod val="100000"/>
                  </a:schemeClr>
                </a:solidFill>
              </a:rPr>
              <a:t>D: Delivery of energy traded in XBID</a:t>
            </a:r>
          </a:p>
        </p:txBody>
      </p:sp>
      <p:cxnSp>
        <p:nvCxnSpPr>
          <p:cNvPr id="58" name="Gerade Verbindung 57"/>
          <p:cNvCxnSpPr>
            <a:stCxn id="53" idx="1"/>
          </p:cNvCxnSpPr>
          <p:nvPr/>
        </p:nvCxnSpPr>
        <p:spPr>
          <a:xfrm>
            <a:off x="3242494" y="1962259"/>
            <a:ext cx="0" cy="35974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a:stCxn id="54" idx="1"/>
          </p:cNvCxnSpPr>
          <p:nvPr/>
        </p:nvCxnSpPr>
        <p:spPr>
          <a:xfrm flipH="1">
            <a:off x="4994038" y="1962259"/>
            <a:ext cx="556" cy="35974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nvCxnSpPr>
        <p:spPr>
          <a:xfrm>
            <a:off x="8482988" y="1962259"/>
            <a:ext cx="651" cy="35774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a:stCxn id="55" idx="1"/>
          </p:cNvCxnSpPr>
          <p:nvPr/>
        </p:nvCxnSpPr>
        <p:spPr>
          <a:xfrm flipH="1">
            <a:off x="6738187" y="1962259"/>
            <a:ext cx="1208" cy="33872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2" name="Gerade Verbindung 84"/>
          <p:cNvCxnSpPr/>
          <p:nvPr/>
        </p:nvCxnSpPr>
        <p:spPr>
          <a:xfrm>
            <a:off x="7454289" y="3343631"/>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3" name="Rechteck 122"/>
          <p:cNvSpPr/>
          <p:nvPr>
            <p:custDataLst>
              <p:tags r:id="rId5"/>
            </p:custDataLst>
          </p:nvPr>
        </p:nvSpPr>
        <p:spPr bwMode="auto">
          <a:xfrm>
            <a:off x="5761865" y="3134281"/>
            <a:ext cx="1692000" cy="435211"/>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endParaRPr lang="en-GB" sz="800" dirty="0">
              <a:solidFill>
                <a:schemeClr val="tx1">
                  <a:lumMod val="100000"/>
                </a:schemeClr>
              </a:solidFill>
              <a:latin typeface="+mj-lt"/>
            </a:endParaRPr>
          </a:p>
        </p:txBody>
      </p:sp>
      <p:sp>
        <p:nvSpPr>
          <p:cNvPr id="81" name="Rechteck 154"/>
          <p:cNvSpPr/>
          <p:nvPr>
            <p:custDataLst>
              <p:tags r:id="rId6"/>
            </p:custDataLst>
          </p:nvPr>
        </p:nvSpPr>
        <p:spPr bwMode="auto">
          <a:xfrm>
            <a:off x="7453865" y="3134280"/>
            <a:ext cx="1017637" cy="435211"/>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endParaRPr lang="en-GB" sz="1050" dirty="0">
              <a:solidFill>
                <a:schemeClr val="tx1">
                  <a:lumMod val="100000"/>
                </a:schemeClr>
              </a:solidFill>
            </a:endParaRPr>
          </a:p>
        </p:txBody>
      </p:sp>
      <p:sp>
        <p:nvSpPr>
          <p:cNvPr id="84" name="Textfeld 85"/>
          <p:cNvSpPr txBox="1"/>
          <p:nvPr/>
        </p:nvSpPr>
        <p:spPr>
          <a:xfrm>
            <a:off x="7228393" y="3694070"/>
            <a:ext cx="451789" cy="153889"/>
          </a:xfrm>
          <a:prstGeom prst="rect">
            <a:avLst/>
          </a:prstGeom>
          <a:noFill/>
        </p:spPr>
        <p:txBody>
          <a:bodyPr wrap="square" lIns="0" tIns="0" rIns="0" bIns="0" rtlCol="0">
            <a:spAutoFit/>
          </a:bodyPr>
          <a:lstStyle/>
          <a:p>
            <a:pPr algn="ctr"/>
            <a:r>
              <a:rPr lang="en-US" sz="1000" dirty="0"/>
              <a:t>16:00</a:t>
            </a:r>
          </a:p>
        </p:txBody>
      </p:sp>
      <p:sp>
        <p:nvSpPr>
          <p:cNvPr id="82" name="Rechteck 119"/>
          <p:cNvSpPr/>
          <p:nvPr>
            <p:custDataLst>
              <p:tags r:id="rId7"/>
            </p:custDataLst>
          </p:nvPr>
        </p:nvSpPr>
        <p:spPr bwMode="auto">
          <a:xfrm>
            <a:off x="3055484" y="5089278"/>
            <a:ext cx="1425774"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spcAft>
                <a:spcPct val="0"/>
              </a:spcAft>
            </a:pPr>
            <a:r>
              <a:rPr lang="en-GB" sz="1200" dirty="0">
                <a:solidFill>
                  <a:schemeClr val="tx1">
                    <a:lumMod val="100000"/>
                  </a:schemeClr>
                </a:solidFill>
                <a:latin typeface="+mj-lt"/>
              </a:rPr>
              <a:t>ATC released for trading day D-1</a:t>
            </a:r>
          </a:p>
        </p:txBody>
      </p:sp>
      <p:cxnSp>
        <p:nvCxnSpPr>
          <p:cNvPr id="83" name="Gerade Verbindung 121"/>
          <p:cNvCxnSpPr>
            <a:stCxn id="71" idx="3"/>
          </p:cNvCxnSpPr>
          <p:nvPr/>
        </p:nvCxnSpPr>
        <p:spPr>
          <a:xfrm flipH="1">
            <a:off x="5744166" y="5306882"/>
            <a:ext cx="1625" cy="347269"/>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6" name="Rechteck 122"/>
          <p:cNvSpPr/>
          <p:nvPr>
            <p:custDataLst>
              <p:tags r:id="rId8"/>
            </p:custDataLst>
          </p:nvPr>
        </p:nvSpPr>
        <p:spPr bwMode="auto">
          <a:xfrm>
            <a:off x="5753333" y="5089277"/>
            <a:ext cx="1600311" cy="435212"/>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endParaRPr lang="en-GB" sz="800" dirty="0">
              <a:solidFill>
                <a:schemeClr val="tx1">
                  <a:lumMod val="100000"/>
                </a:schemeClr>
              </a:solidFill>
              <a:latin typeface="+mj-lt"/>
            </a:endParaRPr>
          </a:p>
        </p:txBody>
      </p:sp>
      <p:cxnSp>
        <p:nvCxnSpPr>
          <p:cNvPr id="115" name="Gerade Verbindung 84"/>
          <p:cNvCxnSpPr/>
          <p:nvPr/>
        </p:nvCxnSpPr>
        <p:spPr>
          <a:xfrm>
            <a:off x="7615168" y="4249622"/>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7" name="Gerade Verbindung 84"/>
          <p:cNvCxnSpPr/>
          <p:nvPr/>
        </p:nvCxnSpPr>
        <p:spPr>
          <a:xfrm>
            <a:off x="4540838" y="4271767"/>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1" name="Gerade Verbindung 84"/>
          <p:cNvCxnSpPr/>
          <p:nvPr/>
        </p:nvCxnSpPr>
        <p:spPr>
          <a:xfrm>
            <a:off x="7137472" y="4267412"/>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4" name="Gerade Verbindung 121"/>
          <p:cNvCxnSpPr/>
          <p:nvPr/>
        </p:nvCxnSpPr>
        <p:spPr>
          <a:xfrm>
            <a:off x="5758165" y="4277961"/>
            <a:ext cx="627" cy="33454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30" name="Rechteck 154"/>
          <p:cNvSpPr/>
          <p:nvPr>
            <p:custDataLst>
              <p:tags r:id="rId9"/>
            </p:custDataLst>
          </p:nvPr>
        </p:nvSpPr>
        <p:spPr bwMode="auto">
          <a:xfrm>
            <a:off x="7134051" y="4066718"/>
            <a:ext cx="1322590" cy="439823"/>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endParaRPr lang="en-GB" sz="1050" dirty="0">
              <a:solidFill>
                <a:schemeClr val="tx1">
                  <a:lumMod val="100000"/>
                </a:schemeClr>
              </a:solidFill>
            </a:endParaRPr>
          </a:p>
        </p:txBody>
      </p:sp>
      <p:sp>
        <p:nvSpPr>
          <p:cNvPr id="133" name="Textfeld 85"/>
          <p:cNvSpPr txBox="1"/>
          <p:nvPr/>
        </p:nvSpPr>
        <p:spPr>
          <a:xfrm>
            <a:off x="4314942" y="4622206"/>
            <a:ext cx="451789" cy="153889"/>
          </a:xfrm>
          <a:prstGeom prst="rect">
            <a:avLst/>
          </a:prstGeom>
          <a:noFill/>
        </p:spPr>
        <p:txBody>
          <a:bodyPr wrap="square" lIns="0" tIns="0" rIns="0" bIns="0" rtlCol="0">
            <a:spAutoFit/>
          </a:bodyPr>
          <a:lstStyle/>
          <a:p>
            <a:pPr algn="ctr"/>
            <a:r>
              <a:rPr lang="en-US" sz="1000" dirty="0"/>
              <a:t>17:00</a:t>
            </a:r>
          </a:p>
        </p:txBody>
      </p:sp>
      <p:sp>
        <p:nvSpPr>
          <p:cNvPr id="134" name="Rechteck 154"/>
          <p:cNvSpPr/>
          <p:nvPr>
            <p:custDataLst>
              <p:tags r:id="rId10"/>
            </p:custDataLst>
          </p:nvPr>
        </p:nvSpPr>
        <p:spPr bwMode="auto">
          <a:xfrm>
            <a:off x="4102661" y="4764478"/>
            <a:ext cx="870575" cy="228941"/>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r>
              <a:rPr lang="en-GB" sz="800" dirty="0">
                <a:solidFill>
                  <a:schemeClr val="tx1">
                    <a:lumMod val="100000"/>
                  </a:schemeClr>
                </a:solidFill>
                <a:latin typeface="+mj-lt"/>
              </a:rPr>
              <a:t>Explicit auction for D-1</a:t>
            </a:r>
          </a:p>
        </p:txBody>
      </p:sp>
      <p:sp>
        <p:nvSpPr>
          <p:cNvPr id="135" name="Textfeld 85"/>
          <p:cNvSpPr txBox="1"/>
          <p:nvPr/>
        </p:nvSpPr>
        <p:spPr>
          <a:xfrm>
            <a:off x="6911576" y="4617851"/>
            <a:ext cx="451789" cy="153889"/>
          </a:xfrm>
          <a:prstGeom prst="rect">
            <a:avLst/>
          </a:prstGeom>
          <a:noFill/>
        </p:spPr>
        <p:txBody>
          <a:bodyPr wrap="square" lIns="0" tIns="0" rIns="0" bIns="0" rtlCol="0">
            <a:spAutoFit/>
          </a:bodyPr>
          <a:lstStyle/>
          <a:p>
            <a:pPr algn="ctr"/>
            <a:r>
              <a:rPr lang="en-US" sz="1000" dirty="0"/>
              <a:t>12:00</a:t>
            </a:r>
          </a:p>
        </p:txBody>
      </p:sp>
      <p:sp>
        <p:nvSpPr>
          <p:cNvPr id="136" name="Rechteck 154"/>
          <p:cNvSpPr/>
          <p:nvPr>
            <p:custDataLst>
              <p:tags r:id="rId11"/>
            </p:custDataLst>
          </p:nvPr>
        </p:nvSpPr>
        <p:spPr bwMode="auto">
          <a:xfrm>
            <a:off x="6930500" y="4784727"/>
            <a:ext cx="893604" cy="197817"/>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GB" sz="800" dirty="0">
                <a:solidFill>
                  <a:schemeClr val="tx1">
                    <a:lumMod val="100000"/>
                  </a:schemeClr>
                </a:solidFill>
                <a:latin typeface="+mj-lt"/>
              </a:rPr>
              <a:t>No Auctions</a:t>
            </a:r>
          </a:p>
        </p:txBody>
      </p:sp>
      <p:sp>
        <p:nvSpPr>
          <p:cNvPr id="137" name="Rechteck 122"/>
          <p:cNvSpPr/>
          <p:nvPr>
            <p:custDataLst>
              <p:tags r:id="rId12"/>
            </p:custDataLst>
          </p:nvPr>
        </p:nvSpPr>
        <p:spPr bwMode="auto">
          <a:xfrm>
            <a:off x="5766499" y="4066718"/>
            <a:ext cx="1367552" cy="439823"/>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endParaRPr lang="en-GB" sz="800" dirty="0">
              <a:solidFill>
                <a:schemeClr val="tx1">
                  <a:lumMod val="100000"/>
                </a:schemeClr>
              </a:solidFill>
              <a:latin typeface="+mj-lt"/>
            </a:endParaRPr>
          </a:p>
        </p:txBody>
      </p:sp>
      <p:sp>
        <p:nvSpPr>
          <p:cNvPr id="143" name="Textfeld 85"/>
          <p:cNvSpPr txBox="1"/>
          <p:nvPr/>
        </p:nvSpPr>
        <p:spPr>
          <a:xfrm>
            <a:off x="7389272" y="4604199"/>
            <a:ext cx="451789" cy="153889"/>
          </a:xfrm>
          <a:prstGeom prst="rect">
            <a:avLst/>
          </a:prstGeom>
          <a:noFill/>
        </p:spPr>
        <p:txBody>
          <a:bodyPr wrap="square" lIns="0" tIns="0" rIns="0" bIns="0" rtlCol="0">
            <a:spAutoFit/>
          </a:bodyPr>
          <a:lstStyle/>
          <a:p>
            <a:pPr algn="ctr"/>
            <a:r>
              <a:rPr lang="en-US" sz="1000" dirty="0"/>
              <a:t>17:00</a:t>
            </a:r>
          </a:p>
        </p:txBody>
      </p:sp>
      <p:sp>
        <p:nvSpPr>
          <p:cNvPr id="4" name="Rechteck 77"/>
          <p:cNvSpPr/>
          <p:nvPr>
            <p:custDataLst>
              <p:tags r:id="rId13"/>
            </p:custDataLst>
          </p:nvPr>
        </p:nvSpPr>
        <p:spPr bwMode="auto">
          <a:xfrm>
            <a:off x="3064791" y="4066718"/>
            <a:ext cx="1473511" cy="435211"/>
          </a:xfrm>
          <a:prstGeom prst="rect">
            <a:avLst/>
          </a:prstGeom>
          <a:solidFill>
            <a:schemeClr val="tx2"/>
          </a:solidFill>
          <a:ln w="12700" cmpd="sng">
            <a:solidFill>
              <a:schemeClr val="accent5"/>
            </a:solidFill>
            <a:prstDash val="solid"/>
            <a:miter lim="800000"/>
            <a:headEnd/>
            <a:tailEnd/>
          </a:ln>
          <a:effectLst/>
        </p:spPr>
        <p:txBody>
          <a:bodyPr lIns="90000" tIns="46800" rIns="90000" bIns="46800" anchor="ctr"/>
          <a:lstStyle/>
          <a:p>
            <a:pPr algn="ctr" eaLnBrk="0" hangingPunct="0"/>
            <a:r>
              <a:rPr lang="en-US" sz="1200" dirty="0">
                <a:solidFill>
                  <a:schemeClr val="tx1">
                    <a:lumMod val="100000"/>
                  </a:schemeClr>
                </a:solidFill>
              </a:rPr>
              <a:t>ATC released for trading day D-1</a:t>
            </a:r>
          </a:p>
        </p:txBody>
      </p:sp>
      <p:sp>
        <p:nvSpPr>
          <p:cNvPr id="5" name="Rechteck 154"/>
          <p:cNvSpPr/>
          <p:nvPr>
            <p:custDataLst>
              <p:tags r:id="rId14"/>
            </p:custDataLst>
          </p:nvPr>
        </p:nvSpPr>
        <p:spPr bwMode="auto">
          <a:xfrm>
            <a:off x="7353644" y="5089276"/>
            <a:ext cx="1129995" cy="435211"/>
          </a:xfrm>
          <a:prstGeom prst="rect">
            <a:avLst/>
          </a:prstGeom>
          <a:solidFill>
            <a:schemeClr val="accent1">
              <a:lumMod val="40000"/>
              <a:lumOff val="60000"/>
            </a:schemeClr>
          </a:solidFill>
          <a:ln w="12700" cmpd="sng">
            <a:solidFill>
              <a:schemeClr val="accent1">
                <a:lumMod val="100000"/>
              </a:schemeClr>
            </a:solidFill>
            <a:prstDash val="solid"/>
            <a:miter lim="800000"/>
            <a:headEnd/>
            <a:tailEnd/>
          </a:ln>
          <a:effectLst/>
        </p:spPr>
        <p:txBody>
          <a:bodyPr lIns="90000" tIns="46800" rIns="90000" bIns="46800" anchor="ctr"/>
          <a:lstStyle/>
          <a:p>
            <a:pPr algn="ctr" eaLnBrk="0" hangingPunct="0"/>
            <a:endParaRPr lang="en-GB" sz="1050" dirty="0">
              <a:solidFill>
                <a:schemeClr val="tx1">
                  <a:lumMod val="100000"/>
                </a:schemeClr>
              </a:solidFill>
            </a:endParaRPr>
          </a:p>
        </p:txBody>
      </p:sp>
      <p:cxnSp>
        <p:nvCxnSpPr>
          <p:cNvPr id="6" name="Gerade Verbindung 159"/>
          <p:cNvCxnSpPr/>
          <p:nvPr/>
        </p:nvCxnSpPr>
        <p:spPr>
          <a:xfrm>
            <a:off x="7353644" y="5309996"/>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feld 160"/>
          <p:cNvSpPr txBox="1"/>
          <p:nvPr/>
        </p:nvSpPr>
        <p:spPr>
          <a:xfrm>
            <a:off x="7196366" y="5634921"/>
            <a:ext cx="483815" cy="153888"/>
          </a:xfrm>
          <a:prstGeom prst="rect">
            <a:avLst/>
          </a:prstGeom>
          <a:noFill/>
        </p:spPr>
        <p:txBody>
          <a:bodyPr wrap="square" lIns="0" tIns="0" rIns="0" bIns="0" rtlCol="0">
            <a:spAutoFit/>
          </a:bodyPr>
          <a:lstStyle/>
          <a:p>
            <a:r>
              <a:rPr lang="de-DE" sz="1000" dirty="0"/>
              <a:t>14:00</a:t>
            </a:r>
          </a:p>
        </p:txBody>
      </p:sp>
      <p:sp>
        <p:nvSpPr>
          <p:cNvPr id="69" name="Rechteck 122"/>
          <p:cNvSpPr/>
          <p:nvPr>
            <p:custDataLst>
              <p:tags r:id="rId15"/>
            </p:custDataLst>
          </p:nvPr>
        </p:nvSpPr>
        <p:spPr bwMode="auto">
          <a:xfrm>
            <a:off x="4879127" y="3134281"/>
            <a:ext cx="887372" cy="435210"/>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endParaRPr lang="en-GB" sz="800" dirty="0">
              <a:solidFill>
                <a:schemeClr val="tx1">
                  <a:lumMod val="100000"/>
                </a:schemeClr>
              </a:solidFill>
              <a:latin typeface="+mj-lt"/>
            </a:endParaRPr>
          </a:p>
        </p:txBody>
      </p:sp>
      <p:sp>
        <p:nvSpPr>
          <p:cNvPr id="70" name="Rechteck 122"/>
          <p:cNvSpPr/>
          <p:nvPr>
            <p:custDataLst>
              <p:tags r:id="rId16"/>
            </p:custDataLst>
          </p:nvPr>
        </p:nvSpPr>
        <p:spPr bwMode="auto">
          <a:xfrm>
            <a:off x="4538302" y="4066718"/>
            <a:ext cx="1220490" cy="439823"/>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endParaRPr lang="en-GB" sz="800" dirty="0">
              <a:solidFill>
                <a:schemeClr val="tx1">
                  <a:lumMod val="100000"/>
                </a:schemeClr>
              </a:solidFill>
              <a:latin typeface="+mj-lt"/>
            </a:endParaRPr>
          </a:p>
        </p:txBody>
      </p:sp>
      <p:sp>
        <p:nvSpPr>
          <p:cNvPr id="71" name="Rechteck 122"/>
          <p:cNvSpPr/>
          <p:nvPr>
            <p:custDataLst>
              <p:tags r:id="rId17"/>
            </p:custDataLst>
          </p:nvPr>
        </p:nvSpPr>
        <p:spPr bwMode="auto">
          <a:xfrm>
            <a:off x="4481258" y="5089276"/>
            <a:ext cx="1264533" cy="435211"/>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endParaRPr lang="en-GB" sz="800" dirty="0">
              <a:solidFill>
                <a:schemeClr val="tx1">
                  <a:lumMod val="100000"/>
                </a:schemeClr>
              </a:solidFill>
              <a:latin typeface="+mj-lt"/>
            </a:endParaRPr>
          </a:p>
        </p:txBody>
      </p:sp>
      <p:cxnSp>
        <p:nvCxnSpPr>
          <p:cNvPr id="74" name="Gerade Verbindung 84"/>
          <p:cNvCxnSpPr/>
          <p:nvPr/>
        </p:nvCxnSpPr>
        <p:spPr>
          <a:xfrm>
            <a:off x="4871499" y="3335988"/>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5" name="Textfeld 85"/>
          <p:cNvSpPr txBox="1"/>
          <p:nvPr/>
        </p:nvSpPr>
        <p:spPr>
          <a:xfrm>
            <a:off x="4645603" y="3686427"/>
            <a:ext cx="451789" cy="153889"/>
          </a:xfrm>
          <a:prstGeom prst="rect">
            <a:avLst/>
          </a:prstGeom>
          <a:noFill/>
        </p:spPr>
        <p:txBody>
          <a:bodyPr wrap="square" lIns="0" tIns="0" rIns="0" bIns="0" rtlCol="0">
            <a:spAutoFit/>
          </a:bodyPr>
          <a:lstStyle/>
          <a:p>
            <a:pPr algn="ctr"/>
            <a:r>
              <a:rPr lang="en-US" sz="1000" dirty="0"/>
              <a:t>21:05</a:t>
            </a:r>
          </a:p>
        </p:txBody>
      </p:sp>
      <p:cxnSp>
        <p:nvCxnSpPr>
          <p:cNvPr id="79" name="Gerade Verbindung 159"/>
          <p:cNvCxnSpPr/>
          <p:nvPr/>
        </p:nvCxnSpPr>
        <p:spPr>
          <a:xfrm>
            <a:off x="4477601" y="5329226"/>
            <a:ext cx="0" cy="3366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85" name="Textfeld 160"/>
          <p:cNvSpPr txBox="1"/>
          <p:nvPr/>
        </p:nvSpPr>
        <p:spPr>
          <a:xfrm>
            <a:off x="4312372" y="5654151"/>
            <a:ext cx="483815" cy="153888"/>
          </a:xfrm>
          <a:prstGeom prst="rect">
            <a:avLst/>
          </a:prstGeom>
          <a:noFill/>
        </p:spPr>
        <p:txBody>
          <a:bodyPr wrap="square" lIns="0" tIns="0" rIns="0" bIns="0" rtlCol="0">
            <a:spAutoFit/>
          </a:bodyPr>
          <a:lstStyle/>
          <a:p>
            <a:r>
              <a:rPr lang="de-DE" sz="1000" dirty="0"/>
              <a:t>14:00</a:t>
            </a:r>
          </a:p>
        </p:txBody>
      </p:sp>
      <p:sp>
        <p:nvSpPr>
          <p:cNvPr id="91" name="Rektangel 3"/>
          <p:cNvSpPr/>
          <p:nvPr/>
        </p:nvSpPr>
        <p:spPr>
          <a:xfrm>
            <a:off x="510493" y="1500734"/>
            <a:ext cx="2184844" cy="91160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sz="1200" dirty="0">
                <a:solidFill>
                  <a:schemeClr val="bg2">
                    <a:lumMod val="25000"/>
                  </a:schemeClr>
                </a:solidFill>
              </a:rPr>
              <a:t>*Exact timing/sequence shall be properly confirmed shortly before the </a:t>
            </a:r>
            <a:r>
              <a:rPr lang="en-GB" sz="1200" dirty="0" err="1">
                <a:solidFill>
                  <a:schemeClr val="bg2">
                    <a:lumMod val="25000"/>
                  </a:schemeClr>
                </a:solidFill>
              </a:rPr>
              <a:t>go-live</a:t>
            </a:r>
            <a:r>
              <a:rPr lang="en-GB" sz="1200" dirty="0">
                <a:solidFill>
                  <a:schemeClr val="bg2">
                    <a:lumMod val="25000"/>
                  </a:schemeClr>
                </a:solidFill>
              </a:rPr>
              <a:t> through the usual market communication.</a:t>
            </a:r>
          </a:p>
        </p:txBody>
      </p:sp>
      <p:sp>
        <p:nvSpPr>
          <p:cNvPr id="89" name="Textfeld 57"/>
          <p:cNvSpPr txBox="1"/>
          <p:nvPr/>
        </p:nvSpPr>
        <p:spPr>
          <a:xfrm>
            <a:off x="2881920" y="2300979"/>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92" name="Textfeld 58"/>
          <p:cNvSpPr txBox="1"/>
          <p:nvPr/>
        </p:nvSpPr>
        <p:spPr>
          <a:xfrm>
            <a:off x="4645603" y="2320006"/>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93" name="Textfeld 61"/>
          <p:cNvSpPr txBox="1"/>
          <p:nvPr/>
        </p:nvSpPr>
        <p:spPr>
          <a:xfrm>
            <a:off x="6373032" y="2287740"/>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94" name="Textfeld 62"/>
          <p:cNvSpPr txBox="1"/>
          <p:nvPr/>
        </p:nvSpPr>
        <p:spPr>
          <a:xfrm>
            <a:off x="8116601" y="2320006"/>
            <a:ext cx="716855" cy="184666"/>
          </a:xfrm>
          <a:prstGeom prst="rect">
            <a:avLst/>
          </a:prstGeom>
          <a:noFill/>
        </p:spPr>
        <p:txBody>
          <a:bodyPr wrap="square" lIns="0" tIns="0" rIns="0" bIns="0" rtlCol="0">
            <a:spAutoFit/>
          </a:bodyPr>
          <a:lstStyle/>
          <a:p>
            <a:r>
              <a:rPr lang="de-DE" sz="1200" dirty="0" smtClean="0">
                <a:solidFill>
                  <a:srgbClr val="FF0000"/>
                </a:solidFill>
              </a:rPr>
              <a:t>14 June</a:t>
            </a:r>
            <a:endParaRPr lang="de-DE" sz="1200" dirty="0">
              <a:solidFill>
                <a:srgbClr val="FF0000"/>
              </a:solidFill>
            </a:endParaRPr>
          </a:p>
        </p:txBody>
      </p:sp>
      <p:sp>
        <p:nvSpPr>
          <p:cNvPr id="95" name="Textfeld 63"/>
          <p:cNvSpPr txBox="1"/>
          <p:nvPr/>
        </p:nvSpPr>
        <p:spPr>
          <a:xfrm>
            <a:off x="2704504" y="3686427"/>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96" name="Textfeld 64"/>
          <p:cNvSpPr txBox="1"/>
          <p:nvPr/>
        </p:nvSpPr>
        <p:spPr>
          <a:xfrm>
            <a:off x="5409894" y="3664121"/>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97" name="Textfeld 65"/>
          <p:cNvSpPr txBox="1"/>
          <p:nvPr/>
        </p:nvSpPr>
        <p:spPr>
          <a:xfrm>
            <a:off x="8094527" y="3664121"/>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98" name="Textfeld 66"/>
          <p:cNvSpPr txBox="1"/>
          <p:nvPr/>
        </p:nvSpPr>
        <p:spPr>
          <a:xfrm>
            <a:off x="2695337" y="4748202"/>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100" name="Textfeld 67"/>
          <p:cNvSpPr txBox="1"/>
          <p:nvPr/>
        </p:nvSpPr>
        <p:spPr>
          <a:xfrm>
            <a:off x="5400727" y="4725896"/>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101" name="Textfeld 68"/>
          <p:cNvSpPr txBox="1"/>
          <p:nvPr/>
        </p:nvSpPr>
        <p:spPr>
          <a:xfrm>
            <a:off x="8085360" y="4725896"/>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102" name="Textfeld 69"/>
          <p:cNvSpPr txBox="1"/>
          <p:nvPr/>
        </p:nvSpPr>
        <p:spPr>
          <a:xfrm>
            <a:off x="2696754" y="5694559"/>
            <a:ext cx="741180" cy="184666"/>
          </a:xfrm>
          <a:prstGeom prst="rect">
            <a:avLst/>
          </a:prstGeom>
          <a:noFill/>
        </p:spPr>
        <p:txBody>
          <a:bodyPr wrap="square" lIns="0" tIns="0" rIns="0" bIns="0" rtlCol="0">
            <a:spAutoFit/>
          </a:bodyPr>
          <a:lstStyle/>
          <a:p>
            <a:r>
              <a:rPr lang="de-DE" sz="1200" dirty="0" smtClean="0">
                <a:solidFill>
                  <a:srgbClr val="FF0000"/>
                </a:solidFill>
              </a:rPr>
              <a:t>11 June</a:t>
            </a:r>
            <a:endParaRPr lang="de-DE" sz="1200" dirty="0">
              <a:solidFill>
                <a:srgbClr val="FF0000"/>
              </a:solidFill>
            </a:endParaRPr>
          </a:p>
        </p:txBody>
      </p:sp>
      <p:sp>
        <p:nvSpPr>
          <p:cNvPr id="103" name="Textfeld 70"/>
          <p:cNvSpPr txBox="1"/>
          <p:nvPr/>
        </p:nvSpPr>
        <p:spPr>
          <a:xfrm>
            <a:off x="5402144" y="5672253"/>
            <a:ext cx="702780" cy="184666"/>
          </a:xfrm>
          <a:prstGeom prst="rect">
            <a:avLst/>
          </a:prstGeom>
          <a:noFill/>
        </p:spPr>
        <p:txBody>
          <a:bodyPr wrap="square" lIns="0" tIns="0" rIns="0" bIns="0" rtlCol="0">
            <a:spAutoFit/>
          </a:bodyPr>
          <a:lstStyle/>
          <a:p>
            <a:r>
              <a:rPr lang="de-DE" sz="1200" dirty="0" smtClean="0">
                <a:solidFill>
                  <a:srgbClr val="FF0000"/>
                </a:solidFill>
              </a:rPr>
              <a:t>12 June</a:t>
            </a:r>
            <a:endParaRPr lang="de-DE" sz="1200" dirty="0">
              <a:solidFill>
                <a:srgbClr val="FF0000"/>
              </a:solidFill>
            </a:endParaRPr>
          </a:p>
        </p:txBody>
      </p:sp>
      <p:sp>
        <p:nvSpPr>
          <p:cNvPr id="104" name="Textfeld 73"/>
          <p:cNvSpPr txBox="1"/>
          <p:nvPr/>
        </p:nvSpPr>
        <p:spPr>
          <a:xfrm>
            <a:off x="8086777" y="5672253"/>
            <a:ext cx="761019" cy="184666"/>
          </a:xfrm>
          <a:prstGeom prst="rect">
            <a:avLst/>
          </a:prstGeom>
          <a:noFill/>
        </p:spPr>
        <p:txBody>
          <a:bodyPr wrap="square" lIns="0" tIns="0" rIns="0" bIns="0" rtlCol="0">
            <a:spAutoFit/>
          </a:bodyPr>
          <a:lstStyle/>
          <a:p>
            <a:r>
              <a:rPr lang="de-DE" sz="1200" dirty="0" smtClean="0">
                <a:solidFill>
                  <a:srgbClr val="FF0000"/>
                </a:solidFill>
              </a:rPr>
              <a:t>13 June</a:t>
            </a:r>
            <a:endParaRPr lang="de-DE" sz="1200" dirty="0">
              <a:solidFill>
                <a:srgbClr val="FF0000"/>
              </a:solidFill>
            </a:endParaRPr>
          </a:p>
        </p:txBody>
      </p:sp>
      <p:sp>
        <p:nvSpPr>
          <p:cNvPr id="87" name="Rechteck 122"/>
          <p:cNvSpPr/>
          <p:nvPr>
            <p:custDataLst>
              <p:tags r:id="rId18"/>
            </p:custDataLst>
          </p:nvPr>
        </p:nvSpPr>
        <p:spPr bwMode="auto">
          <a:xfrm>
            <a:off x="507374" y="6061382"/>
            <a:ext cx="943733" cy="512655"/>
          </a:xfrm>
          <a:prstGeom prst="rect">
            <a:avLst/>
          </a:prstGeom>
          <a:solidFill>
            <a:srgbClr val="92D050"/>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r>
              <a:rPr lang="en-GB" sz="1200" dirty="0" smtClean="0">
                <a:solidFill>
                  <a:schemeClr val="tx1">
                    <a:lumMod val="100000"/>
                  </a:schemeClr>
                </a:solidFill>
                <a:latin typeface="+mj-lt"/>
              </a:rPr>
              <a:t>Trading for delivery day D-1</a:t>
            </a:r>
            <a:endParaRPr lang="en-GB" sz="1200" dirty="0">
              <a:solidFill>
                <a:schemeClr val="tx1">
                  <a:lumMod val="100000"/>
                </a:schemeClr>
              </a:solidFill>
              <a:latin typeface="+mj-lt"/>
            </a:endParaRPr>
          </a:p>
        </p:txBody>
      </p:sp>
      <p:sp>
        <p:nvSpPr>
          <p:cNvPr id="88" name="Rechteck 122"/>
          <p:cNvSpPr/>
          <p:nvPr>
            <p:custDataLst>
              <p:tags r:id="rId19"/>
            </p:custDataLst>
          </p:nvPr>
        </p:nvSpPr>
        <p:spPr bwMode="auto">
          <a:xfrm>
            <a:off x="1461740" y="6061382"/>
            <a:ext cx="943733" cy="505802"/>
          </a:xfrm>
          <a:prstGeom prst="rect">
            <a:avLst/>
          </a:prstGeom>
          <a:solidFill>
            <a:schemeClr val="accent1">
              <a:lumMod val="40000"/>
              <a:lumOff val="60000"/>
            </a:schemeClr>
          </a:solidFill>
          <a:ln w="12700" cmpd="sng">
            <a:solidFill>
              <a:srgbClr val="00B050"/>
            </a:solidFill>
            <a:prstDash val="solid"/>
            <a:miter lim="800000"/>
            <a:headEnd/>
            <a:tailEnd/>
          </a:ln>
          <a:effectLst/>
        </p:spPr>
        <p:txBody>
          <a:bodyPr lIns="90000" tIns="46800" rIns="90000" bIns="46800" anchor="ctr"/>
          <a:lstStyle/>
          <a:p>
            <a:pPr algn="ctr" eaLnBrk="0" hangingPunct="0">
              <a:spcAft>
                <a:spcPct val="0"/>
              </a:spcAft>
            </a:pPr>
            <a:r>
              <a:rPr lang="en-GB" sz="1200" dirty="0" smtClean="0">
                <a:solidFill>
                  <a:schemeClr val="tx1">
                    <a:lumMod val="100000"/>
                  </a:schemeClr>
                </a:solidFill>
                <a:latin typeface="+mj-lt"/>
              </a:rPr>
              <a:t>No trading for delivery D-1</a:t>
            </a:r>
            <a:endParaRPr lang="en-GB" sz="1200" dirty="0">
              <a:solidFill>
                <a:schemeClr val="tx1">
                  <a:lumMod val="100000"/>
                </a:schemeClr>
              </a:solidFill>
              <a:latin typeface="+mj-lt"/>
            </a:endParaRPr>
          </a:p>
        </p:txBody>
      </p:sp>
    </p:spTree>
    <p:extLst>
      <p:ext uri="{BB962C8B-B14F-4D97-AF65-F5344CB8AC3E}">
        <p14:creationId xmlns:p14="http://schemas.microsoft.com/office/powerpoint/2010/main" val="3315461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1:00-11:20</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ea typeface="Times New Roman"/>
                <a:cs typeface="Arial"/>
              </a:rPr>
              <a:t>Key note speech </a:t>
            </a:r>
            <a:endParaRPr lang="en-GB" sz="2000" kern="0" dirty="0" smtClean="0">
              <a:ea typeface="Times New Roman"/>
              <a:cs typeface="Times New Roman"/>
            </a:endParaRPr>
          </a:p>
          <a:p>
            <a:r>
              <a:rPr lang="en-GB" sz="2000" dirty="0" smtClean="0">
                <a:solidFill>
                  <a:schemeClr val="accent2"/>
                </a:solidFill>
                <a:ea typeface="Times New Roman"/>
              </a:rPr>
              <a:t>Overview of XBID Project</a:t>
            </a:r>
          </a:p>
          <a:p>
            <a:r>
              <a:rPr lang="en-GB" sz="2000" dirty="0" smtClean="0">
                <a:solidFill>
                  <a:srgbClr val="000000"/>
                </a:solidFill>
                <a:ea typeface="Times New Roman"/>
              </a:rPr>
              <a:t>The XBID matching solution</a:t>
            </a:r>
          </a:p>
          <a:p>
            <a:r>
              <a:rPr lang="en-GB" sz="2000" dirty="0" smtClean="0">
                <a:solidFill>
                  <a:srgbClr val="000000"/>
                </a:solidFill>
                <a:ea typeface="Times New Roman"/>
              </a:rPr>
              <a:t>Overview of borders, market areas &amp; products</a:t>
            </a:r>
          </a:p>
          <a:p>
            <a:r>
              <a:rPr lang="en-GB" sz="2000" kern="0" dirty="0" smtClean="0">
                <a:solidFill>
                  <a:srgbClr val="000000"/>
                </a:solidFill>
                <a:ea typeface="Times New Roman"/>
                <a:cs typeface="Times New Roman"/>
              </a:rPr>
              <a:t>Relevant information for market parties from LIPs</a:t>
            </a:r>
            <a:r>
              <a:rPr lang="en-GB" sz="2000" kern="0" dirty="0" smtClean="0">
                <a:solidFill>
                  <a:srgbClr val="000000"/>
                </a:solidFill>
                <a:ea typeface="Times New Roman"/>
                <a:cs typeface="Arial"/>
              </a:rPr>
              <a:t> </a:t>
            </a:r>
            <a:r>
              <a:rPr lang="en-GB" sz="2000" dirty="0" smtClean="0">
                <a:solidFill>
                  <a:srgbClr val="000000"/>
                </a:solidFill>
                <a:ea typeface="Times New Roman"/>
              </a:rPr>
              <a:t> </a:t>
            </a:r>
          </a:p>
          <a:p>
            <a:r>
              <a:rPr lang="en-US" sz="2000" kern="0" dirty="0">
                <a:solidFill>
                  <a:srgbClr val="000000"/>
                </a:solidFill>
                <a:ea typeface="Times New Roman"/>
                <a:cs typeface="Times New Roman"/>
              </a:rPr>
              <a:t>Explicit access on French-German border </a:t>
            </a:r>
            <a:endParaRPr lang="en-US" sz="2000" kern="0" dirty="0" smtClean="0">
              <a:solidFill>
                <a:srgbClr val="000000"/>
              </a:solidFill>
              <a:ea typeface="Times New Roman"/>
              <a:cs typeface="Times New Roman"/>
            </a:endParaRPr>
          </a:p>
          <a:p>
            <a:r>
              <a:rPr lang="en-GB" sz="2000" kern="0" dirty="0" smtClean="0">
                <a:solidFill>
                  <a:srgbClr val="000000"/>
                </a:solidFill>
                <a:ea typeface="Times New Roman"/>
                <a:cs typeface="Times New Roman"/>
              </a:rPr>
              <a:t>NRA overview</a:t>
            </a:r>
          </a:p>
          <a:p>
            <a:r>
              <a:rPr lang="en-GB" sz="2000" kern="0" dirty="0" smtClean="0">
                <a:solidFill>
                  <a:srgbClr val="000000"/>
                </a:solidFill>
                <a:ea typeface="Times New Roman"/>
                <a:cs typeface="Times New Roman"/>
              </a:rPr>
              <a:t>Deutsche </a:t>
            </a:r>
            <a:r>
              <a:rPr lang="en-GB" sz="2000" kern="0" dirty="0" err="1" smtClean="0">
                <a:solidFill>
                  <a:srgbClr val="000000"/>
                </a:solidFill>
                <a:ea typeface="Times New Roman"/>
                <a:cs typeface="Times New Roman"/>
              </a:rPr>
              <a:t>Börse</a:t>
            </a:r>
            <a:r>
              <a:rPr lang="en-GB" sz="2000" kern="0" dirty="0" smtClean="0">
                <a:solidFill>
                  <a:srgbClr val="000000"/>
                </a:solidFill>
                <a:ea typeface="Times New Roman"/>
                <a:cs typeface="Times New Roman"/>
              </a:rPr>
              <a:t>’ trading solution provider </a:t>
            </a:r>
            <a:r>
              <a:rPr lang="en-GB" sz="2000" kern="0" dirty="0" smtClean="0">
                <a:solidFill>
                  <a:srgbClr val="000000"/>
                </a:solidFill>
                <a:ea typeface="Times New Roman"/>
                <a:cs typeface="Arial"/>
              </a:rPr>
              <a:t> </a:t>
            </a:r>
            <a:endParaRPr lang="en-GB" sz="2000" kern="0" dirty="0" smtClean="0">
              <a:solidFill>
                <a:srgbClr val="000000"/>
              </a:solidFill>
              <a:ea typeface="Times New Roman"/>
              <a:cs typeface="Times New Roman"/>
            </a:endParaRPr>
          </a:p>
          <a:p>
            <a:r>
              <a:rPr lang="en-GB" sz="2000" dirty="0" smtClean="0">
                <a:solidFill>
                  <a:srgbClr val="000000"/>
                </a:solidFill>
                <a:ea typeface="Times New Roman"/>
              </a:rPr>
              <a:t>Members trial period, </a:t>
            </a:r>
            <a:r>
              <a:rPr lang="en-GB" sz="2000" dirty="0" err="1" smtClean="0">
                <a:solidFill>
                  <a:srgbClr val="000000"/>
                </a:solidFill>
                <a:ea typeface="Times New Roman"/>
              </a:rPr>
              <a:t>go-live</a:t>
            </a:r>
            <a:r>
              <a:rPr lang="en-GB" sz="2000" dirty="0" smtClean="0">
                <a:solidFill>
                  <a:srgbClr val="000000"/>
                </a:solidFill>
                <a:ea typeface="Times New Roman"/>
              </a:rPr>
              <a:t> plan and next steps for readiness</a:t>
            </a:r>
          </a:p>
          <a:p>
            <a:r>
              <a:rPr lang="en-GB" sz="2000" kern="0" dirty="0" smtClean="0">
                <a:solidFill>
                  <a:srgbClr val="000000"/>
                </a:solidFill>
                <a:ea typeface="Times New Roman"/>
                <a:cs typeface="Arial"/>
              </a:rPr>
              <a:t>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6</a:t>
            </a:fld>
            <a:endParaRPr lang="en-US" altLang="en-US" dirty="0"/>
          </a:p>
        </p:txBody>
      </p:sp>
    </p:spTree>
    <p:extLst>
      <p:ext uri="{BB962C8B-B14F-4D97-AF65-F5344CB8AC3E}">
        <p14:creationId xmlns:p14="http://schemas.microsoft.com/office/powerpoint/2010/main" val="24381793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pPr>
              <a:defRPr/>
            </a:pPr>
            <a:fld id="{D383EB99-40B2-4176-B4FA-CDBAA950DF99}" type="slidenum">
              <a:rPr lang="en-US" altLang="en-US" smtClean="0"/>
              <a:pPr>
                <a:defRPr/>
              </a:pPr>
              <a:t>60</a:t>
            </a:fld>
            <a:endParaRPr lang="en-US" altLang="en-US" dirty="0"/>
          </a:p>
        </p:txBody>
      </p:sp>
      <p:sp>
        <p:nvSpPr>
          <p:cNvPr id="3" name="Textplatzhalter 2"/>
          <p:cNvSpPr>
            <a:spLocks noGrp="1"/>
          </p:cNvSpPr>
          <p:nvPr>
            <p:ph type="body" sz="quarter" idx="17"/>
          </p:nvPr>
        </p:nvSpPr>
        <p:spPr/>
        <p:txBody>
          <a:bodyPr/>
          <a:lstStyle/>
          <a:p>
            <a:r>
              <a:rPr lang="de-DE" dirty="0" smtClean="0"/>
              <a:t>Q&amp;A</a:t>
            </a:r>
            <a:endParaRPr lang="de-DE" dirty="0"/>
          </a:p>
        </p:txBody>
      </p:sp>
      <p:pic>
        <p:nvPicPr>
          <p:cNvPr id="4" name="Imagen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87107" y="2704299"/>
            <a:ext cx="2531935" cy="2531935"/>
          </a:xfrm>
          <a:prstGeom prst="rect">
            <a:avLst/>
          </a:prstGeom>
        </p:spPr>
      </p:pic>
    </p:spTree>
    <p:extLst>
      <p:ext uri="{BB962C8B-B14F-4D97-AF65-F5344CB8AC3E}">
        <p14:creationId xmlns:p14="http://schemas.microsoft.com/office/powerpoint/2010/main" val="40121452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pPr>
              <a:defRPr/>
            </a:pPr>
            <a:fld id="{D383EB99-40B2-4176-B4FA-CDBAA950DF99}" type="slidenum">
              <a:rPr lang="en-US" altLang="en-US" smtClean="0"/>
              <a:pPr>
                <a:defRPr/>
              </a:pPr>
              <a:t>61</a:t>
            </a:fld>
            <a:endParaRPr lang="en-US" altLang="en-US" dirty="0"/>
          </a:p>
        </p:txBody>
      </p:sp>
      <p:sp>
        <p:nvSpPr>
          <p:cNvPr id="3" name="Textplatzhalter 2"/>
          <p:cNvSpPr>
            <a:spLocks noGrp="1"/>
          </p:cNvSpPr>
          <p:nvPr>
            <p:ph type="body" sz="quarter" idx="17"/>
          </p:nvPr>
        </p:nvSpPr>
        <p:spPr/>
        <p:txBody>
          <a:bodyPr/>
          <a:lstStyle/>
          <a:p>
            <a:r>
              <a:rPr lang="de-DE" dirty="0" smtClean="0"/>
              <a:t>Lunch Break </a:t>
            </a:r>
          </a:p>
          <a:p>
            <a:r>
              <a:rPr lang="de-DE" dirty="0" smtClean="0"/>
              <a:t>13:00-14:00</a:t>
            </a:r>
            <a:endParaRPr lang="de-DE" dirty="0"/>
          </a:p>
        </p:txBody>
      </p:sp>
    </p:spTree>
    <p:extLst>
      <p:ext uri="{BB962C8B-B14F-4D97-AF65-F5344CB8AC3E}">
        <p14:creationId xmlns:p14="http://schemas.microsoft.com/office/powerpoint/2010/main" val="2139574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4:00-14:15</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ea typeface="Times New Roman"/>
                <a:cs typeface="Arial"/>
              </a:rPr>
              <a:t>Key note speech </a:t>
            </a:r>
            <a:endParaRPr lang="en-GB" sz="2000" kern="0" dirty="0" smtClean="0">
              <a:ea typeface="Times New Roman"/>
              <a:cs typeface="Times New Roman"/>
            </a:endParaRPr>
          </a:p>
          <a:p>
            <a:r>
              <a:rPr lang="en-GB" sz="2000" dirty="0" smtClean="0">
                <a:solidFill>
                  <a:srgbClr val="000000"/>
                </a:solidFill>
                <a:ea typeface="Times New Roman"/>
              </a:rPr>
              <a:t>Overview of XBID Project</a:t>
            </a:r>
          </a:p>
          <a:p>
            <a:r>
              <a:rPr lang="en-GB" sz="2000" dirty="0" smtClean="0">
                <a:solidFill>
                  <a:srgbClr val="000000"/>
                </a:solidFill>
                <a:ea typeface="Times New Roman"/>
              </a:rPr>
              <a:t>The XBID matching solution</a:t>
            </a:r>
          </a:p>
          <a:p>
            <a:r>
              <a:rPr lang="en-GB" sz="2000" dirty="0" smtClean="0">
                <a:solidFill>
                  <a:srgbClr val="000000"/>
                </a:solidFill>
                <a:ea typeface="Times New Roman"/>
              </a:rPr>
              <a:t>Overview of borders, market areas &amp; products</a:t>
            </a:r>
          </a:p>
          <a:p>
            <a:r>
              <a:rPr lang="en-GB" sz="2000" kern="0" dirty="0" smtClean="0">
                <a:solidFill>
                  <a:srgbClr val="000000"/>
                </a:solidFill>
                <a:ea typeface="Times New Roman"/>
                <a:cs typeface="Times New Roman"/>
              </a:rPr>
              <a:t>Relevant information for market parties from LIPs</a:t>
            </a:r>
            <a:r>
              <a:rPr lang="en-GB" sz="2000" kern="0" dirty="0" smtClean="0">
                <a:solidFill>
                  <a:srgbClr val="000000"/>
                </a:solidFill>
                <a:ea typeface="Times New Roman"/>
                <a:cs typeface="Arial"/>
              </a:rPr>
              <a:t> </a:t>
            </a:r>
            <a:r>
              <a:rPr lang="en-GB" sz="2000" dirty="0" smtClean="0">
                <a:solidFill>
                  <a:srgbClr val="000000"/>
                </a:solidFill>
                <a:ea typeface="Times New Roman"/>
              </a:rPr>
              <a:t> </a:t>
            </a:r>
            <a:endParaRPr lang="en-GB" sz="2000" dirty="0" smtClean="0">
              <a:ea typeface="Times New Roman"/>
            </a:endParaRPr>
          </a:p>
          <a:p>
            <a:r>
              <a:rPr lang="en-US" sz="2000" kern="0" dirty="0">
                <a:solidFill>
                  <a:schemeClr val="accent2"/>
                </a:solidFill>
                <a:ea typeface="Times New Roman"/>
                <a:cs typeface="Times New Roman"/>
              </a:rPr>
              <a:t>Explicit access on French-German border </a:t>
            </a:r>
            <a:endParaRPr lang="en-US" sz="2000" kern="0" dirty="0" smtClean="0">
              <a:solidFill>
                <a:schemeClr val="accent2"/>
              </a:solidFill>
              <a:ea typeface="Times New Roman"/>
              <a:cs typeface="Times New Roman"/>
            </a:endParaRPr>
          </a:p>
          <a:p>
            <a:r>
              <a:rPr lang="en-GB" sz="2000" kern="0" dirty="0" smtClean="0">
                <a:ea typeface="Times New Roman"/>
                <a:cs typeface="Times New Roman"/>
              </a:rPr>
              <a:t>NRA overview</a:t>
            </a:r>
          </a:p>
          <a:p>
            <a:r>
              <a:rPr lang="en-GB" sz="2000" kern="0" dirty="0" smtClean="0">
                <a:solidFill>
                  <a:srgbClr val="000000"/>
                </a:solidFill>
                <a:ea typeface="Times New Roman"/>
                <a:cs typeface="Times New Roman"/>
              </a:rPr>
              <a:t>Deutsche </a:t>
            </a:r>
            <a:r>
              <a:rPr lang="en-GB" sz="2000" kern="0" dirty="0" err="1" smtClean="0">
                <a:solidFill>
                  <a:srgbClr val="000000"/>
                </a:solidFill>
                <a:ea typeface="Times New Roman"/>
                <a:cs typeface="Times New Roman"/>
              </a:rPr>
              <a:t>Börse</a:t>
            </a:r>
            <a:r>
              <a:rPr lang="en-GB" sz="2000" kern="0" dirty="0" smtClean="0">
                <a:solidFill>
                  <a:srgbClr val="000000"/>
                </a:solidFill>
                <a:ea typeface="Times New Roman"/>
                <a:cs typeface="Times New Roman"/>
              </a:rPr>
              <a:t>’ trading solution provider </a:t>
            </a:r>
            <a:r>
              <a:rPr lang="en-GB" sz="2000" kern="0" dirty="0" smtClean="0">
                <a:solidFill>
                  <a:srgbClr val="000000"/>
                </a:solidFill>
                <a:ea typeface="Times New Roman"/>
                <a:cs typeface="Arial"/>
              </a:rPr>
              <a:t> </a:t>
            </a:r>
            <a:endParaRPr lang="en-GB" sz="2000" kern="0" dirty="0" smtClean="0">
              <a:solidFill>
                <a:srgbClr val="000000"/>
              </a:solidFill>
              <a:ea typeface="Times New Roman"/>
              <a:cs typeface="Times New Roman"/>
            </a:endParaRPr>
          </a:p>
          <a:p>
            <a:r>
              <a:rPr lang="en-GB" sz="2000" dirty="0" smtClean="0">
                <a:solidFill>
                  <a:srgbClr val="000000"/>
                </a:solidFill>
                <a:ea typeface="Times New Roman"/>
              </a:rPr>
              <a:t>Members trial period, </a:t>
            </a:r>
            <a:r>
              <a:rPr lang="en-GB" sz="2000" dirty="0" err="1" smtClean="0">
                <a:solidFill>
                  <a:srgbClr val="000000"/>
                </a:solidFill>
                <a:ea typeface="Times New Roman"/>
              </a:rPr>
              <a:t>go-live</a:t>
            </a:r>
            <a:r>
              <a:rPr lang="en-GB" sz="2000" dirty="0" smtClean="0">
                <a:solidFill>
                  <a:srgbClr val="000000"/>
                </a:solidFill>
                <a:ea typeface="Times New Roman"/>
              </a:rPr>
              <a:t> plan and next steps for readiness</a:t>
            </a:r>
          </a:p>
          <a:p>
            <a:r>
              <a:rPr lang="en-GB" sz="2000" kern="0" dirty="0" smtClean="0">
                <a:solidFill>
                  <a:srgbClr val="000000"/>
                </a:solidFill>
                <a:ea typeface="Times New Roman"/>
                <a:cs typeface="Arial"/>
              </a:rPr>
              <a:t>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62</a:t>
            </a:fld>
            <a:endParaRPr lang="en-US" altLang="en-US" dirty="0"/>
          </a:p>
        </p:txBody>
      </p:sp>
    </p:spTree>
    <p:extLst>
      <p:ext uri="{BB962C8B-B14F-4D97-AF65-F5344CB8AC3E}">
        <p14:creationId xmlns:p14="http://schemas.microsoft.com/office/powerpoint/2010/main" val="6369562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solidFill>
                  <a:schemeClr val="accent1"/>
                </a:solidFill>
              </a:rPr>
              <a:t>Explicit access on French-German border </a:t>
            </a:r>
            <a:endParaRPr lang="en-GB" dirty="0">
              <a:solidFill>
                <a:schemeClr val="accent1"/>
              </a:solidFill>
            </a:endParaRPr>
          </a:p>
        </p:txBody>
      </p:sp>
      <p:sp>
        <p:nvSpPr>
          <p:cNvPr id="5" name="Textplatzhalter 4"/>
          <p:cNvSpPr>
            <a:spLocks noGrp="1"/>
          </p:cNvSpPr>
          <p:nvPr>
            <p:ph type="body" sz="quarter" idx="15"/>
          </p:nvPr>
        </p:nvSpPr>
        <p:spPr>
          <a:xfrm>
            <a:off x="2255839" y="3024147"/>
            <a:ext cx="6329361" cy="315570"/>
          </a:xfrm>
        </p:spPr>
        <p:txBody>
          <a:bodyPr/>
          <a:lstStyle/>
          <a:p>
            <a:r>
              <a:rPr lang="en-GB" dirty="0" smtClean="0"/>
              <a:t>Bruno </a:t>
            </a:r>
            <a:r>
              <a:rPr lang="en-GB" dirty="0" err="1" smtClean="0"/>
              <a:t>Lemetayer</a:t>
            </a:r>
            <a:endParaRPr lang="en-GB" dirty="0" smtClean="0"/>
          </a:p>
          <a:p>
            <a:endParaRPr lang="en-GB" dirty="0"/>
          </a:p>
        </p:txBody>
      </p:sp>
      <p:sp>
        <p:nvSpPr>
          <p:cNvPr id="6" name="Textplatzhalter 5"/>
          <p:cNvSpPr>
            <a:spLocks noGrp="1"/>
          </p:cNvSpPr>
          <p:nvPr>
            <p:ph type="body" sz="quarter" idx="16"/>
          </p:nvPr>
        </p:nvSpPr>
        <p:spPr>
          <a:xfrm>
            <a:off x="2255839" y="3410983"/>
            <a:ext cx="6329361" cy="315570"/>
          </a:xfrm>
        </p:spPr>
        <p:txBody>
          <a:bodyPr/>
          <a:lstStyle/>
          <a:p>
            <a:r>
              <a:rPr lang="en-GB" dirty="0" smtClean="0"/>
              <a:t>RTE</a:t>
            </a:r>
            <a:endParaRPr lang="en-GB" dirty="0"/>
          </a:p>
        </p:txBody>
      </p:sp>
    </p:spTree>
    <p:extLst>
      <p:ext uri="{BB962C8B-B14F-4D97-AF65-F5344CB8AC3E}">
        <p14:creationId xmlns:p14="http://schemas.microsoft.com/office/powerpoint/2010/main" val="3535243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3"/>
          </p:nvPr>
        </p:nvSpPr>
        <p:spPr>
          <a:xfrm>
            <a:off x="539999" y="1439999"/>
            <a:ext cx="8046000" cy="5000558"/>
          </a:xfrm>
        </p:spPr>
        <p:txBody>
          <a:bodyPr>
            <a:normAutofit lnSpcReduction="10000"/>
          </a:bodyPr>
          <a:lstStyle/>
          <a:p>
            <a:endParaRPr lang="en-US" dirty="0"/>
          </a:p>
          <a:p>
            <a:r>
              <a:rPr lang="en-US" dirty="0"/>
              <a:t>Intraday FR-DE capacities are currently allocated both implicitly and explicitly through the ICS platform</a:t>
            </a:r>
          </a:p>
          <a:p>
            <a:r>
              <a:rPr lang="en-US" dirty="0"/>
              <a:t>Explicit allocation is also used for RTE’s Balancing Mechanism</a:t>
            </a:r>
          </a:p>
          <a:p>
            <a:r>
              <a:rPr lang="en-US" dirty="0"/>
              <a:t>GCT (or “Neutralization Lead-Time”) is</a:t>
            </a:r>
          </a:p>
          <a:p>
            <a:pPr lvl="1"/>
            <a:r>
              <a:rPr lang="en-US" sz="1600" dirty="0"/>
              <a:t>60min for explicit and implicit allocation</a:t>
            </a:r>
          </a:p>
          <a:p>
            <a:pPr lvl="1"/>
            <a:r>
              <a:rPr lang="en-US" sz="1600" dirty="0"/>
              <a:t>30min for explicit allocation concerning RTE’s Balancing Mechanism</a:t>
            </a:r>
          </a:p>
          <a:p>
            <a:pPr lvl="1"/>
            <a:r>
              <a:rPr lang="en-US" sz="1600" dirty="0"/>
              <a:t>Same GCT applies to both half hours of a given hour</a:t>
            </a:r>
          </a:p>
          <a:p>
            <a:endParaRPr lang="en-US" dirty="0"/>
          </a:p>
          <a:p>
            <a:endParaRPr lang="en-US" dirty="0"/>
          </a:p>
          <a:p>
            <a:endParaRPr lang="en-US" dirty="0"/>
          </a:p>
          <a:p>
            <a:endParaRPr lang="en-US" dirty="0"/>
          </a:p>
          <a:p>
            <a:endParaRPr lang="en-US" dirty="0"/>
          </a:p>
          <a:p>
            <a:r>
              <a:rPr lang="en-US" dirty="0"/>
              <a:t>ICS platform is accessible both through </a:t>
            </a:r>
          </a:p>
          <a:p>
            <a:pPr lvl="1"/>
            <a:r>
              <a:rPr lang="en-US" sz="1600" dirty="0"/>
              <a:t>an user interface </a:t>
            </a:r>
          </a:p>
          <a:p>
            <a:pPr lvl="1"/>
            <a:r>
              <a:rPr lang="en-US" sz="1600" dirty="0"/>
              <a:t>an API that allows automatic exchanges of XML messages (setup directly with ICS provider with costs)</a:t>
            </a:r>
            <a:endParaRPr lang="en-US" dirty="0"/>
          </a:p>
        </p:txBody>
      </p:sp>
      <p:sp>
        <p:nvSpPr>
          <p:cNvPr id="26" name="Rectangle 25"/>
          <p:cNvSpPr/>
          <p:nvPr/>
        </p:nvSpPr>
        <p:spPr>
          <a:xfrm>
            <a:off x="4594448" y="3929714"/>
            <a:ext cx="540000" cy="216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 name="Titel 1"/>
          <p:cNvSpPr>
            <a:spLocks noGrp="1"/>
          </p:cNvSpPr>
          <p:nvPr>
            <p:ph type="title"/>
          </p:nvPr>
        </p:nvSpPr>
        <p:spPr/>
        <p:txBody>
          <a:bodyPr/>
          <a:lstStyle/>
          <a:p>
            <a:r>
              <a:rPr lang="en-GB" dirty="0"/>
              <a:t>Explicit access on FR-DE border</a:t>
            </a:r>
            <a:br>
              <a:rPr lang="en-GB" dirty="0"/>
            </a:br>
            <a:r>
              <a:rPr lang="en-GB" b="0" i="1" dirty="0"/>
              <a:t>1-Background - current technical setup before XBID go-live</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solidFill>
                  <a:prstClr val="black"/>
                </a:solidFill>
              </a:rPr>
              <a:pPr>
                <a:defRPr/>
              </a:pPr>
              <a:t>64</a:t>
            </a:fld>
            <a:endParaRPr lang="en-US" altLang="en-US" dirty="0">
              <a:solidFill>
                <a:prstClr val="black"/>
              </a:solidFill>
            </a:endParaRPr>
          </a:p>
        </p:txBody>
      </p:sp>
      <p:cxnSp>
        <p:nvCxnSpPr>
          <p:cNvPr id="6" name="Straight Arrow Connector 5"/>
          <p:cNvCxnSpPr/>
          <p:nvPr/>
        </p:nvCxnSpPr>
        <p:spPr>
          <a:xfrm>
            <a:off x="768599" y="4536231"/>
            <a:ext cx="721895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312073" y="4219868"/>
            <a:ext cx="2268000" cy="216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8" name="Rectangle 7"/>
          <p:cNvSpPr/>
          <p:nvPr/>
        </p:nvSpPr>
        <p:spPr>
          <a:xfrm>
            <a:off x="2312072" y="3923423"/>
            <a:ext cx="2268000" cy="216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cxnSp>
        <p:nvCxnSpPr>
          <p:cNvPr id="10" name="Straight Connector 9"/>
          <p:cNvCxnSpPr/>
          <p:nvPr/>
        </p:nvCxnSpPr>
        <p:spPr>
          <a:xfrm>
            <a:off x="6858000" y="3857310"/>
            <a:ext cx="0" cy="79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634381" y="4683156"/>
            <a:ext cx="447238" cy="215444"/>
          </a:xfrm>
          <a:prstGeom prst="rect">
            <a:avLst/>
          </a:prstGeom>
          <a:noFill/>
        </p:spPr>
        <p:txBody>
          <a:bodyPr wrap="none" lIns="0" tIns="0" rIns="0" bIns="0" rtlCol="0">
            <a:spAutoFit/>
          </a:bodyPr>
          <a:lstStyle/>
          <a:p>
            <a:r>
              <a:rPr lang="en-US" sz="1400" dirty="0">
                <a:solidFill>
                  <a:prstClr val="black"/>
                </a:solidFill>
              </a:rPr>
              <a:t>17:00</a:t>
            </a:r>
          </a:p>
        </p:txBody>
      </p:sp>
      <p:sp>
        <p:nvSpPr>
          <p:cNvPr id="14" name="TextBox 13"/>
          <p:cNvSpPr txBox="1"/>
          <p:nvPr/>
        </p:nvSpPr>
        <p:spPr>
          <a:xfrm>
            <a:off x="6047193" y="4683156"/>
            <a:ext cx="447238" cy="215444"/>
          </a:xfrm>
          <a:prstGeom prst="rect">
            <a:avLst/>
          </a:prstGeom>
          <a:noFill/>
        </p:spPr>
        <p:txBody>
          <a:bodyPr wrap="none" lIns="0" tIns="0" rIns="0" bIns="0" rtlCol="0">
            <a:spAutoFit/>
          </a:bodyPr>
          <a:lstStyle/>
          <a:p>
            <a:r>
              <a:rPr lang="en-US" sz="1400" dirty="0">
                <a:solidFill>
                  <a:prstClr val="black"/>
                </a:solidFill>
              </a:rPr>
              <a:t>16:30</a:t>
            </a:r>
          </a:p>
        </p:txBody>
      </p:sp>
      <p:cxnSp>
        <p:nvCxnSpPr>
          <p:cNvPr id="15" name="Straight Connector 14"/>
          <p:cNvCxnSpPr/>
          <p:nvPr/>
        </p:nvCxnSpPr>
        <p:spPr>
          <a:xfrm>
            <a:off x="5683125" y="3857310"/>
            <a:ext cx="0" cy="79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459506" y="4683156"/>
            <a:ext cx="447238" cy="215444"/>
          </a:xfrm>
          <a:prstGeom prst="rect">
            <a:avLst/>
          </a:prstGeom>
          <a:noFill/>
        </p:spPr>
        <p:txBody>
          <a:bodyPr wrap="none" lIns="0" tIns="0" rIns="0" bIns="0" rtlCol="0">
            <a:spAutoFit/>
          </a:bodyPr>
          <a:lstStyle/>
          <a:p>
            <a:r>
              <a:rPr lang="en-US" sz="1400" dirty="0">
                <a:solidFill>
                  <a:prstClr val="black"/>
                </a:solidFill>
              </a:rPr>
              <a:t>16:00</a:t>
            </a:r>
          </a:p>
        </p:txBody>
      </p:sp>
      <p:sp>
        <p:nvSpPr>
          <p:cNvPr id="17" name="Rectangle 16"/>
          <p:cNvSpPr/>
          <p:nvPr/>
        </p:nvSpPr>
        <p:spPr>
          <a:xfrm>
            <a:off x="6284259" y="4226139"/>
            <a:ext cx="573741" cy="216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18" name="Rectangle 17"/>
          <p:cNvSpPr/>
          <p:nvPr/>
        </p:nvSpPr>
        <p:spPr>
          <a:xfrm>
            <a:off x="5697072" y="3923423"/>
            <a:ext cx="573741" cy="216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cxnSp>
        <p:nvCxnSpPr>
          <p:cNvPr id="13" name="Straight Connector 12"/>
          <p:cNvCxnSpPr/>
          <p:nvPr/>
        </p:nvCxnSpPr>
        <p:spPr>
          <a:xfrm>
            <a:off x="6270812" y="3857310"/>
            <a:ext cx="0" cy="79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584951" y="3856976"/>
            <a:ext cx="0" cy="79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4361332" y="4682822"/>
            <a:ext cx="447238" cy="430887"/>
          </a:xfrm>
          <a:prstGeom prst="rect">
            <a:avLst/>
          </a:prstGeom>
          <a:noFill/>
        </p:spPr>
        <p:txBody>
          <a:bodyPr wrap="none" lIns="0" tIns="0" rIns="0" bIns="0" rtlCol="0">
            <a:spAutoFit/>
          </a:bodyPr>
          <a:lstStyle/>
          <a:p>
            <a:r>
              <a:rPr lang="en-US" sz="1400" dirty="0">
                <a:solidFill>
                  <a:prstClr val="black"/>
                </a:solidFill>
              </a:rPr>
              <a:t>15:00</a:t>
            </a:r>
          </a:p>
          <a:p>
            <a:pPr algn="ctr"/>
            <a:r>
              <a:rPr lang="en-US" sz="1400" b="1" dirty="0">
                <a:solidFill>
                  <a:prstClr val="black"/>
                </a:solidFill>
              </a:rPr>
              <a:t>GCT</a:t>
            </a:r>
          </a:p>
        </p:txBody>
      </p:sp>
      <p:cxnSp>
        <p:nvCxnSpPr>
          <p:cNvPr id="22" name="Straight Connector 21"/>
          <p:cNvCxnSpPr/>
          <p:nvPr/>
        </p:nvCxnSpPr>
        <p:spPr>
          <a:xfrm>
            <a:off x="2312072" y="3856976"/>
            <a:ext cx="0" cy="79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2088453" y="4682822"/>
            <a:ext cx="447238" cy="430887"/>
          </a:xfrm>
          <a:prstGeom prst="rect">
            <a:avLst/>
          </a:prstGeom>
          <a:noFill/>
        </p:spPr>
        <p:txBody>
          <a:bodyPr wrap="none" lIns="0" tIns="0" rIns="0" bIns="0" rtlCol="0">
            <a:spAutoFit/>
          </a:bodyPr>
          <a:lstStyle/>
          <a:p>
            <a:pPr algn="ctr"/>
            <a:r>
              <a:rPr lang="en-US" sz="1400" dirty="0">
                <a:solidFill>
                  <a:prstClr val="black"/>
                </a:solidFill>
              </a:rPr>
              <a:t>21:05</a:t>
            </a:r>
          </a:p>
          <a:p>
            <a:pPr algn="ctr"/>
            <a:r>
              <a:rPr lang="en-US" sz="1400" b="1" dirty="0">
                <a:solidFill>
                  <a:prstClr val="black"/>
                </a:solidFill>
              </a:rPr>
              <a:t>GOT</a:t>
            </a:r>
          </a:p>
        </p:txBody>
      </p:sp>
      <p:cxnSp>
        <p:nvCxnSpPr>
          <p:cNvPr id="24" name="Straight Connector 23"/>
          <p:cNvCxnSpPr/>
          <p:nvPr/>
        </p:nvCxnSpPr>
        <p:spPr>
          <a:xfrm>
            <a:off x="5134038" y="3856976"/>
            <a:ext cx="0" cy="79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910419" y="4682822"/>
            <a:ext cx="1684500" cy="646331"/>
          </a:xfrm>
          <a:prstGeom prst="rect">
            <a:avLst/>
          </a:prstGeom>
          <a:noFill/>
        </p:spPr>
        <p:txBody>
          <a:bodyPr wrap="none" lIns="0" tIns="0" rIns="0" bIns="0" rtlCol="0">
            <a:spAutoFit/>
          </a:bodyPr>
          <a:lstStyle/>
          <a:p>
            <a:r>
              <a:rPr lang="en-US" sz="1400" dirty="0">
                <a:solidFill>
                  <a:prstClr val="black"/>
                </a:solidFill>
              </a:rPr>
              <a:t>15:30</a:t>
            </a:r>
          </a:p>
          <a:p>
            <a:r>
              <a:rPr lang="en-US" sz="1400" b="1" dirty="0">
                <a:solidFill>
                  <a:prstClr val="black"/>
                </a:solidFill>
              </a:rPr>
              <a:t>GCT </a:t>
            </a:r>
          </a:p>
          <a:p>
            <a:r>
              <a:rPr lang="en-US" sz="1400" b="1" dirty="0">
                <a:solidFill>
                  <a:prstClr val="black"/>
                </a:solidFill>
              </a:rPr>
              <a:t>related to RTE’s BM</a:t>
            </a:r>
          </a:p>
        </p:txBody>
      </p:sp>
      <p:sp>
        <p:nvSpPr>
          <p:cNvPr id="27" name="Rectangle 26"/>
          <p:cNvSpPr/>
          <p:nvPr/>
        </p:nvSpPr>
        <p:spPr>
          <a:xfrm>
            <a:off x="4600762" y="4217863"/>
            <a:ext cx="540000" cy="216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endParaRPr>
          </a:p>
        </p:txBody>
      </p:sp>
      <p:sp>
        <p:nvSpPr>
          <p:cNvPr id="28" name="TextBox 27"/>
          <p:cNvSpPr txBox="1"/>
          <p:nvPr/>
        </p:nvSpPr>
        <p:spPr>
          <a:xfrm>
            <a:off x="544980" y="3845654"/>
            <a:ext cx="697307" cy="215444"/>
          </a:xfrm>
          <a:prstGeom prst="rect">
            <a:avLst/>
          </a:prstGeom>
          <a:noFill/>
        </p:spPr>
        <p:txBody>
          <a:bodyPr wrap="none" lIns="0" tIns="0" rIns="0" bIns="0" rtlCol="0">
            <a:spAutoFit/>
          </a:bodyPr>
          <a:lstStyle/>
          <a:p>
            <a:r>
              <a:rPr lang="en-US" sz="1400" i="1" dirty="0">
                <a:solidFill>
                  <a:prstClr val="black"/>
                </a:solidFill>
              </a:rPr>
              <a:t>Example</a:t>
            </a:r>
          </a:p>
        </p:txBody>
      </p:sp>
    </p:spTree>
    <p:extLst>
      <p:ext uri="{BB962C8B-B14F-4D97-AF65-F5344CB8AC3E}">
        <p14:creationId xmlns:p14="http://schemas.microsoft.com/office/powerpoint/2010/main" val="13009178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Explicit access on FR-DE border</a:t>
            </a:r>
            <a:br>
              <a:rPr lang="en-GB" dirty="0"/>
            </a:br>
            <a:r>
              <a:rPr lang="en-GB" b="0" i="1" dirty="0"/>
              <a:t>2-Background - current contractual setup before XBID go-live</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solidFill>
                  <a:prstClr val="black"/>
                </a:solidFill>
              </a:rPr>
              <a:pPr>
                <a:defRPr/>
              </a:pPr>
              <a:t>65</a:t>
            </a:fld>
            <a:endParaRPr lang="en-US" altLang="en-US" dirty="0">
              <a:solidFill>
                <a:prstClr val="black"/>
              </a:solidFill>
            </a:endParaRPr>
          </a:p>
        </p:txBody>
      </p:sp>
      <p:sp>
        <p:nvSpPr>
          <p:cNvPr id="4" name="Textplatzhalter 3"/>
          <p:cNvSpPr>
            <a:spLocks noGrp="1"/>
          </p:cNvSpPr>
          <p:nvPr>
            <p:ph type="body" sz="quarter" idx="13"/>
          </p:nvPr>
        </p:nvSpPr>
        <p:spPr/>
        <p:txBody>
          <a:bodyPr>
            <a:normAutofit/>
          </a:bodyPr>
          <a:lstStyle/>
          <a:p>
            <a:endParaRPr lang="en-US" dirty="0"/>
          </a:p>
          <a:p>
            <a:r>
              <a:rPr lang="en-US" dirty="0"/>
              <a:t>Participants to the current mechanism on FR-DE border must sign:</a:t>
            </a:r>
          </a:p>
          <a:p>
            <a:pPr lvl="1"/>
            <a:r>
              <a:rPr lang="en-US" dirty="0"/>
              <a:t>The “IFD” Intraday market rules</a:t>
            </a:r>
          </a:p>
          <a:p>
            <a:pPr lvl="1"/>
            <a:r>
              <a:rPr lang="en-US" dirty="0"/>
              <a:t>The nomination rules with relevant TSOs</a:t>
            </a:r>
          </a:p>
          <a:p>
            <a:pPr lvl="2"/>
            <a:r>
              <a:rPr lang="en-US" dirty="0"/>
              <a:t>“Access Rules for Imports and Exports on the French Public Power Transmission Network”, with RTE</a:t>
            </a:r>
          </a:p>
          <a:p>
            <a:pPr lvl="2"/>
            <a:r>
              <a:rPr lang="en-US" dirty="0"/>
              <a:t>Balancing agreement (“Bilanzkreisvertrag”) in Germany, with at least one involved German TSO (Amprion and/or TransnetBW)</a:t>
            </a:r>
          </a:p>
          <a:p>
            <a:endParaRPr lang="en-US" dirty="0"/>
          </a:p>
        </p:txBody>
      </p:sp>
    </p:spTree>
    <p:extLst>
      <p:ext uri="{BB962C8B-B14F-4D97-AF65-F5344CB8AC3E}">
        <p14:creationId xmlns:p14="http://schemas.microsoft.com/office/powerpoint/2010/main" val="5610226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Explicit access on FR-DE border</a:t>
            </a:r>
            <a:br>
              <a:rPr lang="en-GB" dirty="0"/>
            </a:br>
            <a:r>
              <a:rPr lang="en-GB" b="0" i="1" dirty="0"/>
              <a:t>3.1-New technical setup with XBID</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solidFill>
                  <a:prstClr val="black"/>
                </a:solidFill>
              </a:rPr>
              <a:pPr>
                <a:defRPr/>
              </a:pPr>
              <a:t>66</a:t>
            </a:fld>
            <a:endParaRPr lang="en-US" altLang="en-US" dirty="0">
              <a:solidFill>
                <a:prstClr val="black"/>
              </a:solidFill>
            </a:endParaRPr>
          </a:p>
        </p:txBody>
      </p:sp>
      <p:sp>
        <p:nvSpPr>
          <p:cNvPr id="4" name="Textplatzhalter 3"/>
          <p:cNvSpPr>
            <a:spLocks noGrp="1"/>
          </p:cNvSpPr>
          <p:nvPr>
            <p:ph type="body" sz="quarter" idx="13"/>
          </p:nvPr>
        </p:nvSpPr>
        <p:spPr/>
        <p:txBody>
          <a:bodyPr>
            <a:normAutofit/>
          </a:bodyPr>
          <a:lstStyle/>
          <a:p>
            <a:endParaRPr lang="en-US" dirty="0"/>
          </a:p>
          <a:p>
            <a:r>
              <a:rPr lang="en-US" dirty="0"/>
              <a:t>Explicit allocation will be managed by CMM</a:t>
            </a:r>
          </a:p>
          <a:p>
            <a:pPr lvl="1"/>
            <a:r>
              <a:rPr lang="en-US" dirty="0"/>
              <a:t>same GCT</a:t>
            </a:r>
          </a:p>
          <a:p>
            <a:pPr lvl="1"/>
            <a:r>
              <a:rPr lang="en-US" dirty="0"/>
              <a:t>also used for transactions of RTE’s Balancing Mechanism</a:t>
            </a:r>
          </a:p>
          <a:p>
            <a:r>
              <a:rPr lang="en-US" dirty="0"/>
              <a:t>CMM is accessible both through </a:t>
            </a:r>
          </a:p>
          <a:p>
            <a:pPr lvl="1"/>
            <a:r>
              <a:rPr lang="en-US" dirty="0"/>
              <a:t>an user interface: functionalities are almost identical as ICS</a:t>
            </a:r>
          </a:p>
          <a:p>
            <a:pPr lvl="2"/>
            <a:r>
              <a:rPr lang="en-US" dirty="0"/>
              <a:t>Technical documentation [available on RTE’s / </a:t>
            </a:r>
            <a:r>
              <a:rPr lang="en-US" dirty="0" err="1"/>
              <a:t>Amprion’s</a:t>
            </a:r>
            <a:r>
              <a:rPr lang="en-US" dirty="0"/>
              <a:t> website]</a:t>
            </a:r>
          </a:p>
          <a:p>
            <a:pPr lvl="1"/>
            <a:r>
              <a:rPr lang="en-US" dirty="0"/>
              <a:t>an API that allows automatic exchanges of XML messages</a:t>
            </a:r>
          </a:p>
          <a:p>
            <a:pPr lvl="2"/>
            <a:r>
              <a:rPr lang="en-US" dirty="0"/>
              <a:t>Technical documentation [available on RTE’s / </a:t>
            </a:r>
            <a:r>
              <a:rPr lang="en-US" dirty="0" err="1"/>
              <a:t>Amprion’s</a:t>
            </a:r>
            <a:r>
              <a:rPr lang="en-US" dirty="0"/>
              <a:t> website]</a:t>
            </a:r>
          </a:p>
          <a:p>
            <a:pPr lvl="2"/>
            <a:r>
              <a:rPr lang="en-US" dirty="0"/>
              <a:t>Setup done through TSOs (TSOs remain SPOCs for the border</a:t>
            </a:r>
            <a:r>
              <a:rPr lang="en-US" dirty="0" smtClean="0"/>
              <a:t>)</a:t>
            </a:r>
          </a:p>
          <a:p>
            <a:pPr lvl="2"/>
            <a:endParaRPr lang="en-US" dirty="0"/>
          </a:p>
          <a:p>
            <a:r>
              <a:rPr lang="en-US" dirty="0" smtClean="0"/>
              <a:t>Link to RTE’s webpage: </a:t>
            </a:r>
            <a:r>
              <a:rPr lang="en-US" u="sng" dirty="0">
                <a:hlinkClick r:id="rId2"/>
              </a:rPr>
              <a:t>http://clients.rte-france.com/lang/an/clients_traders_fournisseurs/services_clients/inter_france_allemagne.jsp</a:t>
            </a:r>
            <a:endParaRPr lang="de-DE" dirty="0"/>
          </a:p>
          <a:p>
            <a:endParaRPr lang="en-US" dirty="0"/>
          </a:p>
        </p:txBody>
      </p:sp>
    </p:spTree>
    <p:extLst>
      <p:ext uri="{BB962C8B-B14F-4D97-AF65-F5344CB8AC3E}">
        <p14:creationId xmlns:p14="http://schemas.microsoft.com/office/powerpoint/2010/main" val="37721029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Explicit access on FR-DE border</a:t>
            </a:r>
            <a:br>
              <a:rPr lang="en-GB" dirty="0"/>
            </a:br>
            <a:r>
              <a:rPr lang="en-GB" b="0" i="1" dirty="0">
                <a:solidFill>
                  <a:prstClr val="black"/>
                </a:solidFill>
              </a:rPr>
              <a:t>3.2-Requests type</a:t>
            </a:r>
            <a:endParaRPr lang="en-GB" b="0" i="1"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solidFill>
                  <a:prstClr val="black"/>
                </a:solidFill>
              </a:rPr>
              <a:pPr>
                <a:defRPr/>
              </a:pPr>
              <a:t>67</a:t>
            </a:fld>
            <a:endParaRPr lang="en-US" altLang="en-US" dirty="0">
              <a:solidFill>
                <a:prstClr val="black"/>
              </a:solidFill>
            </a:endParaRPr>
          </a:p>
        </p:txBody>
      </p:sp>
      <p:sp>
        <p:nvSpPr>
          <p:cNvPr id="4" name="Textplatzhalter 3"/>
          <p:cNvSpPr>
            <a:spLocks noGrp="1"/>
          </p:cNvSpPr>
          <p:nvPr>
            <p:ph type="body" sz="quarter" idx="13"/>
          </p:nvPr>
        </p:nvSpPr>
        <p:spPr/>
        <p:txBody>
          <a:bodyPr>
            <a:normAutofit/>
          </a:bodyPr>
          <a:lstStyle/>
          <a:p>
            <a:endParaRPr lang="en-US" dirty="0"/>
          </a:p>
          <a:p>
            <a:pPr lvl="0"/>
            <a:r>
              <a:rPr lang="en-US" dirty="0">
                <a:solidFill>
                  <a:prstClr val="black"/>
                </a:solidFill>
              </a:rPr>
              <a:t>Capacity requests can be sent to the CMM</a:t>
            </a:r>
          </a:p>
          <a:p>
            <a:pPr lvl="1">
              <a:buClr>
                <a:prstClr val="black"/>
              </a:buClr>
            </a:pPr>
            <a:r>
              <a:rPr lang="en-US" dirty="0">
                <a:solidFill>
                  <a:prstClr val="black"/>
                </a:solidFill>
              </a:rPr>
              <a:t>for one or more Hours of delivery </a:t>
            </a:r>
          </a:p>
          <a:p>
            <a:pPr lvl="1">
              <a:buClr>
                <a:prstClr val="black"/>
              </a:buClr>
            </a:pPr>
            <a:r>
              <a:rPr lang="en-US" dirty="0">
                <a:solidFill>
                  <a:prstClr val="black"/>
                </a:solidFill>
              </a:rPr>
              <a:t>and/or one or more Half-Hours of delivery</a:t>
            </a:r>
          </a:p>
          <a:p>
            <a:pPr lvl="0"/>
            <a:r>
              <a:rPr lang="en-US" dirty="0">
                <a:solidFill>
                  <a:prstClr val="black"/>
                </a:solidFill>
              </a:rPr>
              <a:t>3 types of request</a:t>
            </a:r>
          </a:p>
          <a:p>
            <a:pPr lvl="1">
              <a:buClr>
                <a:prstClr val="black"/>
              </a:buClr>
            </a:pPr>
            <a:r>
              <a:rPr lang="en-US" dirty="0">
                <a:solidFill>
                  <a:prstClr val="black"/>
                </a:solidFill>
              </a:rPr>
              <a:t>Immediate Or Cancel: request can be partially accepted</a:t>
            </a:r>
          </a:p>
          <a:p>
            <a:pPr lvl="1">
              <a:buClr>
                <a:prstClr val="black"/>
              </a:buClr>
            </a:pPr>
            <a:r>
              <a:rPr lang="en-US" dirty="0">
                <a:solidFill>
                  <a:prstClr val="black"/>
                </a:solidFill>
              </a:rPr>
              <a:t>All Or Nothing: request cannot be accepted partially</a:t>
            </a:r>
          </a:p>
          <a:p>
            <a:pPr lvl="1">
              <a:buClr>
                <a:prstClr val="black"/>
              </a:buClr>
            </a:pPr>
            <a:r>
              <a:rPr lang="en-US" dirty="0">
                <a:solidFill>
                  <a:prstClr val="black"/>
                </a:solidFill>
              </a:rPr>
              <a:t>All Contracts Equal (for multiple contracts only): minimum capacity value available across all the contracts is allocated to all</a:t>
            </a:r>
          </a:p>
          <a:p>
            <a:pPr lvl="0"/>
            <a:endParaRPr lang="en-US" dirty="0">
              <a:solidFill>
                <a:prstClr val="black"/>
              </a:solidFill>
            </a:endParaRPr>
          </a:p>
          <a:p>
            <a:endParaRPr lang="en-US" dirty="0"/>
          </a:p>
        </p:txBody>
      </p:sp>
    </p:spTree>
    <p:extLst>
      <p:ext uri="{BB962C8B-B14F-4D97-AF65-F5344CB8AC3E}">
        <p14:creationId xmlns:p14="http://schemas.microsoft.com/office/powerpoint/2010/main" val="12925859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Explicit access on FR-DE border</a:t>
            </a:r>
            <a:br>
              <a:rPr lang="en-GB" dirty="0"/>
            </a:br>
            <a:r>
              <a:rPr lang="en-GB" b="0" i="1" dirty="0" smtClean="0"/>
              <a:t>4-Path </a:t>
            </a:r>
            <a:r>
              <a:rPr lang="en-GB" b="0" i="1" dirty="0"/>
              <a:t>towards go-live</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solidFill>
                  <a:prstClr val="black"/>
                </a:solidFill>
              </a:rPr>
              <a:pPr>
                <a:defRPr/>
              </a:pPr>
              <a:t>68</a:t>
            </a:fld>
            <a:endParaRPr lang="en-US" altLang="en-US" dirty="0">
              <a:solidFill>
                <a:prstClr val="black"/>
              </a:solidFill>
            </a:endParaRPr>
          </a:p>
        </p:txBody>
      </p:sp>
      <p:sp>
        <p:nvSpPr>
          <p:cNvPr id="4" name="Textplatzhalter 3"/>
          <p:cNvSpPr>
            <a:spLocks noGrp="1"/>
          </p:cNvSpPr>
          <p:nvPr>
            <p:ph type="body" sz="quarter" idx="13"/>
          </p:nvPr>
        </p:nvSpPr>
        <p:spPr/>
        <p:txBody>
          <a:bodyPr>
            <a:normAutofit/>
          </a:bodyPr>
          <a:lstStyle/>
          <a:p>
            <a:endParaRPr lang="en-US" dirty="0"/>
          </a:p>
          <a:p>
            <a:r>
              <a:rPr lang="en-US" dirty="0"/>
              <a:t>Updated rules</a:t>
            </a:r>
          </a:p>
          <a:p>
            <a:pPr lvl="1"/>
            <a:r>
              <a:rPr lang="en-US" dirty="0"/>
              <a:t>IFD, Import/export Rules (RTE)</a:t>
            </a:r>
          </a:p>
          <a:p>
            <a:pPr lvl="1"/>
            <a:r>
              <a:rPr lang="en-US" dirty="0"/>
              <a:t>Amendments  to  the  Rules  have  no  impact  on  the  validity  of  the  acceptance  already signed  by  the Participants</a:t>
            </a:r>
          </a:p>
          <a:p>
            <a:r>
              <a:rPr lang="en-US" dirty="0"/>
              <a:t>Member’s trial period</a:t>
            </a:r>
          </a:p>
          <a:p>
            <a:pPr lvl="1"/>
            <a:r>
              <a:rPr lang="en-US" dirty="0"/>
              <a:t>Managed along within whole trial phase (cf. topic  9)</a:t>
            </a:r>
          </a:p>
          <a:p>
            <a:endParaRPr lang="en-GB" dirty="0"/>
          </a:p>
        </p:txBody>
      </p:sp>
    </p:spTree>
    <p:extLst>
      <p:ext uri="{BB962C8B-B14F-4D97-AF65-F5344CB8AC3E}">
        <p14:creationId xmlns:p14="http://schemas.microsoft.com/office/powerpoint/2010/main" val="3232785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Explicit access on FR-DE border</a:t>
            </a:r>
            <a:br>
              <a:rPr lang="en-GB" dirty="0"/>
            </a:br>
            <a:r>
              <a:rPr lang="en-GB" b="0" i="1" dirty="0"/>
              <a:t>5</a:t>
            </a:r>
            <a:r>
              <a:rPr lang="en-GB" b="0" i="1" dirty="0" smtClean="0"/>
              <a:t>-New </a:t>
            </a:r>
            <a:r>
              <a:rPr lang="en-GB" b="0" i="1" dirty="0"/>
              <a:t>contractual setup with XBID</a:t>
            </a:r>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solidFill>
                  <a:prstClr val="black"/>
                </a:solidFill>
              </a:rPr>
              <a:pPr>
                <a:defRPr/>
              </a:pPr>
              <a:t>69</a:t>
            </a:fld>
            <a:endParaRPr lang="en-US" altLang="en-US" dirty="0">
              <a:solidFill>
                <a:prstClr val="black"/>
              </a:solidFill>
            </a:endParaRPr>
          </a:p>
        </p:txBody>
      </p:sp>
      <p:sp>
        <p:nvSpPr>
          <p:cNvPr id="4" name="Textplatzhalter 3"/>
          <p:cNvSpPr>
            <a:spLocks noGrp="1"/>
          </p:cNvSpPr>
          <p:nvPr>
            <p:ph type="body" sz="quarter" idx="13"/>
          </p:nvPr>
        </p:nvSpPr>
        <p:spPr/>
        <p:txBody>
          <a:bodyPr>
            <a:normAutofit/>
          </a:bodyPr>
          <a:lstStyle/>
          <a:p>
            <a:endParaRPr lang="en-US" dirty="0"/>
          </a:p>
          <a:p>
            <a:r>
              <a:rPr lang="en-US" dirty="0"/>
              <a:t>Same setup as today:</a:t>
            </a:r>
          </a:p>
          <a:p>
            <a:pPr lvl="1">
              <a:buClr>
                <a:prstClr val="black"/>
              </a:buClr>
            </a:pPr>
            <a:r>
              <a:rPr lang="en-US" dirty="0">
                <a:solidFill>
                  <a:prstClr val="black"/>
                </a:solidFill>
              </a:rPr>
              <a:t>“IFD” Intraday market rules (</a:t>
            </a:r>
            <a:r>
              <a:rPr lang="en-US" i="1" dirty="0">
                <a:solidFill>
                  <a:prstClr val="black"/>
                </a:solidFill>
              </a:rPr>
              <a:t>amended version</a:t>
            </a:r>
            <a:r>
              <a:rPr lang="en-US" dirty="0">
                <a:solidFill>
                  <a:prstClr val="black"/>
                </a:solidFill>
              </a:rPr>
              <a:t>)</a:t>
            </a:r>
          </a:p>
          <a:p>
            <a:pPr lvl="2"/>
            <a:r>
              <a:rPr lang="en-US" dirty="0">
                <a:solidFill>
                  <a:prstClr val="black"/>
                </a:solidFill>
              </a:rPr>
              <a:t>See consultation opened on RTE’s website</a:t>
            </a:r>
          </a:p>
          <a:p>
            <a:pPr lvl="2"/>
            <a:r>
              <a:rPr lang="en-US" dirty="0">
                <a:solidFill>
                  <a:prstClr val="black"/>
                </a:solidFill>
              </a:rPr>
              <a:t>Published on RTE and Amprion website</a:t>
            </a:r>
          </a:p>
          <a:p>
            <a:pPr lvl="1">
              <a:buClr>
                <a:prstClr val="black"/>
              </a:buClr>
            </a:pPr>
            <a:r>
              <a:rPr lang="en-US" dirty="0">
                <a:solidFill>
                  <a:prstClr val="black"/>
                </a:solidFill>
              </a:rPr>
              <a:t>Nomination rules with relevant TSOs</a:t>
            </a:r>
          </a:p>
          <a:p>
            <a:pPr lvl="2"/>
            <a:r>
              <a:rPr lang="en-US" dirty="0">
                <a:solidFill>
                  <a:prstClr val="black"/>
                </a:solidFill>
              </a:rPr>
              <a:t>“Access Rules for Imports and Exports on the French Public Power Transmission Network”, with RTE (</a:t>
            </a:r>
            <a:r>
              <a:rPr lang="en-US" i="1" dirty="0">
                <a:solidFill>
                  <a:prstClr val="black"/>
                </a:solidFill>
              </a:rPr>
              <a:t>amended version</a:t>
            </a:r>
            <a:r>
              <a:rPr lang="en-US" dirty="0">
                <a:solidFill>
                  <a:prstClr val="black"/>
                </a:solidFill>
              </a:rPr>
              <a:t>)</a:t>
            </a:r>
          </a:p>
          <a:p>
            <a:pPr lvl="3"/>
            <a:r>
              <a:rPr lang="en-US" dirty="0">
                <a:solidFill>
                  <a:prstClr val="black"/>
                </a:solidFill>
              </a:rPr>
              <a:t>See consultation opened on RTE’s website</a:t>
            </a:r>
          </a:p>
          <a:p>
            <a:pPr lvl="3"/>
            <a:r>
              <a:rPr lang="en-US" dirty="0">
                <a:solidFill>
                  <a:prstClr val="black"/>
                </a:solidFill>
              </a:rPr>
              <a:t>Published on RTE website</a:t>
            </a:r>
          </a:p>
          <a:p>
            <a:pPr lvl="2"/>
            <a:r>
              <a:rPr lang="en-US" dirty="0">
                <a:solidFill>
                  <a:prstClr val="black"/>
                </a:solidFill>
              </a:rPr>
              <a:t>Balancing agreement (“Bilanzkreisvertrag”) in Germany, with at least one involved German TSO (Amprion and/or TransnetBW)</a:t>
            </a:r>
          </a:p>
          <a:p>
            <a:pPr lvl="3"/>
            <a:r>
              <a:rPr lang="en-US" dirty="0">
                <a:solidFill>
                  <a:prstClr val="black"/>
                </a:solidFill>
              </a:rPr>
              <a:t>Published on Amprion website</a:t>
            </a:r>
          </a:p>
        </p:txBody>
      </p:sp>
    </p:spTree>
    <p:extLst>
      <p:ext uri="{BB962C8B-B14F-4D97-AF65-F5344CB8AC3E}">
        <p14:creationId xmlns:p14="http://schemas.microsoft.com/office/powerpoint/2010/main" val="22673785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solidFill>
                  <a:schemeClr val="accent1"/>
                </a:solidFill>
              </a:rPr>
              <a:t>Overview of XBID Project</a:t>
            </a:r>
            <a:endParaRPr lang="en-GB" dirty="0">
              <a:solidFill>
                <a:schemeClr val="accent1"/>
              </a:solidFill>
            </a:endParaRPr>
          </a:p>
        </p:txBody>
      </p:sp>
      <p:sp>
        <p:nvSpPr>
          <p:cNvPr id="3" name="Textplatzhalter 2"/>
          <p:cNvSpPr>
            <a:spLocks noGrp="1"/>
          </p:cNvSpPr>
          <p:nvPr>
            <p:ph type="body" sz="quarter" idx="13"/>
          </p:nvPr>
        </p:nvSpPr>
        <p:spPr/>
        <p:txBody>
          <a:bodyPr/>
          <a:lstStyle/>
          <a:p>
            <a:r>
              <a:rPr lang="en-GB" dirty="0" smtClean="0"/>
              <a:t>Background, history and challenges</a:t>
            </a:r>
            <a:endParaRPr lang="en-GB" dirty="0"/>
          </a:p>
        </p:txBody>
      </p:sp>
      <p:sp>
        <p:nvSpPr>
          <p:cNvPr id="5" name="Textplatzhalter 4"/>
          <p:cNvSpPr>
            <a:spLocks noGrp="1"/>
          </p:cNvSpPr>
          <p:nvPr>
            <p:ph type="body" sz="quarter" idx="15"/>
          </p:nvPr>
        </p:nvSpPr>
        <p:spPr>
          <a:xfrm>
            <a:off x="2255839" y="3570067"/>
            <a:ext cx="6329361" cy="315570"/>
          </a:xfrm>
        </p:spPr>
        <p:txBody>
          <a:bodyPr/>
          <a:lstStyle/>
          <a:p>
            <a:r>
              <a:rPr lang="en-GB" dirty="0" smtClean="0"/>
              <a:t>Jean </a:t>
            </a:r>
            <a:r>
              <a:rPr lang="en-GB" dirty="0" err="1" smtClean="0"/>
              <a:t>Verseille</a:t>
            </a:r>
            <a:endParaRPr lang="en-GB" dirty="0" smtClean="0"/>
          </a:p>
          <a:p>
            <a:endParaRPr lang="en-GB" dirty="0"/>
          </a:p>
        </p:txBody>
      </p:sp>
      <p:sp>
        <p:nvSpPr>
          <p:cNvPr id="6" name="Textplatzhalter 5"/>
          <p:cNvSpPr>
            <a:spLocks noGrp="1"/>
          </p:cNvSpPr>
          <p:nvPr>
            <p:ph type="body" sz="quarter" idx="16"/>
          </p:nvPr>
        </p:nvSpPr>
        <p:spPr>
          <a:xfrm>
            <a:off x="2255839" y="3956903"/>
            <a:ext cx="6329361" cy="315570"/>
          </a:xfrm>
        </p:spPr>
        <p:txBody>
          <a:bodyPr/>
          <a:lstStyle/>
          <a:p>
            <a:r>
              <a:rPr lang="en-GB" dirty="0" smtClean="0"/>
              <a:t>Co-chair Intraday Steering Committee </a:t>
            </a:r>
            <a:endParaRPr lang="en-GB" dirty="0"/>
          </a:p>
        </p:txBody>
      </p:sp>
    </p:spTree>
    <p:extLst>
      <p:ext uri="{BB962C8B-B14F-4D97-AF65-F5344CB8AC3E}">
        <p14:creationId xmlns:p14="http://schemas.microsoft.com/office/powerpoint/2010/main" val="1913129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4:15-14:30</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ea typeface="Times New Roman"/>
                <a:cs typeface="Arial"/>
              </a:rPr>
              <a:t>Key note speech </a:t>
            </a:r>
            <a:endParaRPr lang="en-GB" sz="2000" kern="0" dirty="0" smtClean="0">
              <a:ea typeface="Times New Roman"/>
              <a:cs typeface="Times New Roman"/>
            </a:endParaRPr>
          </a:p>
          <a:p>
            <a:r>
              <a:rPr lang="en-GB" sz="2000" dirty="0" smtClean="0">
                <a:solidFill>
                  <a:srgbClr val="000000"/>
                </a:solidFill>
                <a:ea typeface="Times New Roman"/>
              </a:rPr>
              <a:t>Overview of XBID Project</a:t>
            </a:r>
          </a:p>
          <a:p>
            <a:r>
              <a:rPr lang="en-GB" sz="2000" dirty="0" smtClean="0">
                <a:solidFill>
                  <a:srgbClr val="000000"/>
                </a:solidFill>
                <a:ea typeface="Times New Roman"/>
              </a:rPr>
              <a:t>The XBID matching solution</a:t>
            </a:r>
          </a:p>
          <a:p>
            <a:r>
              <a:rPr lang="en-GB" sz="2000" dirty="0" smtClean="0">
                <a:solidFill>
                  <a:srgbClr val="000000"/>
                </a:solidFill>
                <a:ea typeface="Times New Roman"/>
              </a:rPr>
              <a:t>Overview of borders, market areas &amp; products</a:t>
            </a:r>
          </a:p>
          <a:p>
            <a:r>
              <a:rPr lang="en-GB" sz="2000" kern="0" dirty="0" smtClean="0">
                <a:solidFill>
                  <a:srgbClr val="000000"/>
                </a:solidFill>
                <a:ea typeface="Times New Roman"/>
                <a:cs typeface="Times New Roman"/>
              </a:rPr>
              <a:t>Relevant information for market parties from LIPs</a:t>
            </a:r>
            <a:r>
              <a:rPr lang="en-GB" sz="2000" kern="0" dirty="0" smtClean="0">
                <a:solidFill>
                  <a:srgbClr val="000000"/>
                </a:solidFill>
                <a:ea typeface="Times New Roman"/>
                <a:cs typeface="Arial"/>
              </a:rPr>
              <a:t> </a:t>
            </a:r>
            <a:r>
              <a:rPr lang="en-GB" sz="2000" dirty="0" smtClean="0">
                <a:solidFill>
                  <a:srgbClr val="000000"/>
                </a:solidFill>
                <a:ea typeface="Times New Roman"/>
              </a:rPr>
              <a:t> </a:t>
            </a:r>
          </a:p>
          <a:p>
            <a:r>
              <a:rPr lang="en-US" sz="2000" kern="0" dirty="0">
                <a:solidFill>
                  <a:srgbClr val="000000"/>
                </a:solidFill>
                <a:ea typeface="Times New Roman"/>
                <a:cs typeface="Times New Roman"/>
              </a:rPr>
              <a:t>Explicit access on French-German border </a:t>
            </a:r>
            <a:endParaRPr lang="en-US" sz="2000" kern="0" dirty="0" smtClean="0">
              <a:solidFill>
                <a:srgbClr val="000000"/>
              </a:solidFill>
              <a:ea typeface="Times New Roman"/>
              <a:cs typeface="Times New Roman"/>
            </a:endParaRPr>
          </a:p>
          <a:p>
            <a:r>
              <a:rPr lang="en-GB" sz="2000" kern="0" dirty="0" smtClean="0">
                <a:solidFill>
                  <a:schemeClr val="accent2"/>
                </a:solidFill>
                <a:ea typeface="Times New Roman"/>
                <a:cs typeface="Times New Roman"/>
              </a:rPr>
              <a:t>NRA overview</a:t>
            </a:r>
          </a:p>
          <a:p>
            <a:r>
              <a:rPr lang="en-GB" sz="2000" kern="0" dirty="0" smtClean="0">
                <a:solidFill>
                  <a:srgbClr val="000000"/>
                </a:solidFill>
                <a:ea typeface="Times New Roman"/>
                <a:cs typeface="Times New Roman"/>
              </a:rPr>
              <a:t>Deutsche </a:t>
            </a:r>
            <a:r>
              <a:rPr lang="en-GB" sz="2000" kern="0" dirty="0" err="1" smtClean="0">
                <a:solidFill>
                  <a:srgbClr val="000000"/>
                </a:solidFill>
                <a:ea typeface="Times New Roman"/>
                <a:cs typeface="Times New Roman"/>
              </a:rPr>
              <a:t>Börse</a:t>
            </a:r>
            <a:r>
              <a:rPr lang="en-GB" sz="2000" kern="0" dirty="0" smtClean="0">
                <a:solidFill>
                  <a:srgbClr val="000000"/>
                </a:solidFill>
                <a:ea typeface="Times New Roman"/>
                <a:cs typeface="Times New Roman"/>
              </a:rPr>
              <a:t>’ trading solution provider </a:t>
            </a:r>
            <a:r>
              <a:rPr lang="en-GB" sz="2000" kern="0" dirty="0" smtClean="0">
                <a:solidFill>
                  <a:srgbClr val="000000"/>
                </a:solidFill>
                <a:ea typeface="Times New Roman"/>
                <a:cs typeface="Arial"/>
              </a:rPr>
              <a:t> </a:t>
            </a:r>
            <a:endParaRPr lang="en-GB" sz="2000" kern="0" dirty="0" smtClean="0">
              <a:solidFill>
                <a:srgbClr val="000000"/>
              </a:solidFill>
              <a:ea typeface="Times New Roman"/>
              <a:cs typeface="Times New Roman"/>
            </a:endParaRPr>
          </a:p>
          <a:p>
            <a:r>
              <a:rPr lang="en-GB" sz="2000" dirty="0" smtClean="0">
                <a:solidFill>
                  <a:srgbClr val="000000"/>
                </a:solidFill>
                <a:ea typeface="Times New Roman"/>
              </a:rPr>
              <a:t>Members trial period, </a:t>
            </a:r>
            <a:r>
              <a:rPr lang="en-GB" sz="2000" dirty="0" err="1" smtClean="0">
                <a:solidFill>
                  <a:srgbClr val="000000"/>
                </a:solidFill>
                <a:ea typeface="Times New Roman"/>
              </a:rPr>
              <a:t>go-live</a:t>
            </a:r>
            <a:r>
              <a:rPr lang="en-GB" sz="2000" dirty="0" smtClean="0">
                <a:solidFill>
                  <a:srgbClr val="000000"/>
                </a:solidFill>
                <a:ea typeface="Times New Roman"/>
              </a:rPr>
              <a:t> plan and next steps for readiness</a:t>
            </a:r>
          </a:p>
          <a:p>
            <a:r>
              <a:rPr lang="en-GB" sz="2000" kern="0" dirty="0" smtClean="0">
                <a:solidFill>
                  <a:srgbClr val="000000"/>
                </a:solidFill>
                <a:ea typeface="Times New Roman"/>
                <a:cs typeface="Arial"/>
              </a:rPr>
              <a:t>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70</a:t>
            </a:fld>
            <a:endParaRPr lang="en-US" altLang="en-US" dirty="0"/>
          </a:p>
        </p:txBody>
      </p:sp>
    </p:spTree>
    <p:extLst>
      <p:ext uri="{BB962C8B-B14F-4D97-AF65-F5344CB8AC3E}">
        <p14:creationId xmlns:p14="http://schemas.microsoft.com/office/powerpoint/2010/main" val="37110625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10550" y="2585644"/>
            <a:ext cx="7981929" cy="1450988"/>
          </a:xfrm>
        </p:spPr>
        <p:txBody>
          <a:bodyPr/>
          <a:lstStyle/>
          <a:p>
            <a:pPr algn="l">
              <a:spcBef>
                <a:spcPts val="0"/>
              </a:spcBef>
              <a:spcAft>
                <a:spcPts val="0"/>
              </a:spcAft>
            </a:pPr>
            <a:r>
              <a:rPr lang="en-US" dirty="0"/>
              <a:t>XBID Pre-launch </a:t>
            </a:r>
            <a:r>
              <a:rPr lang="en-US" dirty="0" smtClean="0"/>
              <a:t>event</a:t>
            </a:r>
            <a:br>
              <a:rPr lang="en-US" dirty="0" smtClean="0"/>
            </a:br>
            <a:r>
              <a:rPr lang="en-US" dirty="0"/>
              <a:t/>
            </a:r>
            <a:br>
              <a:rPr lang="en-US" dirty="0"/>
            </a:br>
            <a:r>
              <a:rPr lang="en-US" sz="2400" dirty="0" smtClean="0">
                <a:solidFill>
                  <a:schemeClr val="accent2"/>
                </a:solidFill>
              </a:rPr>
              <a:t/>
            </a:r>
            <a:br>
              <a:rPr lang="en-US" sz="2400" dirty="0" smtClean="0">
                <a:solidFill>
                  <a:schemeClr val="accent2"/>
                </a:solidFill>
              </a:rPr>
            </a:br>
            <a:r>
              <a:rPr lang="en-GB" sz="2400" b="0" dirty="0">
                <a:solidFill>
                  <a:schemeClr val="accent2"/>
                </a:solidFill>
                <a:latin typeface="Arial"/>
                <a:ea typeface="Times New Roman"/>
                <a:cs typeface="Times New Roman"/>
              </a:rPr>
              <a:t>Johan Roupe</a:t>
            </a:r>
            <a:r>
              <a:rPr lang="de-DE" sz="2400" dirty="0">
                <a:solidFill>
                  <a:schemeClr val="accent2"/>
                </a:solidFill>
                <a:latin typeface="Arial"/>
                <a:ea typeface="Times New Roman"/>
                <a:cs typeface="Times New Roman"/>
              </a:rPr>
              <a:t/>
            </a:r>
            <a:br>
              <a:rPr lang="de-DE" sz="2400" dirty="0">
                <a:solidFill>
                  <a:schemeClr val="accent2"/>
                </a:solidFill>
                <a:latin typeface="Arial"/>
                <a:ea typeface="Times New Roman"/>
                <a:cs typeface="Times New Roman"/>
              </a:rPr>
            </a:br>
            <a:r>
              <a:rPr lang="en-GB" sz="2400" i="1" dirty="0" err="1">
                <a:solidFill>
                  <a:schemeClr val="accent2"/>
                </a:solidFill>
                <a:latin typeface="Arial"/>
                <a:ea typeface="Times New Roman"/>
              </a:rPr>
              <a:t>Energimarknadsinpektionen</a:t>
            </a:r>
            <a:r>
              <a:rPr lang="de-DE" dirty="0">
                <a:solidFill>
                  <a:srgbClr val="000000"/>
                </a:solidFill>
                <a:latin typeface="Arial"/>
                <a:ea typeface="Times New Roman"/>
              </a:rPr>
              <a:t/>
            </a:r>
            <a:br>
              <a:rPr lang="de-DE" dirty="0">
                <a:solidFill>
                  <a:srgbClr val="000000"/>
                </a:solidFill>
                <a:latin typeface="Arial"/>
                <a:ea typeface="Times New Roman"/>
              </a:rPr>
            </a:br>
            <a:endParaRPr lang="en-GB" dirty="0"/>
          </a:p>
        </p:txBody>
      </p:sp>
      <p:sp>
        <p:nvSpPr>
          <p:cNvPr id="6" name="Datumsplatzhalter 5"/>
          <p:cNvSpPr>
            <a:spLocks noGrp="1"/>
          </p:cNvSpPr>
          <p:nvPr>
            <p:ph type="dt" sz="half" idx="10"/>
          </p:nvPr>
        </p:nvSpPr>
        <p:spPr/>
        <p:txBody>
          <a:bodyPr/>
          <a:lstStyle/>
          <a:p>
            <a:r>
              <a:rPr lang="en-US" dirty="0">
                <a:solidFill>
                  <a:srgbClr val="FFFFFF"/>
                </a:solidFill>
              </a:rPr>
              <a:t>31/01/2018</a:t>
            </a:r>
          </a:p>
        </p:txBody>
      </p:sp>
    </p:spTree>
    <p:extLst>
      <p:ext uri="{BB962C8B-B14F-4D97-AF65-F5344CB8AC3E}">
        <p14:creationId xmlns:p14="http://schemas.microsoft.com/office/powerpoint/2010/main" val="23610680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 xmlns:a16="http://schemas.microsoft.com/office/drawing/2014/main" id="{31335726-B373-48CA-B589-8192A824BB32}"/>
              </a:ext>
            </a:extLst>
          </p:cNvPr>
          <p:cNvSpPr>
            <a:spLocks noGrp="1"/>
          </p:cNvSpPr>
          <p:nvPr>
            <p:ph sz="quarter" idx="10"/>
          </p:nvPr>
        </p:nvSpPr>
        <p:spPr>
          <a:xfrm>
            <a:off x="457200" y="980728"/>
            <a:ext cx="8208912" cy="1584176"/>
          </a:xfrm>
        </p:spPr>
        <p:txBody>
          <a:bodyPr/>
          <a:lstStyle/>
          <a:p>
            <a:r>
              <a:rPr lang="sv-SE" sz="2000" dirty="0" err="1"/>
              <a:t>Almost</a:t>
            </a:r>
            <a:r>
              <a:rPr lang="sv-SE" sz="2000" dirty="0"/>
              <a:t> </a:t>
            </a:r>
            <a:r>
              <a:rPr lang="sv-SE" sz="2000" dirty="0" err="1"/>
              <a:t>there</a:t>
            </a:r>
            <a:r>
              <a:rPr lang="sv-SE" sz="2000" dirty="0"/>
              <a:t>!</a:t>
            </a:r>
          </a:p>
          <a:p>
            <a:pPr marL="0" indent="0">
              <a:buNone/>
            </a:pPr>
            <a:endParaRPr lang="sv-SE" sz="2000" dirty="0"/>
          </a:p>
          <a:p>
            <a:r>
              <a:rPr lang="sv-SE" sz="2000" dirty="0"/>
              <a:t>Obligations under CACM GL</a:t>
            </a:r>
          </a:p>
        </p:txBody>
      </p:sp>
      <p:sp>
        <p:nvSpPr>
          <p:cNvPr id="3" name="Titel 2">
            <a:extLst>
              <a:ext uri="{FF2B5EF4-FFF2-40B4-BE49-F238E27FC236}">
                <a16:creationId xmlns="" xmlns:a16="http://schemas.microsoft.com/office/drawing/2014/main" id="{31D196B3-3DA0-424E-B3E8-8A7F36467EB3}"/>
              </a:ext>
            </a:extLst>
          </p:cNvPr>
          <p:cNvSpPr>
            <a:spLocks noGrp="1"/>
          </p:cNvSpPr>
          <p:nvPr>
            <p:ph type="title"/>
          </p:nvPr>
        </p:nvSpPr>
        <p:spPr/>
        <p:txBody>
          <a:bodyPr/>
          <a:lstStyle/>
          <a:p>
            <a:r>
              <a:rPr lang="en-GB" dirty="0"/>
              <a:t>XBID Pre-launch</a:t>
            </a:r>
          </a:p>
        </p:txBody>
      </p:sp>
      <p:sp>
        <p:nvSpPr>
          <p:cNvPr id="4" name="Datumsplatzhalter 3">
            <a:extLst>
              <a:ext uri="{FF2B5EF4-FFF2-40B4-BE49-F238E27FC236}">
                <a16:creationId xmlns="" xmlns:a16="http://schemas.microsoft.com/office/drawing/2014/main" id="{20E6EAE1-F044-499C-A72A-E4484ACAE367}"/>
              </a:ext>
            </a:extLst>
          </p:cNvPr>
          <p:cNvSpPr>
            <a:spLocks noGrp="1"/>
          </p:cNvSpPr>
          <p:nvPr>
            <p:ph type="dt" sz="half" idx="11"/>
          </p:nvPr>
        </p:nvSpPr>
        <p:spPr>
          <a:xfrm>
            <a:off x="77351" y="6417376"/>
            <a:ext cx="1758345" cy="396000"/>
          </a:xfrm>
        </p:spPr>
        <p:txBody>
          <a:bodyPr/>
          <a:lstStyle/>
          <a:p>
            <a:r>
              <a:rPr lang="en-US" dirty="0">
                <a:solidFill>
                  <a:srgbClr val="FFFFFF"/>
                </a:solidFill>
              </a:rPr>
              <a:t>31/01/2018</a:t>
            </a:r>
          </a:p>
        </p:txBody>
      </p:sp>
      <p:sp>
        <p:nvSpPr>
          <p:cNvPr id="6" name="Foliennummernplatzhalter 5">
            <a:extLst>
              <a:ext uri="{FF2B5EF4-FFF2-40B4-BE49-F238E27FC236}">
                <a16:creationId xmlns="" xmlns:a16="http://schemas.microsoft.com/office/drawing/2014/main" id="{AD497CFD-4EF0-47B7-ADDC-8E15D13318B2}"/>
              </a:ext>
            </a:extLst>
          </p:cNvPr>
          <p:cNvSpPr>
            <a:spLocks noGrp="1"/>
          </p:cNvSpPr>
          <p:nvPr>
            <p:ph type="sldNum" sz="quarter" idx="13"/>
          </p:nvPr>
        </p:nvSpPr>
        <p:spPr/>
        <p:txBody>
          <a:bodyPr/>
          <a:lstStyle/>
          <a:p>
            <a:fld id="{023D7A0C-2893-4A5B-9776-FCF4CE9D02B2}" type="slidenum">
              <a:rPr lang="en-US" smtClean="0">
                <a:solidFill>
                  <a:srgbClr val="FFFFFF"/>
                </a:solidFill>
              </a:rPr>
              <a:pPr/>
              <a:t>72</a:t>
            </a:fld>
            <a:endParaRPr lang="en-US" dirty="0">
              <a:solidFill>
                <a:srgbClr val="FFFFFF"/>
              </a:solidFill>
            </a:endParaRPr>
          </a:p>
        </p:txBody>
      </p:sp>
    </p:spTree>
    <p:extLst>
      <p:ext uri="{BB962C8B-B14F-4D97-AF65-F5344CB8AC3E}">
        <p14:creationId xmlns:p14="http://schemas.microsoft.com/office/powerpoint/2010/main" val="10909918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4:30-14:50</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ea typeface="Times New Roman"/>
                <a:cs typeface="Arial"/>
              </a:rPr>
              <a:t>Key note speech </a:t>
            </a:r>
            <a:endParaRPr lang="en-GB" sz="2000" kern="0" dirty="0" smtClean="0">
              <a:ea typeface="Times New Roman"/>
              <a:cs typeface="Times New Roman"/>
            </a:endParaRPr>
          </a:p>
          <a:p>
            <a:r>
              <a:rPr lang="en-GB" sz="2000" dirty="0" smtClean="0">
                <a:solidFill>
                  <a:srgbClr val="000000"/>
                </a:solidFill>
                <a:ea typeface="Times New Roman"/>
              </a:rPr>
              <a:t>Overview of XBID Project</a:t>
            </a:r>
          </a:p>
          <a:p>
            <a:r>
              <a:rPr lang="en-GB" sz="2000" dirty="0" smtClean="0">
                <a:solidFill>
                  <a:srgbClr val="000000"/>
                </a:solidFill>
                <a:ea typeface="Times New Roman"/>
              </a:rPr>
              <a:t>The XBID matching solution</a:t>
            </a:r>
          </a:p>
          <a:p>
            <a:r>
              <a:rPr lang="en-GB" sz="2000" dirty="0" smtClean="0">
                <a:solidFill>
                  <a:srgbClr val="000000"/>
                </a:solidFill>
                <a:ea typeface="Times New Roman"/>
              </a:rPr>
              <a:t>Overview of borders, market areas &amp; products</a:t>
            </a:r>
          </a:p>
          <a:p>
            <a:r>
              <a:rPr lang="en-GB" sz="2000" kern="0" dirty="0" smtClean="0">
                <a:solidFill>
                  <a:srgbClr val="000000"/>
                </a:solidFill>
                <a:ea typeface="Times New Roman"/>
                <a:cs typeface="Times New Roman"/>
              </a:rPr>
              <a:t>Relevant information for market parties from LIPs</a:t>
            </a:r>
            <a:r>
              <a:rPr lang="en-GB" sz="2000" kern="0" dirty="0" smtClean="0">
                <a:solidFill>
                  <a:srgbClr val="000000"/>
                </a:solidFill>
                <a:ea typeface="Times New Roman"/>
                <a:cs typeface="Arial"/>
              </a:rPr>
              <a:t> </a:t>
            </a:r>
            <a:r>
              <a:rPr lang="en-GB" sz="2000" dirty="0" smtClean="0">
                <a:solidFill>
                  <a:srgbClr val="000000"/>
                </a:solidFill>
                <a:ea typeface="Times New Roman"/>
              </a:rPr>
              <a:t> </a:t>
            </a:r>
          </a:p>
          <a:p>
            <a:r>
              <a:rPr lang="en-US" sz="2000" kern="0" dirty="0">
                <a:solidFill>
                  <a:srgbClr val="000000"/>
                </a:solidFill>
                <a:ea typeface="Times New Roman"/>
                <a:cs typeface="Times New Roman"/>
              </a:rPr>
              <a:t>Explicit access on French-German border </a:t>
            </a:r>
          </a:p>
          <a:p>
            <a:r>
              <a:rPr lang="en-GB" sz="2000" kern="0" dirty="0" smtClean="0">
                <a:solidFill>
                  <a:srgbClr val="000000"/>
                </a:solidFill>
                <a:ea typeface="Times New Roman"/>
                <a:cs typeface="Times New Roman"/>
              </a:rPr>
              <a:t>NRA overview</a:t>
            </a:r>
          </a:p>
          <a:p>
            <a:r>
              <a:rPr lang="en-GB" sz="2000" kern="0" dirty="0" smtClean="0">
                <a:solidFill>
                  <a:schemeClr val="accent2"/>
                </a:solidFill>
                <a:ea typeface="Times New Roman"/>
                <a:cs typeface="Times New Roman"/>
              </a:rPr>
              <a:t>Deutsche </a:t>
            </a:r>
            <a:r>
              <a:rPr lang="en-GB" sz="2000" kern="0" dirty="0" err="1" smtClean="0">
                <a:solidFill>
                  <a:schemeClr val="accent2"/>
                </a:solidFill>
                <a:ea typeface="Times New Roman"/>
                <a:cs typeface="Times New Roman"/>
              </a:rPr>
              <a:t>Börse</a:t>
            </a:r>
            <a:r>
              <a:rPr lang="en-GB" sz="2000" kern="0" dirty="0" smtClean="0">
                <a:solidFill>
                  <a:schemeClr val="accent2"/>
                </a:solidFill>
                <a:ea typeface="Times New Roman"/>
                <a:cs typeface="Times New Roman"/>
              </a:rPr>
              <a:t>’ trading solution provider </a:t>
            </a:r>
            <a:r>
              <a:rPr lang="en-GB" sz="2000" kern="0" dirty="0" smtClean="0">
                <a:solidFill>
                  <a:schemeClr val="accent2"/>
                </a:solidFill>
                <a:ea typeface="Times New Roman"/>
                <a:cs typeface="Arial"/>
              </a:rPr>
              <a:t> </a:t>
            </a:r>
            <a:endParaRPr lang="en-GB" sz="2000" kern="0" dirty="0" smtClean="0">
              <a:solidFill>
                <a:schemeClr val="accent2"/>
              </a:solidFill>
              <a:ea typeface="Times New Roman"/>
              <a:cs typeface="Times New Roman"/>
            </a:endParaRPr>
          </a:p>
          <a:p>
            <a:r>
              <a:rPr lang="en-GB" sz="2000" dirty="0" smtClean="0">
                <a:solidFill>
                  <a:srgbClr val="000000"/>
                </a:solidFill>
                <a:ea typeface="Times New Roman"/>
              </a:rPr>
              <a:t>Members trial period, </a:t>
            </a:r>
            <a:r>
              <a:rPr lang="en-GB" sz="2000" dirty="0" err="1" smtClean="0">
                <a:solidFill>
                  <a:srgbClr val="000000"/>
                </a:solidFill>
                <a:ea typeface="Times New Roman"/>
              </a:rPr>
              <a:t>go-live</a:t>
            </a:r>
            <a:r>
              <a:rPr lang="en-GB" sz="2000" dirty="0" smtClean="0">
                <a:solidFill>
                  <a:srgbClr val="000000"/>
                </a:solidFill>
                <a:ea typeface="Times New Roman"/>
              </a:rPr>
              <a:t> plan and next steps for readiness</a:t>
            </a:r>
          </a:p>
          <a:p>
            <a:r>
              <a:rPr lang="en-GB" sz="2000" kern="0" dirty="0" smtClean="0">
                <a:solidFill>
                  <a:srgbClr val="000000"/>
                </a:solidFill>
                <a:ea typeface="Times New Roman"/>
                <a:cs typeface="Arial"/>
              </a:rPr>
              <a:t>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73</a:t>
            </a:fld>
            <a:endParaRPr lang="en-US" altLang="en-US" dirty="0"/>
          </a:p>
        </p:txBody>
      </p:sp>
    </p:spTree>
    <p:extLst>
      <p:ext uri="{BB962C8B-B14F-4D97-AF65-F5344CB8AC3E}">
        <p14:creationId xmlns:p14="http://schemas.microsoft.com/office/powerpoint/2010/main" val="6369562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solidFill>
                  <a:schemeClr val="accent1"/>
                </a:solidFill>
              </a:rPr>
              <a:t>Deutsche </a:t>
            </a:r>
            <a:r>
              <a:rPr lang="en-GB" dirty="0" err="1" smtClean="0">
                <a:solidFill>
                  <a:schemeClr val="accent1"/>
                </a:solidFill>
              </a:rPr>
              <a:t>Börse</a:t>
            </a:r>
            <a:r>
              <a:rPr lang="en-GB" dirty="0" smtClean="0">
                <a:solidFill>
                  <a:schemeClr val="accent1"/>
                </a:solidFill>
              </a:rPr>
              <a:t>’ trading solution provider </a:t>
            </a:r>
            <a:endParaRPr lang="en-GB" dirty="0">
              <a:solidFill>
                <a:schemeClr val="accent1"/>
              </a:solidFill>
            </a:endParaRPr>
          </a:p>
        </p:txBody>
      </p:sp>
      <p:sp>
        <p:nvSpPr>
          <p:cNvPr id="5" name="Textplatzhalter 4"/>
          <p:cNvSpPr>
            <a:spLocks noGrp="1"/>
          </p:cNvSpPr>
          <p:nvPr>
            <p:ph type="body" sz="quarter" idx="15"/>
          </p:nvPr>
        </p:nvSpPr>
        <p:spPr>
          <a:xfrm>
            <a:off x="2255839" y="3106035"/>
            <a:ext cx="6329361" cy="315570"/>
          </a:xfrm>
        </p:spPr>
        <p:txBody>
          <a:bodyPr/>
          <a:lstStyle/>
          <a:p>
            <a:r>
              <a:rPr lang="en-GB" dirty="0" smtClean="0"/>
              <a:t>Jens Rick</a:t>
            </a:r>
          </a:p>
          <a:p>
            <a:endParaRPr lang="en-GB" dirty="0"/>
          </a:p>
        </p:txBody>
      </p:sp>
      <p:sp>
        <p:nvSpPr>
          <p:cNvPr id="6" name="Textplatzhalter 5"/>
          <p:cNvSpPr>
            <a:spLocks noGrp="1"/>
          </p:cNvSpPr>
          <p:nvPr>
            <p:ph type="body" sz="quarter" idx="16"/>
          </p:nvPr>
        </p:nvSpPr>
        <p:spPr>
          <a:xfrm>
            <a:off x="2255839" y="3492871"/>
            <a:ext cx="6329361" cy="315570"/>
          </a:xfrm>
        </p:spPr>
        <p:txBody>
          <a:bodyPr/>
          <a:lstStyle/>
          <a:p>
            <a:r>
              <a:rPr lang="en-GB" dirty="0"/>
              <a:t>Deutsche </a:t>
            </a:r>
            <a:r>
              <a:rPr lang="en-GB" dirty="0" err="1"/>
              <a:t>Börse</a:t>
            </a:r>
            <a:r>
              <a:rPr lang="en-GB" dirty="0"/>
              <a:t> Group</a:t>
            </a:r>
          </a:p>
        </p:txBody>
      </p:sp>
    </p:spTree>
    <p:extLst>
      <p:ext uri="{BB962C8B-B14F-4D97-AF65-F5344CB8AC3E}">
        <p14:creationId xmlns:p14="http://schemas.microsoft.com/office/powerpoint/2010/main" val="16835871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63772" y="3037055"/>
            <a:ext cx="8800227" cy="197463"/>
          </a:xfrm>
        </p:spPr>
        <p:txBody>
          <a:bodyPr/>
          <a:lstStyle/>
          <a:p>
            <a:r>
              <a:rPr lang="en-GB" noProof="0" dirty="0"/>
              <a:t>Brussels, 31. January 2018</a:t>
            </a:r>
          </a:p>
        </p:txBody>
      </p:sp>
      <p:sp>
        <p:nvSpPr>
          <p:cNvPr id="4" name="Title 3"/>
          <p:cNvSpPr>
            <a:spLocks noGrp="1"/>
          </p:cNvSpPr>
          <p:nvPr>
            <p:ph type="ctrTitle"/>
          </p:nvPr>
        </p:nvSpPr>
        <p:spPr/>
        <p:txBody>
          <a:bodyPr/>
          <a:lstStyle/>
          <a:p>
            <a:r>
              <a:rPr lang="en-GB" noProof="0" dirty="0" smtClean="0"/>
              <a:t>Deutsche Börse Group</a:t>
            </a:r>
            <a:br>
              <a:rPr lang="en-GB" noProof="0" dirty="0" smtClean="0"/>
            </a:br>
            <a:endParaRPr lang="en-GB" noProof="0" dirty="0"/>
          </a:p>
        </p:txBody>
      </p:sp>
      <p:sp>
        <p:nvSpPr>
          <p:cNvPr id="5" name="Subtitle 4"/>
          <p:cNvSpPr>
            <a:spLocks noGrp="1"/>
          </p:cNvSpPr>
          <p:nvPr>
            <p:ph type="subTitle" idx="1"/>
          </p:nvPr>
        </p:nvSpPr>
        <p:spPr>
          <a:xfrm>
            <a:off x="323529" y="2140526"/>
            <a:ext cx="8640472" cy="896529"/>
          </a:xfrm>
        </p:spPr>
        <p:txBody>
          <a:bodyPr/>
          <a:lstStyle/>
          <a:p>
            <a:r>
              <a:rPr lang="en-GB" noProof="0" dirty="0" smtClean="0"/>
              <a:t>XBID </a:t>
            </a:r>
            <a:r>
              <a:rPr lang="en-GB" noProof="0" dirty="0"/>
              <a:t>Pre-Launch Event</a:t>
            </a:r>
          </a:p>
        </p:txBody>
      </p:sp>
    </p:spTree>
    <p:extLst>
      <p:ext uri="{BB962C8B-B14F-4D97-AF65-F5344CB8AC3E}">
        <p14:creationId xmlns:p14="http://schemas.microsoft.com/office/powerpoint/2010/main" val="367506930"/>
      </p:ext>
    </p:extLst>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9999" y="180254"/>
            <a:ext cx="8784613" cy="6492418"/>
          </a:xfrm>
          <a:prstGeom prst="rect">
            <a:avLst/>
          </a:prstGeom>
        </p:spPr>
      </p:pic>
      <p:sp>
        <p:nvSpPr>
          <p:cNvPr id="10" name="Rectangle 9"/>
          <p:cNvSpPr/>
          <p:nvPr/>
        </p:nvSpPr>
        <p:spPr bwMode="gray">
          <a:xfrm>
            <a:off x="180000" y="105798"/>
            <a:ext cx="4187960" cy="6566874"/>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GB" dirty="0">
              <a:solidFill>
                <a:srgbClr val="FFFFFF"/>
              </a:solidFill>
              <a:latin typeface="Arial" pitchFamily="34" charset="0"/>
            </a:endParaRPr>
          </a:p>
        </p:txBody>
      </p:sp>
      <p:sp>
        <p:nvSpPr>
          <p:cNvPr id="8" name="Content Placeholder 2"/>
          <p:cNvSpPr txBox="1">
            <a:spLocks/>
          </p:cNvSpPr>
          <p:nvPr/>
        </p:nvSpPr>
        <p:spPr bwMode="gray">
          <a:xfrm>
            <a:off x="179513" y="2265217"/>
            <a:ext cx="4143105" cy="2878283"/>
          </a:xfrm>
          <a:prstGeom prst="rect">
            <a:avLst/>
          </a:prstGeom>
        </p:spPr>
        <p:txBody>
          <a:bodyPr vert="horz" lIns="252000" tIns="45720" rIns="91440" bIns="45720" rtlCol="0" anchor="t" anchorCtr="0">
            <a:normAutofit lnSpcReduction="10000"/>
          </a:bodyPr>
          <a:lstStyle>
            <a:lvl1pPr marL="0" indent="0" algn="l" defTabSz="914400" rtl="0" eaLnBrk="1" latinLnBrk="0" hangingPunct="1">
              <a:spcBef>
                <a:spcPts val="0"/>
              </a:spcBef>
              <a:spcAft>
                <a:spcPts val="600"/>
              </a:spcAft>
              <a:buFont typeface="Arial" pitchFamily="34" charset="0"/>
              <a:buNone/>
              <a:defRPr lang="en-GB" sz="2800" kern="1200">
                <a:solidFill>
                  <a:srgbClr val="999999"/>
                </a:solidFill>
                <a:latin typeface="Arial" pitchFamily="34" charset="0"/>
                <a:ea typeface="+mj-ea"/>
                <a:cs typeface="+mj-cs"/>
              </a:defRPr>
            </a:lvl1pPr>
            <a:lvl2pPr marL="180000" indent="-180000" algn="l" defTabSz="914400" rtl="0" eaLnBrk="1" latinLnBrk="0" hangingPunct="1">
              <a:spcBef>
                <a:spcPts val="0"/>
              </a:spcBef>
              <a:spcAft>
                <a:spcPts val="600"/>
              </a:spcAft>
              <a:buSzPct val="100000"/>
              <a:buFont typeface="Wingdings" pitchFamily="2" charset="2"/>
              <a:buChar char="§"/>
              <a:defRPr sz="1600" kern="1200">
                <a:solidFill>
                  <a:schemeClr val="tx1"/>
                </a:solidFill>
                <a:latin typeface="Arial" pitchFamily="34" charset="0"/>
                <a:ea typeface="+mn-ea"/>
                <a:cs typeface="+mn-cs"/>
              </a:defRPr>
            </a:lvl2pPr>
            <a:lvl3pPr marL="360000" indent="-180000" algn="l" defTabSz="914400" rtl="0" eaLnBrk="1" latinLnBrk="0" hangingPunct="1">
              <a:spcBef>
                <a:spcPts val="0"/>
              </a:spcBef>
              <a:spcAft>
                <a:spcPts val="600"/>
              </a:spcAft>
              <a:buSzPct val="80000"/>
              <a:buFont typeface="Wingdings" pitchFamily="2" charset="2"/>
              <a:buChar char="§"/>
              <a:defRPr sz="1600" kern="1200">
                <a:solidFill>
                  <a:schemeClr val="tx1"/>
                </a:solidFill>
                <a:latin typeface="Arial" pitchFamily="34" charset="0"/>
                <a:ea typeface="+mn-ea"/>
                <a:cs typeface="+mn-cs"/>
              </a:defRPr>
            </a:lvl3pPr>
            <a:lvl4pPr marL="540000" indent="-180000" algn="l" defTabSz="914400" rtl="0" eaLnBrk="1" latinLnBrk="0" hangingPunct="1">
              <a:spcBef>
                <a:spcPts val="0"/>
              </a:spcBef>
              <a:spcAft>
                <a:spcPts val="600"/>
              </a:spcAft>
              <a:buFont typeface="Arial" pitchFamily="34" charset="0"/>
              <a:buChar char="–"/>
              <a:defRPr sz="1600" kern="1200">
                <a:solidFill>
                  <a:schemeClr val="tx1"/>
                </a:solidFill>
                <a:latin typeface="Arial"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fontAlgn="auto">
              <a:buFont typeface="Arial" pitchFamily="34" charset="0"/>
              <a:buChar char="•"/>
            </a:pPr>
            <a:r>
              <a:rPr altLang="en-US" sz="1800" dirty="0" smtClean="0">
                <a:solidFill>
                  <a:srgbClr val="000099"/>
                </a:solidFill>
              </a:rPr>
              <a:t>Admission of securities</a:t>
            </a:r>
          </a:p>
          <a:p>
            <a:pPr marL="285750" indent="-285750" fontAlgn="auto">
              <a:buFont typeface="Arial" pitchFamily="34" charset="0"/>
              <a:buChar char="•"/>
            </a:pPr>
            <a:r>
              <a:rPr altLang="en-US" sz="1800" dirty="0" smtClean="0">
                <a:solidFill>
                  <a:srgbClr val="000099"/>
                </a:solidFill>
              </a:rPr>
              <a:t>Trading</a:t>
            </a:r>
          </a:p>
          <a:p>
            <a:pPr marL="285750" indent="-285750" fontAlgn="auto">
              <a:buFont typeface="Arial" pitchFamily="34" charset="0"/>
              <a:buChar char="•"/>
            </a:pPr>
            <a:r>
              <a:rPr altLang="en-US" sz="1800" dirty="0" smtClean="0">
                <a:solidFill>
                  <a:srgbClr val="000099"/>
                </a:solidFill>
              </a:rPr>
              <a:t>Clearing and settlement</a:t>
            </a:r>
          </a:p>
          <a:p>
            <a:pPr marL="285750" indent="-285750" fontAlgn="auto">
              <a:buFont typeface="Arial" pitchFamily="34" charset="0"/>
              <a:buChar char="•"/>
            </a:pPr>
            <a:r>
              <a:rPr altLang="en-US" sz="1800" dirty="0" smtClean="0">
                <a:solidFill>
                  <a:srgbClr val="000099"/>
                </a:solidFill>
              </a:rPr>
              <a:t>Custody services of securities</a:t>
            </a:r>
          </a:p>
          <a:p>
            <a:pPr marL="285750" indent="-285750" fontAlgn="auto">
              <a:buFont typeface="Arial" pitchFamily="34" charset="0"/>
              <a:buChar char="•"/>
            </a:pPr>
            <a:r>
              <a:rPr altLang="en-US" sz="1800" dirty="0" smtClean="0">
                <a:solidFill>
                  <a:srgbClr val="000099"/>
                </a:solidFill>
              </a:rPr>
              <a:t>Collateral and liquidity management</a:t>
            </a:r>
          </a:p>
          <a:p>
            <a:pPr marL="285750" indent="-285750" fontAlgn="auto">
              <a:buFont typeface="Arial" pitchFamily="34" charset="0"/>
              <a:buChar char="•"/>
            </a:pPr>
            <a:r>
              <a:rPr altLang="en-US" sz="1800" dirty="0" smtClean="0">
                <a:solidFill>
                  <a:srgbClr val="000099"/>
                </a:solidFill>
              </a:rPr>
              <a:t>Regulatory services</a:t>
            </a:r>
          </a:p>
          <a:p>
            <a:pPr marL="285750" indent="-285750" fontAlgn="auto">
              <a:buFont typeface="Arial" pitchFamily="34" charset="0"/>
              <a:buChar char="•"/>
            </a:pPr>
            <a:r>
              <a:rPr altLang="en-US" sz="1800" dirty="0" smtClean="0">
                <a:solidFill>
                  <a:srgbClr val="000099"/>
                </a:solidFill>
              </a:rPr>
              <a:t>Indices and market data</a:t>
            </a:r>
          </a:p>
          <a:p>
            <a:pPr marL="285750" indent="-285750" fontAlgn="auto">
              <a:buFont typeface="Arial" pitchFamily="34" charset="0"/>
              <a:buChar char="•"/>
            </a:pPr>
            <a:r>
              <a:rPr altLang="en-US" sz="1800" dirty="0">
                <a:solidFill>
                  <a:srgbClr val="000099"/>
                </a:solidFill>
              </a:rPr>
              <a:t>IT </a:t>
            </a:r>
            <a:r>
              <a:rPr altLang="en-US" sz="1800" dirty="0" smtClean="0">
                <a:solidFill>
                  <a:srgbClr val="000099"/>
                </a:solidFill>
              </a:rPr>
              <a:t>services</a:t>
            </a:r>
          </a:p>
        </p:txBody>
      </p:sp>
      <p:sp>
        <p:nvSpPr>
          <p:cNvPr id="11" name="Title 1"/>
          <p:cNvSpPr txBox="1">
            <a:spLocks/>
          </p:cNvSpPr>
          <p:nvPr/>
        </p:nvSpPr>
        <p:spPr>
          <a:xfrm>
            <a:off x="180000" y="542345"/>
            <a:ext cx="4142618" cy="1254416"/>
          </a:xfrm>
          <a:prstGeom prst="rect">
            <a:avLst/>
          </a:prstGeom>
        </p:spPr>
        <p:txBody>
          <a:bodyPr>
            <a:normAutofit lnSpcReduction="10000"/>
          </a:bodyPr>
          <a:lstStyle>
            <a:lvl1pPr algn="l" defTabSz="914400" rtl="0" eaLnBrk="1" latinLnBrk="0" hangingPunct="1">
              <a:spcBef>
                <a:spcPct val="0"/>
              </a:spcBef>
              <a:buNone/>
              <a:defRPr sz="2400" kern="1200">
                <a:solidFill>
                  <a:schemeClr val="tx2"/>
                </a:solidFill>
                <a:latin typeface="Arial" pitchFamily="34" charset="0"/>
                <a:ea typeface="+mj-ea"/>
                <a:cs typeface="+mj-cs"/>
              </a:defRPr>
            </a:lvl1pPr>
          </a:lstStyle>
          <a:p>
            <a:pPr fontAlgn="auto">
              <a:spcAft>
                <a:spcPts val="0"/>
              </a:spcAft>
            </a:pPr>
            <a:r>
              <a:rPr lang="en-US" sz="2800" dirty="0" smtClean="0">
                <a:solidFill>
                  <a:srgbClr val="000099"/>
                </a:solidFill>
                <a:cs typeface="Arial" panose="020B0604020202020204" pitchFamily="34" charset="0"/>
              </a:rPr>
              <a:t>Deutsche Boerse Group</a:t>
            </a:r>
          </a:p>
          <a:p>
            <a:pPr fontAlgn="auto">
              <a:spcAft>
                <a:spcPts val="0"/>
              </a:spcAft>
            </a:pPr>
            <a:r>
              <a:rPr lang="en-US" sz="2800" dirty="0" smtClean="0">
                <a:solidFill>
                  <a:srgbClr val="000099"/>
                </a:solidFill>
                <a:cs typeface="Arial" panose="020B0604020202020204" pitchFamily="34" charset="0"/>
              </a:rPr>
              <a:t>- Facts</a:t>
            </a:r>
            <a:br>
              <a:rPr lang="en-US" sz="2800" dirty="0" smtClean="0">
                <a:solidFill>
                  <a:srgbClr val="000099"/>
                </a:solidFill>
                <a:cs typeface="Arial" panose="020B0604020202020204" pitchFamily="34" charset="0"/>
              </a:rPr>
            </a:br>
            <a:endParaRPr lang="en-US" sz="2800" b="1" dirty="0">
              <a:solidFill>
                <a:prstClr val="black"/>
              </a:solidFill>
              <a:cs typeface="Arial" panose="020B0604020202020204" pitchFamily="34" charset="0"/>
            </a:endParaRPr>
          </a:p>
        </p:txBody>
      </p:sp>
    </p:spTree>
    <p:extLst>
      <p:ext uri="{BB962C8B-B14F-4D97-AF65-F5344CB8AC3E}">
        <p14:creationId xmlns:p14="http://schemas.microsoft.com/office/powerpoint/2010/main" val="148267398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800" y="177800"/>
            <a:ext cx="8788400" cy="6502400"/>
          </a:xfrm>
          <a:prstGeom prst="rect">
            <a:avLst/>
          </a:prstGeom>
        </p:spPr>
      </p:pic>
      <p:sp>
        <p:nvSpPr>
          <p:cNvPr id="10" name="Rectangle 9"/>
          <p:cNvSpPr/>
          <p:nvPr/>
        </p:nvSpPr>
        <p:spPr bwMode="gray">
          <a:xfrm>
            <a:off x="180000" y="105798"/>
            <a:ext cx="4187960" cy="6566874"/>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GB" dirty="0">
              <a:solidFill>
                <a:srgbClr val="FFFFFF"/>
              </a:solidFill>
              <a:latin typeface="Arial" pitchFamily="34" charset="0"/>
            </a:endParaRPr>
          </a:p>
        </p:txBody>
      </p:sp>
      <p:sp>
        <p:nvSpPr>
          <p:cNvPr id="8" name="Content Placeholder 2"/>
          <p:cNvSpPr txBox="1">
            <a:spLocks/>
          </p:cNvSpPr>
          <p:nvPr/>
        </p:nvSpPr>
        <p:spPr bwMode="gray">
          <a:xfrm>
            <a:off x="179513" y="2265217"/>
            <a:ext cx="4143105" cy="4166756"/>
          </a:xfrm>
          <a:prstGeom prst="rect">
            <a:avLst/>
          </a:prstGeom>
        </p:spPr>
        <p:txBody>
          <a:bodyPr vert="horz" lIns="252000" tIns="45720" rIns="91440" bIns="45720" rtlCol="0" anchor="t" anchorCtr="0">
            <a:noAutofit/>
          </a:bodyPr>
          <a:lstStyle>
            <a:lvl1pPr marL="0" indent="0" algn="l" defTabSz="914400" rtl="0" eaLnBrk="1" latinLnBrk="0" hangingPunct="1">
              <a:spcBef>
                <a:spcPts val="0"/>
              </a:spcBef>
              <a:spcAft>
                <a:spcPts val="600"/>
              </a:spcAft>
              <a:buFont typeface="Arial" pitchFamily="34" charset="0"/>
              <a:buNone/>
              <a:defRPr lang="en-GB" sz="2800" kern="1200">
                <a:solidFill>
                  <a:srgbClr val="999999"/>
                </a:solidFill>
                <a:latin typeface="Arial" pitchFamily="34" charset="0"/>
                <a:ea typeface="+mj-ea"/>
                <a:cs typeface="+mj-cs"/>
              </a:defRPr>
            </a:lvl1pPr>
            <a:lvl2pPr marL="180000" indent="-180000" algn="l" defTabSz="914400" rtl="0" eaLnBrk="1" latinLnBrk="0" hangingPunct="1">
              <a:spcBef>
                <a:spcPts val="0"/>
              </a:spcBef>
              <a:spcAft>
                <a:spcPts val="600"/>
              </a:spcAft>
              <a:buSzPct val="100000"/>
              <a:buFont typeface="Wingdings" pitchFamily="2" charset="2"/>
              <a:buChar char="§"/>
              <a:defRPr sz="1600" kern="1200">
                <a:solidFill>
                  <a:schemeClr val="tx1"/>
                </a:solidFill>
                <a:latin typeface="Arial" pitchFamily="34" charset="0"/>
                <a:ea typeface="+mn-ea"/>
                <a:cs typeface="+mn-cs"/>
              </a:defRPr>
            </a:lvl2pPr>
            <a:lvl3pPr marL="360000" indent="-180000" algn="l" defTabSz="914400" rtl="0" eaLnBrk="1" latinLnBrk="0" hangingPunct="1">
              <a:spcBef>
                <a:spcPts val="0"/>
              </a:spcBef>
              <a:spcAft>
                <a:spcPts val="600"/>
              </a:spcAft>
              <a:buSzPct val="80000"/>
              <a:buFont typeface="Wingdings" pitchFamily="2" charset="2"/>
              <a:buChar char="§"/>
              <a:defRPr sz="1600" kern="1200">
                <a:solidFill>
                  <a:schemeClr val="tx1"/>
                </a:solidFill>
                <a:latin typeface="Arial" pitchFamily="34" charset="0"/>
                <a:ea typeface="+mn-ea"/>
                <a:cs typeface="+mn-cs"/>
              </a:defRPr>
            </a:lvl3pPr>
            <a:lvl4pPr marL="540000" indent="-180000" algn="l" defTabSz="914400" rtl="0" eaLnBrk="1" latinLnBrk="0" hangingPunct="1">
              <a:spcBef>
                <a:spcPts val="0"/>
              </a:spcBef>
              <a:spcAft>
                <a:spcPts val="600"/>
              </a:spcAft>
              <a:buFont typeface="Arial" pitchFamily="34" charset="0"/>
              <a:buChar char="–"/>
              <a:defRPr sz="1600" kern="1200">
                <a:solidFill>
                  <a:schemeClr val="tx1"/>
                </a:solidFill>
                <a:latin typeface="Arial"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fontAlgn="auto">
              <a:buFont typeface="Arial" pitchFamily="34" charset="0"/>
              <a:buChar char="•"/>
            </a:pPr>
            <a:r>
              <a:rPr altLang="en-US" sz="1800" dirty="0" smtClean="0">
                <a:solidFill>
                  <a:srgbClr val="000099"/>
                </a:solidFill>
              </a:rPr>
              <a:t>Worldwide, more than 30 markets are currently operated using Deutsche Börse Group technology</a:t>
            </a:r>
          </a:p>
          <a:p>
            <a:pPr marL="285750" indent="-285750" fontAlgn="auto">
              <a:buFont typeface="Arial" pitchFamily="34" charset="0"/>
              <a:buChar char="•"/>
            </a:pPr>
            <a:r>
              <a:rPr altLang="en-US" sz="1800" dirty="0" smtClean="0">
                <a:solidFill>
                  <a:srgbClr val="000099"/>
                </a:solidFill>
              </a:rPr>
              <a:t>Energy Section combines dedicated business, process and technology know-how on Energy Markets</a:t>
            </a:r>
          </a:p>
          <a:p>
            <a:pPr marL="285750" indent="-285750" fontAlgn="auto">
              <a:buFont typeface="Arial" pitchFamily="34" charset="0"/>
              <a:buChar char="•"/>
            </a:pPr>
            <a:r>
              <a:rPr altLang="en-US" sz="1800" dirty="0" smtClean="0">
                <a:solidFill>
                  <a:srgbClr val="000099"/>
                </a:solidFill>
              </a:rPr>
              <a:t>Designs, implements and operates Integrated Power Market solutions</a:t>
            </a:r>
          </a:p>
          <a:p>
            <a:pPr marL="285750" indent="-285750" fontAlgn="auto">
              <a:buFont typeface="Arial" pitchFamily="34" charset="0"/>
              <a:buChar char="•"/>
            </a:pPr>
            <a:r>
              <a:rPr altLang="en-US" sz="1800" dirty="0" smtClean="0">
                <a:solidFill>
                  <a:srgbClr val="000099"/>
                </a:solidFill>
              </a:rPr>
              <a:t>Lends all its expertise and commitment to maintaining and operating XBID</a:t>
            </a:r>
          </a:p>
        </p:txBody>
      </p:sp>
      <p:sp>
        <p:nvSpPr>
          <p:cNvPr id="11" name="Title 1"/>
          <p:cNvSpPr txBox="1">
            <a:spLocks/>
          </p:cNvSpPr>
          <p:nvPr/>
        </p:nvSpPr>
        <p:spPr>
          <a:xfrm>
            <a:off x="180000" y="542345"/>
            <a:ext cx="4142618" cy="1254416"/>
          </a:xfrm>
          <a:prstGeom prst="rect">
            <a:avLst/>
          </a:prstGeom>
        </p:spPr>
        <p:txBody>
          <a:bodyPr>
            <a:normAutofit lnSpcReduction="10000"/>
          </a:bodyPr>
          <a:lstStyle>
            <a:lvl1pPr algn="l" defTabSz="914400" rtl="0" eaLnBrk="1" latinLnBrk="0" hangingPunct="1">
              <a:spcBef>
                <a:spcPct val="0"/>
              </a:spcBef>
              <a:buNone/>
              <a:defRPr sz="2400" kern="1200">
                <a:solidFill>
                  <a:schemeClr val="tx2"/>
                </a:solidFill>
                <a:latin typeface="Arial" pitchFamily="34" charset="0"/>
                <a:ea typeface="+mj-ea"/>
                <a:cs typeface="+mj-cs"/>
              </a:defRPr>
            </a:lvl1pPr>
          </a:lstStyle>
          <a:p>
            <a:pPr fontAlgn="auto">
              <a:spcAft>
                <a:spcPts val="0"/>
              </a:spcAft>
            </a:pPr>
            <a:r>
              <a:rPr lang="en-GB" sz="2800" dirty="0">
                <a:solidFill>
                  <a:srgbClr val="000099"/>
                </a:solidFill>
                <a:cs typeface="Arial" panose="020B0604020202020204" pitchFamily="34" charset="0"/>
              </a:rPr>
              <a:t>Deutsche Boerse Group </a:t>
            </a:r>
            <a:r>
              <a:rPr lang="en-GB" sz="2800" dirty="0" smtClean="0">
                <a:solidFill>
                  <a:srgbClr val="000099"/>
                </a:solidFill>
                <a:cs typeface="Arial" panose="020B0604020202020204" pitchFamily="34" charset="0"/>
              </a:rPr>
              <a:t>- A </a:t>
            </a:r>
            <a:r>
              <a:rPr lang="en-GB" sz="2800" dirty="0">
                <a:solidFill>
                  <a:srgbClr val="000099"/>
                </a:solidFill>
                <a:cs typeface="Arial" panose="020B0604020202020204" pitchFamily="34" charset="0"/>
              </a:rPr>
              <a:t>Leading Market Infrastructure Provider</a:t>
            </a:r>
          </a:p>
        </p:txBody>
      </p:sp>
    </p:spTree>
    <p:extLst>
      <p:ext uri="{BB962C8B-B14F-4D97-AF65-F5344CB8AC3E}">
        <p14:creationId xmlns:p14="http://schemas.microsoft.com/office/powerpoint/2010/main" val="254234992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800" y="177800"/>
            <a:ext cx="8793600" cy="6502400"/>
          </a:xfrm>
          <a:prstGeom prst="rect">
            <a:avLst/>
          </a:prstGeom>
        </p:spPr>
      </p:pic>
      <p:sp>
        <p:nvSpPr>
          <p:cNvPr id="10" name="Rectangle 9"/>
          <p:cNvSpPr/>
          <p:nvPr/>
        </p:nvSpPr>
        <p:spPr bwMode="gray">
          <a:xfrm>
            <a:off x="180000" y="105798"/>
            <a:ext cx="4187960" cy="6566874"/>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GB" dirty="0">
              <a:solidFill>
                <a:srgbClr val="FFFFFF"/>
              </a:solidFill>
              <a:latin typeface="Arial" pitchFamily="34" charset="0"/>
            </a:endParaRPr>
          </a:p>
        </p:txBody>
      </p:sp>
      <p:sp>
        <p:nvSpPr>
          <p:cNvPr id="8" name="Content Placeholder 2"/>
          <p:cNvSpPr txBox="1">
            <a:spLocks/>
          </p:cNvSpPr>
          <p:nvPr/>
        </p:nvSpPr>
        <p:spPr bwMode="gray">
          <a:xfrm>
            <a:off x="172600" y="1674833"/>
            <a:ext cx="4143105" cy="3346739"/>
          </a:xfrm>
          <a:prstGeom prst="rect">
            <a:avLst/>
          </a:prstGeom>
        </p:spPr>
        <p:txBody>
          <a:bodyPr vert="horz" lIns="252000" tIns="45720" rIns="91440" bIns="45720" rtlCol="0" anchor="t" anchorCtr="0">
            <a:noAutofit/>
          </a:bodyPr>
          <a:lstStyle>
            <a:lvl1pPr marL="0" indent="0" algn="l" defTabSz="914400" rtl="0" eaLnBrk="1" latinLnBrk="0" hangingPunct="1">
              <a:spcBef>
                <a:spcPts val="0"/>
              </a:spcBef>
              <a:spcAft>
                <a:spcPts val="600"/>
              </a:spcAft>
              <a:buFont typeface="Arial" pitchFamily="34" charset="0"/>
              <a:buNone/>
              <a:defRPr lang="en-GB" sz="2800" kern="1200">
                <a:solidFill>
                  <a:srgbClr val="999999"/>
                </a:solidFill>
                <a:latin typeface="Arial" pitchFamily="34" charset="0"/>
                <a:ea typeface="+mj-ea"/>
                <a:cs typeface="+mj-cs"/>
              </a:defRPr>
            </a:lvl1pPr>
            <a:lvl2pPr marL="180000" indent="-180000" algn="l" defTabSz="914400" rtl="0" eaLnBrk="1" latinLnBrk="0" hangingPunct="1">
              <a:spcBef>
                <a:spcPts val="0"/>
              </a:spcBef>
              <a:spcAft>
                <a:spcPts val="600"/>
              </a:spcAft>
              <a:buSzPct val="100000"/>
              <a:buFont typeface="Wingdings" pitchFamily="2" charset="2"/>
              <a:buChar char="§"/>
              <a:defRPr sz="1600" kern="1200">
                <a:solidFill>
                  <a:schemeClr val="tx1"/>
                </a:solidFill>
                <a:latin typeface="Arial" pitchFamily="34" charset="0"/>
                <a:ea typeface="+mn-ea"/>
                <a:cs typeface="+mn-cs"/>
              </a:defRPr>
            </a:lvl2pPr>
            <a:lvl3pPr marL="360000" indent="-180000" algn="l" defTabSz="914400" rtl="0" eaLnBrk="1" latinLnBrk="0" hangingPunct="1">
              <a:spcBef>
                <a:spcPts val="0"/>
              </a:spcBef>
              <a:spcAft>
                <a:spcPts val="600"/>
              </a:spcAft>
              <a:buSzPct val="80000"/>
              <a:buFont typeface="Wingdings" pitchFamily="2" charset="2"/>
              <a:buChar char="§"/>
              <a:defRPr sz="1600" kern="1200">
                <a:solidFill>
                  <a:schemeClr val="tx1"/>
                </a:solidFill>
                <a:latin typeface="Arial" pitchFamily="34" charset="0"/>
                <a:ea typeface="+mn-ea"/>
                <a:cs typeface="+mn-cs"/>
              </a:defRPr>
            </a:lvl3pPr>
            <a:lvl4pPr marL="540000" indent="-180000" algn="l" defTabSz="914400" rtl="0" eaLnBrk="1" latinLnBrk="0" hangingPunct="1">
              <a:spcBef>
                <a:spcPts val="0"/>
              </a:spcBef>
              <a:spcAft>
                <a:spcPts val="600"/>
              </a:spcAft>
              <a:buFont typeface="Arial" pitchFamily="34" charset="0"/>
              <a:buChar char="–"/>
              <a:defRPr sz="1600" kern="1200">
                <a:solidFill>
                  <a:schemeClr val="tx1"/>
                </a:solidFill>
                <a:latin typeface="Arial"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fontAlgn="auto">
              <a:buFont typeface="Arial" pitchFamily="34" charset="0"/>
              <a:buChar char="•"/>
            </a:pPr>
            <a:r>
              <a:rPr altLang="en-US" sz="1800" dirty="0" smtClean="0">
                <a:solidFill>
                  <a:srgbClr val="000099"/>
                </a:solidFill>
              </a:rPr>
              <a:t>Selected XBID technology provider</a:t>
            </a:r>
          </a:p>
          <a:p>
            <a:pPr marL="285750" indent="-285750" fontAlgn="auto">
              <a:buFont typeface="Arial" pitchFamily="34" charset="0"/>
              <a:buChar char="•"/>
            </a:pPr>
            <a:r>
              <a:rPr altLang="en-US" sz="1800" dirty="0" smtClean="0">
                <a:solidFill>
                  <a:srgbClr val="000099"/>
                </a:solidFill>
              </a:rPr>
              <a:t>DBAG, together with the XBID Project Parties, has been working hard to make XBID a reality</a:t>
            </a:r>
          </a:p>
          <a:p>
            <a:pPr marL="285750" indent="-285750" fontAlgn="auto">
              <a:buFont typeface="Arial" pitchFamily="34" charset="0"/>
              <a:buChar char="•"/>
            </a:pPr>
            <a:r>
              <a:rPr altLang="en-US" sz="1800" dirty="0" smtClean="0">
                <a:solidFill>
                  <a:srgbClr val="000099"/>
                </a:solidFill>
              </a:rPr>
              <a:t>A challenging, dynamic and unique project has required exceptional efforts and investments</a:t>
            </a:r>
          </a:p>
          <a:p>
            <a:pPr marL="285750" indent="-285750" fontAlgn="auto">
              <a:buFont typeface="Arial" pitchFamily="34" charset="0"/>
              <a:buChar char="•"/>
            </a:pPr>
            <a:r>
              <a:rPr altLang="en-US" sz="1800" dirty="0" smtClean="0">
                <a:solidFill>
                  <a:srgbClr val="000099"/>
                </a:solidFill>
              </a:rPr>
              <a:t>DBAG is committed to continued support of the XBID initiative</a:t>
            </a:r>
            <a:endParaRPr altLang="en-US" sz="1800" dirty="0">
              <a:solidFill>
                <a:srgbClr val="000099"/>
              </a:solidFill>
            </a:endParaRPr>
          </a:p>
        </p:txBody>
      </p:sp>
      <p:sp>
        <p:nvSpPr>
          <p:cNvPr id="11" name="Title 1"/>
          <p:cNvSpPr txBox="1">
            <a:spLocks/>
          </p:cNvSpPr>
          <p:nvPr/>
        </p:nvSpPr>
        <p:spPr>
          <a:xfrm>
            <a:off x="180000" y="542345"/>
            <a:ext cx="4142618" cy="1254416"/>
          </a:xfrm>
          <a:prstGeom prst="rect">
            <a:avLst/>
          </a:prstGeom>
        </p:spPr>
        <p:txBody>
          <a:bodyPr>
            <a:normAutofit/>
          </a:bodyPr>
          <a:lstStyle>
            <a:lvl1pPr algn="l" defTabSz="914400" rtl="0" eaLnBrk="1" latinLnBrk="0" hangingPunct="1">
              <a:spcBef>
                <a:spcPct val="0"/>
              </a:spcBef>
              <a:buNone/>
              <a:defRPr sz="2400" kern="1200">
                <a:solidFill>
                  <a:schemeClr val="tx2"/>
                </a:solidFill>
                <a:latin typeface="Arial" pitchFamily="34" charset="0"/>
                <a:ea typeface="+mj-ea"/>
                <a:cs typeface="+mj-cs"/>
              </a:defRPr>
            </a:lvl1pPr>
          </a:lstStyle>
          <a:p>
            <a:pPr fontAlgn="auto">
              <a:spcAft>
                <a:spcPts val="0"/>
              </a:spcAft>
            </a:pPr>
            <a:r>
              <a:rPr lang="en-GB" sz="2800" dirty="0" smtClean="0">
                <a:solidFill>
                  <a:srgbClr val="000099"/>
                </a:solidFill>
                <a:cs typeface="Arial" panose="020B0604020202020204" pitchFamily="34" charset="0"/>
              </a:rPr>
              <a:t>DBAG and XBID</a:t>
            </a:r>
            <a:endParaRPr lang="en-GB" sz="2800" dirty="0">
              <a:solidFill>
                <a:srgbClr val="000099"/>
              </a:solidFill>
              <a:cs typeface="Arial" panose="020B0604020202020204" pitchFamily="34" charset="0"/>
            </a:endParaRPr>
          </a:p>
        </p:txBody>
      </p:sp>
      <p:pic>
        <p:nvPicPr>
          <p:cNvPr id="2" name="Picture 1"/>
          <p:cNvPicPr>
            <a:picLocks noChangeAspect="1"/>
          </p:cNvPicPr>
          <p:nvPr/>
        </p:nvPicPr>
        <p:blipFill>
          <a:blip r:embed="rId4"/>
          <a:stretch>
            <a:fillRect/>
          </a:stretch>
        </p:blipFill>
        <p:spPr>
          <a:xfrm>
            <a:off x="177800" y="5268191"/>
            <a:ext cx="8788400" cy="1573558"/>
          </a:xfrm>
          <a:prstGeom prst="rect">
            <a:avLst/>
          </a:prstGeom>
        </p:spPr>
      </p:pic>
    </p:spTree>
    <p:extLst>
      <p:ext uri="{BB962C8B-B14F-4D97-AF65-F5344CB8AC3E}">
        <p14:creationId xmlns:p14="http://schemas.microsoft.com/office/powerpoint/2010/main" val="49844335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5418235" y="3546267"/>
            <a:ext cx="3545764" cy="2965371"/>
          </a:xfrm>
          <a:prstGeom prst="rect">
            <a:avLst/>
          </a:prstGeom>
          <a:ln w="38100"/>
        </p:spPr>
        <p:style>
          <a:lnRef idx="2">
            <a:schemeClr val="accent1"/>
          </a:lnRef>
          <a:fillRef idx="1">
            <a:schemeClr val="lt1"/>
          </a:fillRef>
          <a:effectRef idx="0">
            <a:schemeClr val="accent1"/>
          </a:effectRef>
          <a:fontRef idx="minor">
            <a:schemeClr val="dk1"/>
          </a:fontRef>
        </p:style>
        <p:txBody>
          <a:bodyPr rtlCol="0" anchor="b"/>
          <a:lstStyle/>
          <a:p>
            <a:pPr algn="ctr" fontAlgn="auto">
              <a:spcBef>
                <a:spcPts val="0"/>
              </a:spcBef>
              <a:spcAft>
                <a:spcPts val="0"/>
              </a:spcAft>
            </a:pPr>
            <a:r>
              <a:rPr lang="en-GB" dirty="0" smtClean="0">
                <a:solidFill>
                  <a:prstClr val="black"/>
                </a:solidFill>
              </a:rPr>
              <a:t>DBAG Operated XBID Infrastructure</a:t>
            </a:r>
          </a:p>
        </p:txBody>
      </p:sp>
      <p:sp>
        <p:nvSpPr>
          <p:cNvPr id="43" name="Rectangle 42"/>
          <p:cNvSpPr/>
          <p:nvPr/>
        </p:nvSpPr>
        <p:spPr>
          <a:xfrm>
            <a:off x="5635691" y="3706177"/>
            <a:ext cx="1498277" cy="2372504"/>
          </a:xfrm>
          <a:prstGeom prst="rect">
            <a:avLst/>
          </a:prstGeom>
          <a:ln/>
        </p:spPr>
        <p:style>
          <a:lnRef idx="2">
            <a:schemeClr val="accent1"/>
          </a:lnRef>
          <a:fillRef idx="1">
            <a:schemeClr val="lt1"/>
          </a:fillRef>
          <a:effectRef idx="0">
            <a:schemeClr val="accent1"/>
          </a:effectRef>
          <a:fontRef idx="minor">
            <a:schemeClr val="dk1"/>
          </a:fontRef>
        </p:style>
        <p:txBody>
          <a:bodyPr rtlCol="0" anchor="b"/>
          <a:lstStyle/>
          <a:p>
            <a:pPr algn="ctr" fontAlgn="auto">
              <a:spcBef>
                <a:spcPts val="0"/>
              </a:spcBef>
              <a:spcAft>
                <a:spcPts val="0"/>
              </a:spcAft>
            </a:pPr>
            <a:r>
              <a:rPr lang="en-GB" dirty="0" smtClean="0">
                <a:solidFill>
                  <a:prstClr val="black"/>
                </a:solidFill>
              </a:rPr>
              <a:t>Data</a:t>
            </a:r>
          </a:p>
          <a:p>
            <a:pPr algn="ctr" fontAlgn="auto">
              <a:spcBef>
                <a:spcPts val="0"/>
              </a:spcBef>
              <a:spcAft>
                <a:spcPts val="0"/>
              </a:spcAft>
            </a:pPr>
            <a:r>
              <a:rPr lang="en-GB" dirty="0" smtClean="0">
                <a:solidFill>
                  <a:prstClr val="black"/>
                </a:solidFill>
              </a:rPr>
              <a:t>Centre A</a:t>
            </a:r>
            <a:endParaRPr lang="en-GB" dirty="0">
              <a:solidFill>
                <a:prstClr val="black"/>
              </a:solidFill>
            </a:endParaRPr>
          </a:p>
        </p:txBody>
      </p:sp>
      <p:sp>
        <p:nvSpPr>
          <p:cNvPr id="44" name="Rectangle 43"/>
          <p:cNvSpPr/>
          <p:nvPr/>
        </p:nvSpPr>
        <p:spPr>
          <a:xfrm>
            <a:off x="7267063" y="3706176"/>
            <a:ext cx="1444338" cy="2372504"/>
          </a:xfrm>
          <a:prstGeom prst="rect">
            <a:avLst/>
          </a:prstGeom>
          <a:ln/>
        </p:spPr>
        <p:style>
          <a:lnRef idx="2">
            <a:schemeClr val="accent1"/>
          </a:lnRef>
          <a:fillRef idx="1">
            <a:schemeClr val="lt1"/>
          </a:fillRef>
          <a:effectRef idx="0">
            <a:schemeClr val="accent1"/>
          </a:effectRef>
          <a:fontRef idx="minor">
            <a:schemeClr val="dk1"/>
          </a:fontRef>
        </p:style>
        <p:txBody>
          <a:bodyPr rtlCol="0" anchor="b"/>
          <a:lstStyle/>
          <a:p>
            <a:pPr algn="ctr" fontAlgn="auto">
              <a:spcBef>
                <a:spcPts val="0"/>
              </a:spcBef>
              <a:spcAft>
                <a:spcPts val="0"/>
              </a:spcAft>
            </a:pPr>
            <a:r>
              <a:rPr lang="en-GB" dirty="0" smtClean="0">
                <a:solidFill>
                  <a:prstClr val="black"/>
                </a:solidFill>
              </a:rPr>
              <a:t>Data</a:t>
            </a:r>
          </a:p>
          <a:p>
            <a:pPr algn="ctr" fontAlgn="auto">
              <a:spcBef>
                <a:spcPts val="0"/>
              </a:spcBef>
              <a:spcAft>
                <a:spcPts val="0"/>
              </a:spcAft>
            </a:pPr>
            <a:r>
              <a:rPr lang="en-GB" dirty="0" smtClean="0">
                <a:solidFill>
                  <a:prstClr val="black"/>
                </a:solidFill>
              </a:rPr>
              <a:t>Centre B</a:t>
            </a:r>
            <a:endParaRPr lang="en-GB" dirty="0">
              <a:solidFill>
                <a:prstClr val="black"/>
              </a:solidFill>
            </a:endParaRPr>
          </a:p>
        </p:txBody>
      </p:sp>
      <p:sp>
        <p:nvSpPr>
          <p:cNvPr id="2" name="Title 1"/>
          <p:cNvSpPr>
            <a:spLocks noGrp="1"/>
          </p:cNvSpPr>
          <p:nvPr>
            <p:ph type="title"/>
          </p:nvPr>
        </p:nvSpPr>
        <p:spPr>
          <a:xfrm>
            <a:off x="180000" y="542345"/>
            <a:ext cx="8784000" cy="1254416"/>
          </a:xfrm>
        </p:spPr>
        <p:txBody>
          <a:bodyPr>
            <a:normAutofit/>
          </a:bodyPr>
          <a:lstStyle/>
          <a:p>
            <a:r>
              <a:rPr lang="en-GB" sz="2800" noProof="0" dirty="0" smtClean="0">
                <a:cs typeface="Arial" panose="020B0604020202020204" pitchFamily="34" charset="0"/>
              </a:rPr>
              <a:t>XBID’s Technical Architecture</a:t>
            </a:r>
            <a:br>
              <a:rPr lang="en-GB" sz="2800" noProof="0" dirty="0" smtClean="0">
                <a:cs typeface="Arial" panose="020B0604020202020204" pitchFamily="34" charset="0"/>
              </a:rPr>
            </a:br>
            <a:endParaRPr lang="en-GB" sz="2800" b="1" noProof="0" dirty="0">
              <a:solidFill>
                <a:schemeClr val="tx1"/>
              </a:solidFill>
              <a:ea typeface="+mn-ea"/>
              <a:cs typeface="Arial" panose="020B0604020202020204" pitchFamily="34" charset="0"/>
            </a:endParaRPr>
          </a:p>
        </p:txBody>
      </p:sp>
      <p:sp>
        <p:nvSpPr>
          <p:cNvPr id="4" name="Slide Number Placeholder 3"/>
          <p:cNvSpPr>
            <a:spLocks noGrp="1"/>
          </p:cNvSpPr>
          <p:nvPr>
            <p:ph type="sldNum" sz="quarter" idx="4"/>
          </p:nvPr>
        </p:nvSpPr>
        <p:spPr/>
        <p:txBody>
          <a:bodyPr/>
          <a:lstStyle/>
          <a:p>
            <a:r>
              <a:rPr lang="en-US" sz="825" dirty="0">
                <a:solidFill>
                  <a:prstClr val="black">
                    <a:tint val="75000"/>
                  </a:prstClr>
                </a:solidFill>
              </a:rPr>
              <a:t>Deutsche Börse Group</a:t>
            </a:r>
            <a:r>
              <a:rPr lang="en-US" dirty="0" smtClean="0">
                <a:solidFill>
                  <a:prstClr val="black">
                    <a:tint val="75000"/>
                  </a:prstClr>
                </a:solidFill>
              </a:rPr>
              <a:t>	</a:t>
            </a:r>
            <a:fld id="{92F7DF68-39C9-4B8A-BEDC-AE012F5E4423}" type="slidenum">
              <a:rPr lang="en-US" smtClean="0">
                <a:solidFill>
                  <a:prstClr val="black">
                    <a:tint val="75000"/>
                  </a:prstClr>
                </a:solidFill>
              </a:rPr>
              <a:pPr/>
              <a:t>79</a:t>
            </a:fld>
            <a:endParaRPr lang="en-US" dirty="0">
              <a:solidFill>
                <a:prstClr val="black">
                  <a:tint val="75000"/>
                </a:prstClr>
              </a:solidFill>
            </a:endParaRPr>
          </a:p>
        </p:txBody>
      </p:sp>
      <p:sp>
        <p:nvSpPr>
          <p:cNvPr id="25" name="Rectangle 24"/>
          <p:cNvSpPr/>
          <p:nvPr/>
        </p:nvSpPr>
        <p:spPr>
          <a:xfrm>
            <a:off x="5635691" y="4195362"/>
            <a:ext cx="3075710" cy="105204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fontAlgn="auto">
              <a:spcBef>
                <a:spcPts val="0"/>
              </a:spcBef>
              <a:spcAft>
                <a:spcPts val="0"/>
              </a:spcAft>
            </a:pPr>
            <a:r>
              <a:rPr lang="en-GB" dirty="0" smtClean="0">
                <a:solidFill>
                  <a:srgbClr val="FFFFFF"/>
                </a:solidFill>
              </a:rPr>
              <a:t>XBID Modules</a:t>
            </a:r>
            <a:endParaRPr lang="en-GB" dirty="0">
              <a:solidFill>
                <a:srgbClr val="FFFFFF"/>
              </a:solidFill>
            </a:endParaRPr>
          </a:p>
        </p:txBody>
      </p:sp>
      <p:sp>
        <p:nvSpPr>
          <p:cNvPr id="26" name="Rectangle 25"/>
          <p:cNvSpPr/>
          <p:nvPr/>
        </p:nvSpPr>
        <p:spPr>
          <a:xfrm>
            <a:off x="5418235" y="2714993"/>
            <a:ext cx="3545765" cy="606942"/>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fontAlgn="auto">
              <a:spcBef>
                <a:spcPts val="0"/>
              </a:spcBef>
              <a:spcAft>
                <a:spcPts val="0"/>
              </a:spcAft>
            </a:pPr>
            <a:r>
              <a:rPr lang="de-DE" dirty="0" smtClean="0">
                <a:solidFill>
                  <a:prstClr val="black"/>
                </a:solidFill>
              </a:rPr>
              <a:t>Private Network Infrastructure</a:t>
            </a:r>
            <a:endParaRPr lang="en-GB" dirty="0">
              <a:solidFill>
                <a:prstClr val="black"/>
              </a:solidFill>
            </a:endParaRPr>
          </a:p>
        </p:txBody>
      </p:sp>
      <p:sp>
        <p:nvSpPr>
          <p:cNvPr id="28" name="Rectangle 27"/>
          <p:cNvSpPr/>
          <p:nvPr/>
        </p:nvSpPr>
        <p:spPr>
          <a:xfrm>
            <a:off x="5418235" y="1860724"/>
            <a:ext cx="1126326" cy="65185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fontAlgn="auto">
              <a:spcBef>
                <a:spcPts val="0"/>
              </a:spcBef>
              <a:spcAft>
                <a:spcPts val="0"/>
              </a:spcAft>
            </a:pPr>
            <a:r>
              <a:rPr lang="en-GB" sz="1400" dirty="0" smtClean="0">
                <a:solidFill>
                  <a:srgbClr val="FFFFFF"/>
                </a:solidFill>
              </a:rPr>
              <a:t>Local Power </a:t>
            </a:r>
            <a:br>
              <a:rPr lang="en-GB" sz="1400" dirty="0" smtClean="0">
                <a:solidFill>
                  <a:srgbClr val="FFFFFF"/>
                </a:solidFill>
              </a:rPr>
            </a:br>
            <a:r>
              <a:rPr lang="en-GB" sz="1400" dirty="0" smtClean="0">
                <a:solidFill>
                  <a:srgbClr val="FFFFFF"/>
                </a:solidFill>
              </a:rPr>
              <a:t>Exchange</a:t>
            </a:r>
            <a:endParaRPr lang="en-GB" sz="1400" dirty="0">
              <a:solidFill>
                <a:srgbClr val="FFFFFF"/>
              </a:solidFill>
            </a:endParaRPr>
          </a:p>
        </p:txBody>
      </p:sp>
      <p:sp>
        <p:nvSpPr>
          <p:cNvPr id="29" name="Rectangle 28"/>
          <p:cNvSpPr/>
          <p:nvPr/>
        </p:nvSpPr>
        <p:spPr>
          <a:xfrm>
            <a:off x="7837673" y="1860724"/>
            <a:ext cx="1126326" cy="65185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fontAlgn="auto">
              <a:spcBef>
                <a:spcPts val="0"/>
              </a:spcBef>
              <a:spcAft>
                <a:spcPts val="0"/>
              </a:spcAft>
            </a:pPr>
            <a:r>
              <a:rPr lang="en-GB" sz="1400" dirty="0">
                <a:solidFill>
                  <a:srgbClr val="FFFFFF"/>
                </a:solidFill>
              </a:rPr>
              <a:t>Local Power </a:t>
            </a:r>
            <a:r>
              <a:rPr lang="en-GB" sz="1400" dirty="0" smtClean="0">
                <a:solidFill>
                  <a:srgbClr val="FFFFFF"/>
                </a:solidFill>
              </a:rPr>
              <a:t/>
            </a:r>
            <a:br>
              <a:rPr lang="en-GB" sz="1400" dirty="0" smtClean="0">
                <a:solidFill>
                  <a:srgbClr val="FFFFFF"/>
                </a:solidFill>
              </a:rPr>
            </a:br>
            <a:r>
              <a:rPr lang="en-GB" sz="1400" dirty="0" smtClean="0">
                <a:solidFill>
                  <a:srgbClr val="FFFFFF"/>
                </a:solidFill>
              </a:rPr>
              <a:t>Exchange</a:t>
            </a:r>
            <a:endParaRPr lang="en-GB" sz="1400" dirty="0">
              <a:solidFill>
                <a:srgbClr val="FFFFFF"/>
              </a:solidFill>
            </a:endParaRPr>
          </a:p>
        </p:txBody>
      </p:sp>
      <p:sp>
        <p:nvSpPr>
          <p:cNvPr id="40" name="Rectangle 39"/>
          <p:cNvSpPr/>
          <p:nvPr/>
        </p:nvSpPr>
        <p:spPr>
          <a:xfrm>
            <a:off x="6627954" y="1860957"/>
            <a:ext cx="1126326" cy="65185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fontAlgn="auto">
              <a:spcBef>
                <a:spcPts val="0"/>
              </a:spcBef>
              <a:spcAft>
                <a:spcPts val="0"/>
              </a:spcAft>
            </a:pPr>
            <a:r>
              <a:rPr lang="en-GB" sz="1400" dirty="0">
                <a:solidFill>
                  <a:srgbClr val="FFFFFF"/>
                </a:solidFill>
              </a:rPr>
              <a:t>Local Power </a:t>
            </a:r>
            <a:r>
              <a:rPr lang="en-GB" sz="1400" dirty="0" smtClean="0">
                <a:solidFill>
                  <a:srgbClr val="FFFFFF"/>
                </a:solidFill>
              </a:rPr>
              <a:t/>
            </a:r>
            <a:br>
              <a:rPr lang="en-GB" sz="1400" dirty="0" smtClean="0">
                <a:solidFill>
                  <a:srgbClr val="FFFFFF"/>
                </a:solidFill>
              </a:rPr>
            </a:br>
            <a:r>
              <a:rPr lang="en-GB" sz="1400" dirty="0" smtClean="0">
                <a:solidFill>
                  <a:srgbClr val="FFFFFF"/>
                </a:solidFill>
              </a:rPr>
              <a:t>Exchange</a:t>
            </a:r>
            <a:endParaRPr lang="en-GB" sz="1400" dirty="0">
              <a:solidFill>
                <a:srgbClr val="FFFFFF"/>
              </a:solidFill>
            </a:endParaRPr>
          </a:p>
        </p:txBody>
      </p:sp>
      <p:sp>
        <p:nvSpPr>
          <p:cNvPr id="42" name="Rectangle 41"/>
          <p:cNvSpPr/>
          <p:nvPr/>
        </p:nvSpPr>
        <p:spPr>
          <a:xfrm>
            <a:off x="5635691" y="3791979"/>
            <a:ext cx="3075710" cy="280658"/>
          </a:xfrm>
          <a:prstGeom prst="rect">
            <a:avLst/>
          </a:prstGeom>
          <a:pattFill prst="pct50">
            <a:fgClr>
              <a:schemeClr val="bg1"/>
            </a:fgClr>
            <a:bgClr>
              <a:srgbClr val="BC00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de-DE" dirty="0" smtClean="0">
                <a:solidFill>
                  <a:srgbClr val="FFFFFF"/>
                </a:solidFill>
              </a:rPr>
              <a:t>Security Systems</a:t>
            </a:r>
            <a:endParaRPr lang="en-GB" dirty="0">
              <a:solidFill>
                <a:srgbClr val="FFFFFF"/>
              </a:solidFill>
            </a:endParaRPr>
          </a:p>
        </p:txBody>
      </p:sp>
      <p:sp>
        <p:nvSpPr>
          <p:cNvPr id="45" name="Content Placeholder 2"/>
          <p:cNvSpPr txBox="1">
            <a:spLocks/>
          </p:cNvSpPr>
          <p:nvPr/>
        </p:nvSpPr>
        <p:spPr bwMode="gray">
          <a:xfrm>
            <a:off x="187036" y="1580168"/>
            <a:ext cx="4727938" cy="5151138"/>
          </a:xfrm>
          <a:prstGeom prst="rect">
            <a:avLst/>
          </a:prstGeom>
        </p:spPr>
        <p:txBody>
          <a:bodyPr vert="horz" lIns="252000" tIns="45720" rIns="91440" bIns="45720" rtlCol="0" anchor="t" anchorCtr="0">
            <a:normAutofit/>
          </a:bodyPr>
          <a:lstStyle>
            <a:lvl1pPr marL="0" indent="0" algn="l" defTabSz="914400" rtl="0" eaLnBrk="1" latinLnBrk="0" hangingPunct="1">
              <a:spcBef>
                <a:spcPts val="0"/>
              </a:spcBef>
              <a:spcAft>
                <a:spcPts val="600"/>
              </a:spcAft>
              <a:buFont typeface="Arial" pitchFamily="34" charset="0"/>
              <a:buNone/>
              <a:defRPr lang="en-GB" sz="2800" kern="1200">
                <a:solidFill>
                  <a:srgbClr val="999999"/>
                </a:solidFill>
                <a:latin typeface="Arial" pitchFamily="34" charset="0"/>
                <a:ea typeface="+mj-ea"/>
                <a:cs typeface="+mj-cs"/>
              </a:defRPr>
            </a:lvl1pPr>
            <a:lvl2pPr marL="180000" indent="-180000" algn="l" defTabSz="914400" rtl="0" eaLnBrk="1" latinLnBrk="0" hangingPunct="1">
              <a:spcBef>
                <a:spcPts val="0"/>
              </a:spcBef>
              <a:spcAft>
                <a:spcPts val="600"/>
              </a:spcAft>
              <a:buSzPct val="100000"/>
              <a:buFont typeface="Wingdings" pitchFamily="2" charset="2"/>
              <a:buChar char="§"/>
              <a:defRPr sz="1600" kern="1200">
                <a:solidFill>
                  <a:schemeClr val="tx1"/>
                </a:solidFill>
                <a:latin typeface="Arial" pitchFamily="34" charset="0"/>
                <a:ea typeface="+mn-ea"/>
                <a:cs typeface="+mn-cs"/>
              </a:defRPr>
            </a:lvl2pPr>
            <a:lvl3pPr marL="360000" indent="-180000" algn="l" defTabSz="914400" rtl="0" eaLnBrk="1" latinLnBrk="0" hangingPunct="1">
              <a:spcBef>
                <a:spcPts val="0"/>
              </a:spcBef>
              <a:spcAft>
                <a:spcPts val="600"/>
              </a:spcAft>
              <a:buSzPct val="80000"/>
              <a:buFont typeface="Wingdings" pitchFamily="2" charset="2"/>
              <a:buChar char="§"/>
              <a:defRPr sz="1600" kern="1200">
                <a:solidFill>
                  <a:schemeClr val="tx1"/>
                </a:solidFill>
                <a:latin typeface="Arial" pitchFamily="34" charset="0"/>
                <a:ea typeface="+mn-ea"/>
                <a:cs typeface="+mn-cs"/>
              </a:defRPr>
            </a:lvl3pPr>
            <a:lvl4pPr marL="540000" indent="-180000" algn="l" defTabSz="914400" rtl="0" eaLnBrk="1" latinLnBrk="0" hangingPunct="1">
              <a:spcBef>
                <a:spcPts val="0"/>
              </a:spcBef>
              <a:spcAft>
                <a:spcPts val="600"/>
              </a:spcAft>
              <a:buFont typeface="Arial" pitchFamily="34" charset="0"/>
              <a:buChar char="–"/>
              <a:defRPr sz="1600" kern="1200">
                <a:solidFill>
                  <a:schemeClr val="tx1"/>
                </a:solidFill>
                <a:latin typeface="Arial"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fontAlgn="auto">
              <a:buFont typeface="Arial" pitchFamily="34" charset="0"/>
              <a:buChar char="•"/>
            </a:pPr>
            <a:r>
              <a:rPr altLang="en-US" sz="1800" dirty="0" smtClean="0">
                <a:solidFill>
                  <a:srgbClr val="000099"/>
                </a:solidFill>
              </a:rPr>
              <a:t>The central XBID infrastructure has been developed by DBAG to the specification and requirements of the XBID consortium </a:t>
            </a:r>
          </a:p>
          <a:p>
            <a:pPr marL="285750" indent="-285750" fontAlgn="auto">
              <a:buFont typeface="Arial" pitchFamily="34" charset="0"/>
              <a:buChar char="•"/>
            </a:pPr>
            <a:r>
              <a:rPr altLang="en-US" sz="1800" dirty="0" smtClean="0">
                <a:solidFill>
                  <a:srgbClr val="000099"/>
                </a:solidFill>
              </a:rPr>
              <a:t>XBID is operated and maintained by a specialized team of IT experts</a:t>
            </a:r>
          </a:p>
          <a:p>
            <a:pPr marL="285750" indent="-285750" fontAlgn="auto">
              <a:buFont typeface="Arial" pitchFamily="34" charset="0"/>
              <a:buChar char="•"/>
            </a:pPr>
            <a:r>
              <a:rPr altLang="en-US" sz="1800" dirty="0" smtClean="0">
                <a:solidFill>
                  <a:srgbClr val="000099"/>
                </a:solidFill>
              </a:rPr>
              <a:t>Built with flexibility and extensibility in mind</a:t>
            </a:r>
          </a:p>
          <a:p>
            <a:pPr marL="285750" indent="-285750" fontAlgn="auto">
              <a:buFont typeface="Arial" pitchFamily="34" charset="0"/>
              <a:buChar char="•"/>
            </a:pPr>
            <a:r>
              <a:rPr altLang="en-US" sz="1800" dirty="0" smtClean="0">
                <a:solidFill>
                  <a:srgbClr val="000099"/>
                </a:solidFill>
              </a:rPr>
              <a:t>Network design, API and central processing are carefully designed to ensure Equal Treatment between all Local Power Exchanges</a:t>
            </a:r>
          </a:p>
          <a:p>
            <a:pPr marL="285750" indent="-285750" fontAlgn="auto">
              <a:buFont typeface="Arial" pitchFamily="34" charset="0"/>
              <a:buChar char="•"/>
            </a:pPr>
            <a:r>
              <a:rPr altLang="en-US" sz="1800" dirty="0" smtClean="0">
                <a:solidFill>
                  <a:srgbClr val="000099"/>
                </a:solidFill>
              </a:rPr>
              <a:t>The XBID infrastructure is flexible to accommodate future requirements and growth</a:t>
            </a:r>
          </a:p>
        </p:txBody>
      </p:sp>
      <p:cxnSp>
        <p:nvCxnSpPr>
          <p:cNvPr id="46" name="Straight Connector 45"/>
          <p:cNvCxnSpPr>
            <a:stCxn id="28" idx="2"/>
          </p:cNvCxnSpPr>
          <p:nvPr/>
        </p:nvCxnSpPr>
        <p:spPr>
          <a:xfrm>
            <a:off x="5981398" y="2512574"/>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170007" y="2530007"/>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400836" y="2526311"/>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113761" y="3330186"/>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6440669" y="3318806"/>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5511318" y="1142999"/>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56" name="Oval 55"/>
          <p:cNvSpPr/>
          <p:nvPr/>
        </p:nvSpPr>
        <p:spPr>
          <a:xfrm>
            <a:off x="5663718" y="1295399"/>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57" name="Oval 56"/>
          <p:cNvSpPr/>
          <p:nvPr/>
        </p:nvSpPr>
        <p:spPr>
          <a:xfrm>
            <a:off x="5811998" y="1137060"/>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58" name="Oval 57"/>
          <p:cNvSpPr/>
          <p:nvPr/>
        </p:nvSpPr>
        <p:spPr>
          <a:xfrm>
            <a:off x="5952457" y="130216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59" name="Oval 58"/>
          <p:cNvSpPr/>
          <p:nvPr/>
        </p:nvSpPr>
        <p:spPr>
          <a:xfrm>
            <a:off x="5892356" y="148524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0" name="Oval 59"/>
          <p:cNvSpPr/>
          <p:nvPr/>
        </p:nvSpPr>
        <p:spPr>
          <a:xfrm>
            <a:off x="5428545" y="1331681"/>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1" name="Oval 60"/>
          <p:cNvSpPr/>
          <p:nvPr/>
        </p:nvSpPr>
        <p:spPr>
          <a:xfrm>
            <a:off x="5612733" y="152036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2" name="Oval 61"/>
          <p:cNvSpPr/>
          <p:nvPr/>
        </p:nvSpPr>
        <p:spPr>
          <a:xfrm>
            <a:off x="6865786" y="111769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3" name="Oval 62"/>
          <p:cNvSpPr/>
          <p:nvPr/>
        </p:nvSpPr>
        <p:spPr>
          <a:xfrm>
            <a:off x="7018186" y="127009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4" name="Oval 63"/>
          <p:cNvSpPr/>
          <p:nvPr/>
        </p:nvSpPr>
        <p:spPr>
          <a:xfrm>
            <a:off x="7166466" y="111175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5" name="Oval 64"/>
          <p:cNvSpPr/>
          <p:nvPr/>
        </p:nvSpPr>
        <p:spPr>
          <a:xfrm>
            <a:off x="7284052" y="1276859"/>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6" name="Oval 65"/>
          <p:cNvSpPr/>
          <p:nvPr/>
        </p:nvSpPr>
        <p:spPr>
          <a:xfrm>
            <a:off x="7135772" y="1460111"/>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7" name="Oval 66"/>
          <p:cNvSpPr/>
          <p:nvPr/>
        </p:nvSpPr>
        <p:spPr>
          <a:xfrm>
            <a:off x="6710947" y="126158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8" name="Oval 67"/>
          <p:cNvSpPr/>
          <p:nvPr/>
        </p:nvSpPr>
        <p:spPr>
          <a:xfrm>
            <a:off x="6886085" y="1466286"/>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9" name="Oval 68"/>
          <p:cNvSpPr/>
          <p:nvPr/>
        </p:nvSpPr>
        <p:spPr>
          <a:xfrm>
            <a:off x="8095359" y="1063498"/>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0" name="Oval 69"/>
          <p:cNvSpPr/>
          <p:nvPr/>
        </p:nvSpPr>
        <p:spPr>
          <a:xfrm>
            <a:off x="8025206" y="1235886"/>
            <a:ext cx="317947" cy="188479"/>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1" name="Oval 70"/>
          <p:cNvSpPr/>
          <p:nvPr/>
        </p:nvSpPr>
        <p:spPr>
          <a:xfrm>
            <a:off x="8396039" y="1057559"/>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2" name="Oval 71"/>
          <p:cNvSpPr/>
          <p:nvPr/>
        </p:nvSpPr>
        <p:spPr>
          <a:xfrm>
            <a:off x="8291072" y="1242651"/>
            <a:ext cx="317947" cy="188479"/>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3" name="Oval 72"/>
          <p:cNvSpPr/>
          <p:nvPr/>
        </p:nvSpPr>
        <p:spPr>
          <a:xfrm>
            <a:off x="8142792" y="1425903"/>
            <a:ext cx="317947" cy="188479"/>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4" name="Oval 73"/>
          <p:cNvSpPr/>
          <p:nvPr/>
        </p:nvSpPr>
        <p:spPr>
          <a:xfrm>
            <a:off x="6900599" y="98153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5" name="Oval 74"/>
          <p:cNvSpPr/>
          <p:nvPr/>
        </p:nvSpPr>
        <p:spPr>
          <a:xfrm>
            <a:off x="7959699" y="1463878"/>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6" name="Oval 75"/>
          <p:cNvSpPr/>
          <p:nvPr/>
        </p:nvSpPr>
        <p:spPr>
          <a:xfrm>
            <a:off x="7476733" y="107026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7" name="Oval 76"/>
          <p:cNvSpPr/>
          <p:nvPr/>
        </p:nvSpPr>
        <p:spPr>
          <a:xfrm>
            <a:off x="7629133" y="122266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8" name="Oval 77"/>
          <p:cNvSpPr/>
          <p:nvPr/>
        </p:nvSpPr>
        <p:spPr>
          <a:xfrm>
            <a:off x="7777413" y="106432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0" name="Oval 79"/>
          <p:cNvSpPr/>
          <p:nvPr/>
        </p:nvSpPr>
        <p:spPr>
          <a:xfrm>
            <a:off x="7746719" y="1412680"/>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2" name="Oval 81"/>
          <p:cNvSpPr/>
          <p:nvPr/>
        </p:nvSpPr>
        <p:spPr>
          <a:xfrm>
            <a:off x="7423214" y="142743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3" name="Oval 82"/>
          <p:cNvSpPr/>
          <p:nvPr/>
        </p:nvSpPr>
        <p:spPr>
          <a:xfrm>
            <a:off x="6361844" y="111769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4" name="Oval 83"/>
          <p:cNvSpPr/>
          <p:nvPr/>
        </p:nvSpPr>
        <p:spPr>
          <a:xfrm>
            <a:off x="6355781" y="128995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5" name="Oval 84"/>
          <p:cNvSpPr/>
          <p:nvPr/>
        </p:nvSpPr>
        <p:spPr>
          <a:xfrm>
            <a:off x="6597859" y="1049082"/>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6" name="Oval 85"/>
          <p:cNvSpPr/>
          <p:nvPr/>
        </p:nvSpPr>
        <p:spPr>
          <a:xfrm>
            <a:off x="6716346" y="149591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7" name="Oval 86"/>
          <p:cNvSpPr/>
          <p:nvPr/>
        </p:nvSpPr>
        <p:spPr>
          <a:xfrm>
            <a:off x="6473367" y="1479972"/>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8" name="Oval 87"/>
          <p:cNvSpPr/>
          <p:nvPr/>
        </p:nvSpPr>
        <p:spPr>
          <a:xfrm>
            <a:off x="5996495" y="1096800"/>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9" name="Oval 88"/>
          <p:cNvSpPr/>
          <p:nvPr/>
        </p:nvSpPr>
        <p:spPr>
          <a:xfrm>
            <a:off x="6192340" y="1517500"/>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90" name="TextBox 89"/>
          <p:cNvSpPr txBox="1"/>
          <p:nvPr/>
        </p:nvSpPr>
        <p:spPr>
          <a:xfrm>
            <a:off x="6250215" y="789768"/>
            <a:ext cx="1726756" cy="338554"/>
          </a:xfrm>
          <a:prstGeom prst="rect">
            <a:avLst/>
          </a:prstGeom>
          <a:noFill/>
        </p:spPr>
        <p:txBody>
          <a:bodyPr wrap="none" rtlCol="0">
            <a:spAutoFit/>
          </a:bodyPr>
          <a:lstStyle/>
          <a:p>
            <a:pPr algn="ctr" fontAlgn="auto">
              <a:spcBef>
                <a:spcPts val="0"/>
              </a:spcBef>
              <a:spcAft>
                <a:spcPts val="0"/>
              </a:spcAft>
            </a:pPr>
            <a:r>
              <a:rPr lang="de-DE" sz="1600" dirty="0" smtClean="0">
                <a:solidFill>
                  <a:prstClr val="black"/>
                </a:solidFill>
                <a:latin typeface="Arial" pitchFamily="34" charset="0"/>
                <a:ea typeface="+mn-ea"/>
                <a:cs typeface="Arial" pitchFamily="34" charset="0"/>
              </a:rPr>
              <a:t>Market Members</a:t>
            </a:r>
            <a:endParaRPr lang="en-GB" sz="1600" dirty="0">
              <a:solidFill>
                <a:prstClr val="black"/>
              </a:solidFill>
              <a:latin typeface="Arial" pitchFamily="34" charset="0"/>
              <a:ea typeface="+mn-ea"/>
              <a:cs typeface="Arial" pitchFamily="34" charset="0"/>
            </a:endParaRPr>
          </a:p>
        </p:txBody>
      </p:sp>
      <p:cxnSp>
        <p:nvCxnSpPr>
          <p:cNvPr id="91" name="Straight Connector 90"/>
          <p:cNvCxnSpPr>
            <a:stCxn id="61" idx="4"/>
            <a:endCxn id="28" idx="0"/>
          </p:cNvCxnSpPr>
          <p:nvPr/>
        </p:nvCxnSpPr>
        <p:spPr>
          <a:xfrm>
            <a:off x="5730320" y="1665836"/>
            <a:ext cx="251078" cy="194888"/>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endCxn id="29" idx="0"/>
          </p:cNvCxnSpPr>
          <p:nvPr/>
        </p:nvCxnSpPr>
        <p:spPr>
          <a:xfrm>
            <a:off x="8343154" y="1622628"/>
            <a:ext cx="57682" cy="238096"/>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stCxn id="66" idx="4"/>
            <a:endCxn id="40" idx="0"/>
          </p:cNvCxnSpPr>
          <p:nvPr/>
        </p:nvCxnSpPr>
        <p:spPr>
          <a:xfrm flipH="1">
            <a:off x="7191117" y="1605584"/>
            <a:ext cx="62242" cy="255373"/>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88073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What is XBID?</a:t>
            </a:r>
            <a:endParaRPr lang="de-DE" dirty="0"/>
          </a:p>
        </p:txBody>
      </p:sp>
      <p:sp>
        <p:nvSpPr>
          <p:cNvPr id="3" name="Foliennummernplatzhalter 2"/>
          <p:cNvSpPr>
            <a:spLocks noGrp="1"/>
          </p:cNvSpPr>
          <p:nvPr>
            <p:ph type="sldNum" sz="quarter" idx="11"/>
          </p:nvPr>
        </p:nvSpPr>
        <p:spPr/>
        <p:txBody>
          <a:bodyPr/>
          <a:lstStyle/>
          <a:p>
            <a:fld id="{AD89DE65-C7D9-40CE-B96E-B8C3E7B233C5}" type="slidenum">
              <a:rPr lang="de-DE" smtClean="0"/>
              <a:pPr/>
              <a:t>8</a:t>
            </a:fld>
            <a:endParaRPr lang="de-DE" dirty="0"/>
          </a:p>
        </p:txBody>
      </p:sp>
      <p:sp>
        <p:nvSpPr>
          <p:cNvPr id="5" name="Rectangle 5"/>
          <p:cNvSpPr/>
          <p:nvPr/>
        </p:nvSpPr>
        <p:spPr>
          <a:xfrm>
            <a:off x="931178" y="1308472"/>
            <a:ext cx="7519753" cy="1415678"/>
          </a:xfrm>
          <a:prstGeom prst="rect">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b="1" dirty="0"/>
              <a:t>XBID Project objective</a:t>
            </a:r>
            <a:r>
              <a:rPr lang="en-GB" dirty="0"/>
              <a:t>: </a:t>
            </a:r>
          </a:p>
          <a:p>
            <a:pPr lvl="1"/>
            <a:endParaRPr lang="en-GB" sz="1600" b="1" dirty="0"/>
          </a:p>
          <a:p>
            <a:pPr lvl="1"/>
            <a:r>
              <a:rPr lang="en-GB" sz="1600" b="1" dirty="0"/>
              <a:t>“Establish a common cross border implicit continuous Intraday trading solution across Europe, where all the cross border capacities are allocated...” </a:t>
            </a:r>
            <a:r>
              <a:rPr lang="en-GB" sz="1200" i="1" dirty="0"/>
              <a:t>Quote from Request for Offer  (RFO) Issued 2012</a:t>
            </a:r>
          </a:p>
        </p:txBody>
      </p:sp>
      <p:sp>
        <p:nvSpPr>
          <p:cNvPr id="6" name="Text Placeholder 4"/>
          <p:cNvSpPr>
            <a:spLocks noGrp="1"/>
          </p:cNvSpPr>
          <p:nvPr>
            <p:ph type="body" sz="quarter" idx="13"/>
          </p:nvPr>
        </p:nvSpPr>
        <p:spPr>
          <a:xfrm>
            <a:off x="527120" y="886498"/>
            <a:ext cx="7923810" cy="5244391"/>
          </a:xfrm>
        </p:spPr>
        <p:txBody>
          <a:bodyPr>
            <a:normAutofit/>
          </a:bodyPr>
          <a:lstStyle/>
          <a:p>
            <a:pPr marL="457200" lvl="1" indent="0" algn="just">
              <a:buNone/>
            </a:pPr>
            <a:endParaRPr lang="en-US" sz="1500" b="1" i="1" dirty="0"/>
          </a:p>
          <a:p>
            <a:pPr marL="457200" lvl="1" indent="0" algn="just">
              <a:buNone/>
            </a:pPr>
            <a:endParaRPr lang="en-US" sz="1500" b="1" i="1" dirty="0"/>
          </a:p>
          <a:p>
            <a:pPr marL="457200" lvl="1" indent="0" algn="just">
              <a:buNone/>
            </a:pPr>
            <a:endParaRPr lang="en-US" sz="1500" b="1" i="1" dirty="0"/>
          </a:p>
          <a:p>
            <a:pPr marL="457200" lvl="1" indent="0" algn="just">
              <a:buNone/>
            </a:pPr>
            <a:endParaRPr lang="en-US" sz="1500" b="1" i="1" dirty="0"/>
          </a:p>
          <a:p>
            <a:pPr marL="457200" lvl="1" indent="0" algn="just">
              <a:buNone/>
            </a:pPr>
            <a:endParaRPr lang="en-US" sz="1500" b="1" i="1" dirty="0"/>
          </a:p>
          <a:p>
            <a:pPr marL="457200" lvl="1" indent="0" algn="just">
              <a:buNone/>
            </a:pPr>
            <a:endParaRPr lang="en-US" sz="1500" b="1" i="1" dirty="0"/>
          </a:p>
          <a:p>
            <a:pPr marL="457200" lvl="1" indent="0" algn="just">
              <a:buNone/>
            </a:pPr>
            <a:endParaRPr lang="en-US" sz="1500" b="1" i="1" dirty="0"/>
          </a:p>
          <a:p>
            <a:pPr marL="457200" lvl="1" indent="0" algn="just">
              <a:buNone/>
            </a:pPr>
            <a:endParaRPr lang="en-US" sz="700" b="1" i="1" dirty="0"/>
          </a:p>
          <a:p>
            <a:pPr marL="457200" lvl="1" indent="0" algn="just">
              <a:buNone/>
            </a:pPr>
            <a:r>
              <a:rPr lang="en-US" sz="1500" b="1" i="1" dirty="0"/>
              <a:t>“The system will accommodate the continuous matching of bids and orders from market participants in one bidding zone with bids and orders coming from its own bidding zone and from any other bidding zone where cross-zonal capacity is available. “</a:t>
            </a:r>
          </a:p>
          <a:p>
            <a:pPr marL="457200" lvl="1" indent="0" algn="just">
              <a:buNone/>
            </a:pPr>
            <a:endParaRPr lang="en-GB" sz="1500" b="1" i="1" dirty="0"/>
          </a:p>
        </p:txBody>
      </p:sp>
      <p:sp>
        <p:nvSpPr>
          <p:cNvPr id="7" name="Rechteck 5"/>
          <p:cNvSpPr/>
          <p:nvPr/>
        </p:nvSpPr>
        <p:spPr>
          <a:xfrm>
            <a:off x="1015814" y="3976508"/>
            <a:ext cx="7492977" cy="2477887"/>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dirty="0">
              <a:latin typeface="Arial" panose="020B0604020202020204" pitchFamily="34" charset="0"/>
              <a:cs typeface="Arial" panose="020B0604020202020204" pitchFamily="34" charset="0"/>
            </a:endParaRPr>
          </a:p>
          <a:p>
            <a:pPr algn="ctr"/>
            <a:endParaRPr lang="en-GB" sz="3600" dirty="0">
              <a:latin typeface="Arial" panose="020B0604020202020204" pitchFamily="34" charset="0"/>
              <a:cs typeface="Arial" panose="020B0604020202020204" pitchFamily="34" charset="0"/>
            </a:endParaRPr>
          </a:p>
          <a:p>
            <a:pPr algn="ctr"/>
            <a:endParaRPr lang="en-GB" sz="2800" dirty="0">
              <a:latin typeface="Arial" panose="020B0604020202020204" pitchFamily="34" charset="0"/>
              <a:cs typeface="Arial" panose="020B0604020202020204" pitchFamily="34" charset="0"/>
            </a:endParaRPr>
          </a:p>
          <a:p>
            <a:pPr algn="ctr"/>
            <a:r>
              <a:rPr lang="en-GB" sz="2800" dirty="0">
                <a:latin typeface="Arial" panose="020B0604020202020204" pitchFamily="34" charset="0"/>
                <a:cs typeface="Arial" panose="020B0604020202020204" pitchFamily="34" charset="0"/>
              </a:rPr>
              <a:t>XBID System – 3 main modules</a:t>
            </a:r>
          </a:p>
          <a:p>
            <a:pPr algn="ctr"/>
            <a:r>
              <a:rPr lang="en-GB" sz="2000" dirty="0">
                <a:latin typeface="Arial" panose="020B0604020202020204" pitchFamily="34" charset="0"/>
                <a:cs typeface="Arial" panose="020B0604020202020204" pitchFamily="34" charset="0"/>
              </a:rPr>
              <a:t>The Single Intraday Coupling Mechanism defined in CACM</a:t>
            </a:r>
            <a:endParaRPr lang="en-GB" sz="2800" dirty="0">
              <a:latin typeface="Arial" panose="020B0604020202020204" pitchFamily="34" charset="0"/>
              <a:cs typeface="Arial" panose="020B0604020202020204" pitchFamily="34" charset="0"/>
            </a:endParaRPr>
          </a:p>
        </p:txBody>
      </p:sp>
      <p:sp>
        <p:nvSpPr>
          <p:cNvPr id="8" name="Oval 11"/>
          <p:cNvSpPr/>
          <p:nvPr/>
        </p:nvSpPr>
        <p:spPr>
          <a:xfrm>
            <a:off x="1306290" y="4047759"/>
            <a:ext cx="1962407" cy="1423722"/>
          </a:xfrm>
          <a:prstGeom prst="ellipse">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Shared Order Book</a:t>
            </a:r>
          </a:p>
          <a:p>
            <a:pPr algn="ctr"/>
            <a:r>
              <a:rPr lang="en-GB" dirty="0">
                <a:solidFill>
                  <a:schemeClr val="tx1"/>
                </a:solidFill>
              </a:rPr>
              <a:t>(SOB)</a:t>
            </a:r>
          </a:p>
        </p:txBody>
      </p:sp>
      <p:sp>
        <p:nvSpPr>
          <p:cNvPr id="9" name="Oval 12"/>
          <p:cNvSpPr/>
          <p:nvPr/>
        </p:nvSpPr>
        <p:spPr>
          <a:xfrm>
            <a:off x="3693863" y="4047759"/>
            <a:ext cx="2155371" cy="1494972"/>
          </a:xfrm>
          <a:prstGeom prst="ellipse">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Capacity Management</a:t>
            </a:r>
          </a:p>
          <a:p>
            <a:pPr algn="ctr"/>
            <a:r>
              <a:rPr lang="en-GB" dirty="0">
                <a:solidFill>
                  <a:schemeClr val="tx1"/>
                </a:solidFill>
              </a:rPr>
              <a:t>Module (CMM)</a:t>
            </a:r>
          </a:p>
        </p:txBody>
      </p:sp>
      <p:sp>
        <p:nvSpPr>
          <p:cNvPr id="10" name="Oval 13"/>
          <p:cNvSpPr/>
          <p:nvPr/>
        </p:nvSpPr>
        <p:spPr>
          <a:xfrm>
            <a:off x="6274400" y="4047759"/>
            <a:ext cx="1998743" cy="1423722"/>
          </a:xfrm>
          <a:prstGeom prst="ellipse">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solidFill>
                  <a:schemeClr val="tx1"/>
                </a:solidFill>
              </a:rPr>
              <a:t>Shipping Module</a:t>
            </a:r>
          </a:p>
          <a:p>
            <a:pPr algn="ctr"/>
            <a:r>
              <a:rPr lang="en-GB" dirty="0">
                <a:solidFill>
                  <a:schemeClr val="tx1"/>
                </a:solidFill>
              </a:rPr>
              <a:t>(SM)</a:t>
            </a:r>
          </a:p>
        </p:txBody>
      </p:sp>
    </p:spTree>
    <p:extLst>
      <p:ext uri="{BB962C8B-B14F-4D97-AF65-F5344CB8AC3E}">
        <p14:creationId xmlns:p14="http://schemas.microsoft.com/office/powerpoint/2010/main" val="429193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5418235" y="3546267"/>
            <a:ext cx="3545764" cy="2965371"/>
          </a:xfrm>
          <a:prstGeom prst="rect">
            <a:avLst/>
          </a:prstGeom>
          <a:ln w="38100"/>
        </p:spPr>
        <p:style>
          <a:lnRef idx="2">
            <a:schemeClr val="accent1"/>
          </a:lnRef>
          <a:fillRef idx="1">
            <a:schemeClr val="lt1"/>
          </a:fillRef>
          <a:effectRef idx="0">
            <a:schemeClr val="accent1"/>
          </a:effectRef>
          <a:fontRef idx="minor">
            <a:schemeClr val="dk1"/>
          </a:fontRef>
        </p:style>
        <p:txBody>
          <a:bodyPr rtlCol="0" anchor="b"/>
          <a:lstStyle/>
          <a:p>
            <a:pPr algn="ctr" fontAlgn="auto">
              <a:spcBef>
                <a:spcPts val="0"/>
              </a:spcBef>
              <a:spcAft>
                <a:spcPts val="0"/>
              </a:spcAft>
            </a:pPr>
            <a:r>
              <a:rPr lang="en-GB" dirty="0" smtClean="0">
                <a:solidFill>
                  <a:prstClr val="black"/>
                </a:solidFill>
              </a:rPr>
              <a:t>DBAG Operated XBID Infrastructure</a:t>
            </a:r>
          </a:p>
        </p:txBody>
      </p:sp>
      <p:sp>
        <p:nvSpPr>
          <p:cNvPr id="43" name="Rectangle 42"/>
          <p:cNvSpPr/>
          <p:nvPr/>
        </p:nvSpPr>
        <p:spPr>
          <a:xfrm>
            <a:off x="5635691" y="3706177"/>
            <a:ext cx="1498277" cy="2372504"/>
          </a:xfrm>
          <a:prstGeom prst="rect">
            <a:avLst/>
          </a:prstGeom>
          <a:ln/>
        </p:spPr>
        <p:style>
          <a:lnRef idx="2">
            <a:schemeClr val="accent1"/>
          </a:lnRef>
          <a:fillRef idx="1">
            <a:schemeClr val="lt1"/>
          </a:fillRef>
          <a:effectRef idx="0">
            <a:schemeClr val="accent1"/>
          </a:effectRef>
          <a:fontRef idx="minor">
            <a:schemeClr val="dk1"/>
          </a:fontRef>
        </p:style>
        <p:txBody>
          <a:bodyPr rtlCol="0" anchor="b"/>
          <a:lstStyle/>
          <a:p>
            <a:pPr algn="ctr" fontAlgn="auto">
              <a:spcBef>
                <a:spcPts val="0"/>
              </a:spcBef>
              <a:spcAft>
                <a:spcPts val="0"/>
              </a:spcAft>
            </a:pPr>
            <a:r>
              <a:rPr lang="en-GB" dirty="0" smtClean="0">
                <a:solidFill>
                  <a:prstClr val="black"/>
                </a:solidFill>
              </a:rPr>
              <a:t>Data</a:t>
            </a:r>
          </a:p>
          <a:p>
            <a:pPr algn="ctr" fontAlgn="auto">
              <a:spcBef>
                <a:spcPts val="0"/>
              </a:spcBef>
              <a:spcAft>
                <a:spcPts val="0"/>
              </a:spcAft>
            </a:pPr>
            <a:r>
              <a:rPr lang="en-GB" dirty="0" smtClean="0">
                <a:solidFill>
                  <a:prstClr val="black"/>
                </a:solidFill>
              </a:rPr>
              <a:t>Centre A</a:t>
            </a:r>
            <a:endParaRPr lang="en-GB" dirty="0">
              <a:solidFill>
                <a:prstClr val="black"/>
              </a:solidFill>
            </a:endParaRPr>
          </a:p>
        </p:txBody>
      </p:sp>
      <p:sp>
        <p:nvSpPr>
          <p:cNvPr id="44" name="Rectangle 43"/>
          <p:cNvSpPr/>
          <p:nvPr/>
        </p:nvSpPr>
        <p:spPr>
          <a:xfrm>
            <a:off x="7267063" y="3706176"/>
            <a:ext cx="1444338" cy="2372504"/>
          </a:xfrm>
          <a:prstGeom prst="rect">
            <a:avLst/>
          </a:prstGeom>
          <a:ln/>
        </p:spPr>
        <p:style>
          <a:lnRef idx="2">
            <a:schemeClr val="accent1"/>
          </a:lnRef>
          <a:fillRef idx="1">
            <a:schemeClr val="lt1"/>
          </a:fillRef>
          <a:effectRef idx="0">
            <a:schemeClr val="accent1"/>
          </a:effectRef>
          <a:fontRef idx="minor">
            <a:schemeClr val="dk1"/>
          </a:fontRef>
        </p:style>
        <p:txBody>
          <a:bodyPr rtlCol="0" anchor="b"/>
          <a:lstStyle/>
          <a:p>
            <a:pPr algn="ctr" fontAlgn="auto">
              <a:spcBef>
                <a:spcPts val="0"/>
              </a:spcBef>
              <a:spcAft>
                <a:spcPts val="0"/>
              </a:spcAft>
            </a:pPr>
            <a:r>
              <a:rPr lang="en-GB" dirty="0" smtClean="0">
                <a:solidFill>
                  <a:prstClr val="black"/>
                </a:solidFill>
              </a:rPr>
              <a:t>Data</a:t>
            </a:r>
          </a:p>
          <a:p>
            <a:pPr algn="ctr" fontAlgn="auto">
              <a:spcBef>
                <a:spcPts val="0"/>
              </a:spcBef>
              <a:spcAft>
                <a:spcPts val="0"/>
              </a:spcAft>
            </a:pPr>
            <a:r>
              <a:rPr lang="en-GB" dirty="0" smtClean="0">
                <a:solidFill>
                  <a:prstClr val="black"/>
                </a:solidFill>
              </a:rPr>
              <a:t>Centre B</a:t>
            </a:r>
            <a:endParaRPr lang="en-GB" dirty="0">
              <a:solidFill>
                <a:prstClr val="black"/>
              </a:solidFill>
            </a:endParaRPr>
          </a:p>
        </p:txBody>
      </p:sp>
      <p:sp>
        <p:nvSpPr>
          <p:cNvPr id="2" name="Title 1"/>
          <p:cNvSpPr>
            <a:spLocks noGrp="1"/>
          </p:cNvSpPr>
          <p:nvPr>
            <p:ph type="title"/>
          </p:nvPr>
        </p:nvSpPr>
        <p:spPr>
          <a:xfrm>
            <a:off x="180000" y="542345"/>
            <a:ext cx="8784000" cy="1254416"/>
          </a:xfrm>
        </p:spPr>
        <p:txBody>
          <a:bodyPr>
            <a:normAutofit/>
          </a:bodyPr>
          <a:lstStyle/>
          <a:p>
            <a:r>
              <a:rPr lang="en-GB" sz="2800" noProof="0" dirty="0" smtClean="0">
                <a:cs typeface="Arial" panose="020B0604020202020204" pitchFamily="34" charset="0"/>
              </a:rPr>
              <a:t>XBID’s Focus on Reliability</a:t>
            </a:r>
            <a:br>
              <a:rPr lang="en-GB" sz="2800" noProof="0" dirty="0" smtClean="0">
                <a:cs typeface="Arial" panose="020B0604020202020204" pitchFamily="34" charset="0"/>
              </a:rPr>
            </a:br>
            <a:endParaRPr lang="en-GB" sz="2800" b="1" noProof="0" dirty="0">
              <a:solidFill>
                <a:schemeClr val="tx1"/>
              </a:solidFill>
              <a:ea typeface="+mn-ea"/>
              <a:cs typeface="Arial" panose="020B0604020202020204" pitchFamily="34" charset="0"/>
            </a:endParaRPr>
          </a:p>
        </p:txBody>
      </p:sp>
      <p:sp>
        <p:nvSpPr>
          <p:cNvPr id="4" name="Slide Number Placeholder 3"/>
          <p:cNvSpPr>
            <a:spLocks noGrp="1"/>
          </p:cNvSpPr>
          <p:nvPr>
            <p:ph type="sldNum" sz="quarter" idx="4"/>
          </p:nvPr>
        </p:nvSpPr>
        <p:spPr/>
        <p:txBody>
          <a:bodyPr/>
          <a:lstStyle/>
          <a:p>
            <a:r>
              <a:rPr lang="en-US" sz="825" dirty="0">
                <a:solidFill>
                  <a:prstClr val="black">
                    <a:tint val="75000"/>
                  </a:prstClr>
                </a:solidFill>
              </a:rPr>
              <a:t>Deutsche Börse Group</a:t>
            </a:r>
            <a:r>
              <a:rPr lang="en-US" dirty="0" smtClean="0">
                <a:solidFill>
                  <a:prstClr val="black">
                    <a:tint val="75000"/>
                  </a:prstClr>
                </a:solidFill>
              </a:rPr>
              <a:t>	</a:t>
            </a:r>
            <a:fld id="{92F7DF68-39C9-4B8A-BEDC-AE012F5E4423}" type="slidenum">
              <a:rPr lang="en-US" smtClean="0">
                <a:solidFill>
                  <a:prstClr val="black">
                    <a:tint val="75000"/>
                  </a:prstClr>
                </a:solidFill>
              </a:rPr>
              <a:pPr/>
              <a:t>80</a:t>
            </a:fld>
            <a:endParaRPr lang="en-US" dirty="0">
              <a:solidFill>
                <a:prstClr val="black">
                  <a:tint val="75000"/>
                </a:prstClr>
              </a:solidFill>
            </a:endParaRPr>
          </a:p>
        </p:txBody>
      </p:sp>
      <p:sp>
        <p:nvSpPr>
          <p:cNvPr id="25" name="Rectangle 24"/>
          <p:cNvSpPr/>
          <p:nvPr/>
        </p:nvSpPr>
        <p:spPr>
          <a:xfrm>
            <a:off x="5635691" y="4195362"/>
            <a:ext cx="3075710" cy="105204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fontAlgn="auto">
              <a:spcBef>
                <a:spcPts val="0"/>
              </a:spcBef>
              <a:spcAft>
                <a:spcPts val="0"/>
              </a:spcAft>
            </a:pPr>
            <a:r>
              <a:rPr lang="en-GB" dirty="0" smtClean="0">
                <a:solidFill>
                  <a:srgbClr val="FFFFFF"/>
                </a:solidFill>
              </a:rPr>
              <a:t>XBID Modules</a:t>
            </a:r>
            <a:endParaRPr lang="en-GB" dirty="0">
              <a:solidFill>
                <a:srgbClr val="FFFFFF"/>
              </a:solidFill>
            </a:endParaRPr>
          </a:p>
        </p:txBody>
      </p:sp>
      <p:sp>
        <p:nvSpPr>
          <p:cNvPr id="26" name="Rectangle 25"/>
          <p:cNvSpPr/>
          <p:nvPr/>
        </p:nvSpPr>
        <p:spPr>
          <a:xfrm>
            <a:off x="5418235" y="2714993"/>
            <a:ext cx="3545765" cy="606942"/>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fontAlgn="auto">
              <a:spcBef>
                <a:spcPts val="0"/>
              </a:spcBef>
              <a:spcAft>
                <a:spcPts val="0"/>
              </a:spcAft>
            </a:pPr>
            <a:r>
              <a:rPr lang="de-DE" dirty="0" smtClean="0">
                <a:solidFill>
                  <a:prstClr val="black"/>
                </a:solidFill>
              </a:rPr>
              <a:t>Private Network Infrastructure</a:t>
            </a:r>
            <a:endParaRPr lang="en-GB" dirty="0">
              <a:solidFill>
                <a:prstClr val="black"/>
              </a:solidFill>
            </a:endParaRPr>
          </a:p>
        </p:txBody>
      </p:sp>
      <p:sp>
        <p:nvSpPr>
          <p:cNvPr id="28" name="Rectangle 27"/>
          <p:cNvSpPr/>
          <p:nvPr/>
        </p:nvSpPr>
        <p:spPr>
          <a:xfrm>
            <a:off x="5418235" y="1860724"/>
            <a:ext cx="1126326" cy="65185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fontAlgn="auto">
              <a:spcBef>
                <a:spcPts val="0"/>
              </a:spcBef>
              <a:spcAft>
                <a:spcPts val="0"/>
              </a:spcAft>
            </a:pPr>
            <a:r>
              <a:rPr lang="en-GB" sz="1400" dirty="0" smtClean="0">
                <a:solidFill>
                  <a:srgbClr val="FFFFFF"/>
                </a:solidFill>
              </a:rPr>
              <a:t>Local Power </a:t>
            </a:r>
            <a:br>
              <a:rPr lang="en-GB" sz="1400" dirty="0" smtClean="0">
                <a:solidFill>
                  <a:srgbClr val="FFFFFF"/>
                </a:solidFill>
              </a:rPr>
            </a:br>
            <a:r>
              <a:rPr lang="en-GB" sz="1400" dirty="0" smtClean="0">
                <a:solidFill>
                  <a:srgbClr val="FFFFFF"/>
                </a:solidFill>
              </a:rPr>
              <a:t>Exchange</a:t>
            </a:r>
            <a:endParaRPr lang="en-GB" sz="1400" dirty="0">
              <a:solidFill>
                <a:srgbClr val="FFFFFF"/>
              </a:solidFill>
            </a:endParaRPr>
          </a:p>
        </p:txBody>
      </p:sp>
      <p:sp>
        <p:nvSpPr>
          <p:cNvPr id="29" name="Rectangle 28"/>
          <p:cNvSpPr/>
          <p:nvPr/>
        </p:nvSpPr>
        <p:spPr>
          <a:xfrm>
            <a:off x="7837673" y="1860724"/>
            <a:ext cx="1126326" cy="65185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fontAlgn="auto">
              <a:spcBef>
                <a:spcPts val="0"/>
              </a:spcBef>
              <a:spcAft>
                <a:spcPts val="0"/>
              </a:spcAft>
            </a:pPr>
            <a:r>
              <a:rPr lang="en-GB" sz="1400" dirty="0">
                <a:solidFill>
                  <a:srgbClr val="FFFFFF"/>
                </a:solidFill>
              </a:rPr>
              <a:t>Local Power </a:t>
            </a:r>
            <a:r>
              <a:rPr lang="en-GB" sz="1400" dirty="0" smtClean="0">
                <a:solidFill>
                  <a:srgbClr val="FFFFFF"/>
                </a:solidFill>
              </a:rPr>
              <a:t/>
            </a:r>
            <a:br>
              <a:rPr lang="en-GB" sz="1400" dirty="0" smtClean="0">
                <a:solidFill>
                  <a:srgbClr val="FFFFFF"/>
                </a:solidFill>
              </a:rPr>
            </a:br>
            <a:r>
              <a:rPr lang="en-GB" sz="1400" dirty="0" smtClean="0">
                <a:solidFill>
                  <a:srgbClr val="FFFFFF"/>
                </a:solidFill>
              </a:rPr>
              <a:t>Exchange</a:t>
            </a:r>
            <a:endParaRPr lang="en-GB" sz="1400" dirty="0">
              <a:solidFill>
                <a:srgbClr val="FFFFFF"/>
              </a:solidFill>
            </a:endParaRPr>
          </a:p>
        </p:txBody>
      </p:sp>
      <p:sp>
        <p:nvSpPr>
          <p:cNvPr id="40" name="Rectangle 39"/>
          <p:cNvSpPr/>
          <p:nvPr/>
        </p:nvSpPr>
        <p:spPr>
          <a:xfrm>
            <a:off x="6627954" y="1860957"/>
            <a:ext cx="1126326" cy="65185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fontAlgn="auto">
              <a:spcBef>
                <a:spcPts val="0"/>
              </a:spcBef>
              <a:spcAft>
                <a:spcPts val="0"/>
              </a:spcAft>
            </a:pPr>
            <a:r>
              <a:rPr lang="en-GB" sz="1400" dirty="0">
                <a:solidFill>
                  <a:srgbClr val="FFFFFF"/>
                </a:solidFill>
              </a:rPr>
              <a:t>Local Power </a:t>
            </a:r>
            <a:r>
              <a:rPr lang="en-GB" sz="1400" dirty="0" smtClean="0">
                <a:solidFill>
                  <a:srgbClr val="FFFFFF"/>
                </a:solidFill>
              </a:rPr>
              <a:t/>
            </a:r>
            <a:br>
              <a:rPr lang="en-GB" sz="1400" dirty="0" smtClean="0">
                <a:solidFill>
                  <a:srgbClr val="FFFFFF"/>
                </a:solidFill>
              </a:rPr>
            </a:br>
            <a:r>
              <a:rPr lang="en-GB" sz="1400" dirty="0" smtClean="0">
                <a:solidFill>
                  <a:srgbClr val="FFFFFF"/>
                </a:solidFill>
              </a:rPr>
              <a:t>Exchange</a:t>
            </a:r>
            <a:endParaRPr lang="en-GB" sz="1400" dirty="0">
              <a:solidFill>
                <a:srgbClr val="FFFFFF"/>
              </a:solidFill>
            </a:endParaRPr>
          </a:p>
        </p:txBody>
      </p:sp>
      <p:sp>
        <p:nvSpPr>
          <p:cNvPr id="42" name="Rectangle 41"/>
          <p:cNvSpPr/>
          <p:nvPr/>
        </p:nvSpPr>
        <p:spPr>
          <a:xfrm>
            <a:off x="5635691" y="3791979"/>
            <a:ext cx="3075710" cy="280658"/>
          </a:xfrm>
          <a:prstGeom prst="rect">
            <a:avLst/>
          </a:prstGeom>
          <a:pattFill prst="pct50">
            <a:fgClr>
              <a:schemeClr val="bg1"/>
            </a:fgClr>
            <a:bgClr>
              <a:srgbClr val="BC00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de-DE" dirty="0" smtClean="0">
                <a:solidFill>
                  <a:srgbClr val="FFFFFF"/>
                </a:solidFill>
              </a:rPr>
              <a:t>Security Systems</a:t>
            </a:r>
            <a:endParaRPr lang="en-GB" dirty="0">
              <a:solidFill>
                <a:srgbClr val="FFFFFF"/>
              </a:solidFill>
            </a:endParaRPr>
          </a:p>
        </p:txBody>
      </p:sp>
      <p:sp>
        <p:nvSpPr>
          <p:cNvPr id="45" name="Content Placeholder 2"/>
          <p:cNvSpPr txBox="1">
            <a:spLocks/>
          </p:cNvSpPr>
          <p:nvPr/>
        </p:nvSpPr>
        <p:spPr bwMode="gray">
          <a:xfrm>
            <a:off x="187036" y="1580168"/>
            <a:ext cx="4727938" cy="5151138"/>
          </a:xfrm>
          <a:prstGeom prst="rect">
            <a:avLst/>
          </a:prstGeom>
        </p:spPr>
        <p:txBody>
          <a:bodyPr vert="horz" lIns="252000" tIns="45720" rIns="91440" bIns="45720" rtlCol="0" anchor="t" anchorCtr="0">
            <a:normAutofit/>
          </a:bodyPr>
          <a:lstStyle>
            <a:lvl1pPr marL="0" indent="0" algn="l" defTabSz="914400" rtl="0" eaLnBrk="1" latinLnBrk="0" hangingPunct="1">
              <a:spcBef>
                <a:spcPts val="0"/>
              </a:spcBef>
              <a:spcAft>
                <a:spcPts val="600"/>
              </a:spcAft>
              <a:buFont typeface="Arial" pitchFamily="34" charset="0"/>
              <a:buNone/>
              <a:defRPr lang="en-GB" sz="2800" kern="1200">
                <a:solidFill>
                  <a:srgbClr val="999999"/>
                </a:solidFill>
                <a:latin typeface="Arial" pitchFamily="34" charset="0"/>
                <a:ea typeface="+mj-ea"/>
                <a:cs typeface="+mj-cs"/>
              </a:defRPr>
            </a:lvl1pPr>
            <a:lvl2pPr marL="180000" indent="-180000" algn="l" defTabSz="914400" rtl="0" eaLnBrk="1" latinLnBrk="0" hangingPunct="1">
              <a:spcBef>
                <a:spcPts val="0"/>
              </a:spcBef>
              <a:spcAft>
                <a:spcPts val="600"/>
              </a:spcAft>
              <a:buSzPct val="100000"/>
              <a:buFont typeface="Wingdings" pitchFamily="2" charset="2"/>
              <a:buChar char="§"/>
              <a:defRPr sz="1600" kern="1200">
                <a:solidFill>
                  <a:schemeClr val="tx1"/>
                </a:solidFill>
                <a:latin typeface="Arial" pitchFamily="34" charset="0"/>
                <a:ea typeface="+mn-ea"/>
                <a:cs typeface="+mn-cs"/>
              </a:defRPr>
            </a:lvl2pPr>
            <a:lvl3pPr marL="360000" indent="-180000" algn="l" defTabSz="914400" rtl="0" eaLnBrk="1" latinLnBrk="0" hangingPunct="1">
              <a:spcBef>
                <a:spcPts val="0"/>
              </a:spcBef>
              <a:spcAft>
                <a:spcPts val="600"/>
              </a:spcAft>
              <a:buSzPct val="80000"/>
              <a:buFont typeface="Wingdings" pitchFamily="2" charset="2"/>
              <a:buChar char="§"/>
              <a:defRPr sz="1600" kern="1200">
                <a:solidFill>
                  <a:schemeClr val="tx1"/>
                </a:solidFill>
                <a:latin typeface="Arial" pitchFamily="34" charset="0"/>
                <a:ea typeface="+mn-ea"/>
                <a:cs typeface="+mn-cs"/>
              </a:defRPr>
            </a:lvl3pPr>
            <a:lvl4pPr marL="540000" indent="-180000" algn="l" defTabSz="914400" rtl="0" eaLnBrk="1" latinLnBrk="0" hangingPunct="1">
              <a:spcBef>
                <a:spcPts val="0"/>
              </a:spcBef>
              <a:spcAft>
                <a:spcPts val="600"/>
              </a:spcAft>
              <a:buFont typeface="Arial" pitchFamily="34" charset="0"/>
              <a:buChar char="–"/>
              <a:defRPr sz="1600" kern="1200">
                <a:solidFill>
                  <a:schemeClr val="tx1"/>
                </a:solidFill>
                <a:latin typeface="Arial"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fontAlgn="auto">
              <a:buFont typeface="Arial" pitchFamily="34" charset="0"/>
              <a:buChar char="•"/>
            </a:pPr>
            <a:r>
              <a:rPr altLang="en-US" sz="1800" dirty="0" smtClean="0">
                <a:solidFill>
                  <a:srgbClr val="000099"/>
                </a:solidFill>
              </a:rPr>
              <a:t>Two independent data centres interconnected through a redundant dark fibre network</a:t>
            </a:r>
          </a:p>
          <a:p>
            <a:pPr marL="285750" indent="-285750" fontAlgn="auto">
              <a:buFont typeface="Arial" pitchFamily="34" charset="0"/>
              <a:buChar char="•"/>
            </a:pPr>
            <a:r>
              <a:rPr altLang="en-US" sz="1800" dirty="0" smtClean="0">
                <a:solidFill>
                  <a:srgbClr val="000099"/>
                </a:solidFill>
              </a:rPr>
              <a:t>Mutual system redundancy of all server and network components</a:t>
            </a:r>
          </a:p>
          <a:p>
            <a:pPr marL="285750" indent="-285750" fontAlgn="auto">
              <a:buFont typeface="Arial" pitchFamily="34" charset="0"/>
              <a:buChar char="•"/>
            </a:pPr>
            <a:r>
              <a:rPr altLang="en-US" sz="1800" dirty="0" smtClean="0">
                <a:solidFill>
                  <a:srgbClr val="000099"/>
                </a:solidFill>
              </a:rPr>
              <a:t>Mixture of active/active and active/passive mode in hot-standby </a:t>
            </a:r>
          </a:p>
          <a:p>
            <a:pPr marL="285750" indent="-285750" fontAlgn="auto">
              <a:buFont typeface="Arial" pitchFamily="34" charset="0"/>
              <a:buChar char="•"/>
            </a:pPr>
            <a:r>
              <a:rPr altLang="en-US" sz="1800" dirty="0" smtClean="0">
                <a:solidFill>
                  <a:srgbClr val="000099"/>
                </a:solidFill>
              </a:rPr>
              <a:t>Continuously applied backup and disaster recovery services</a:t>
            </a:r>
          </a:p>
          <a:p>
            <a:pPr marL="285750" indent="-285750" fontAlgn="auto">
              <a:buFont typeface="Arial" pitchFamily="34" charset="0"/>
              <a:buChar char="•"/>
            </a:pPr>
            <a:r>
              <a:rPr altLang="en-US" sz="1800" dirty="0" smtClean="0">
                <a:solidFill>
                  <a:srgbClr val="000099"/>
                </a:solidFill>
              </a:rPr>
              <a:t>DBAG owns the software and infrastructure</a:t>
            </a:r>
          </a:p>
          <a:p>
            <a:pPr marL="285750" indent="-285750" fontAlgn="auto">
              <a:buFont typeface="Arial" pitchFamily="34" charset="0"/>
              <a:buChar char="•"/>
            </a:pPr>
            <a:r>
              <a:rPr altLang="en-US" sz="1800" dirty="0" smtClean="0">
                <a:solidFill>
                  <a:srgbClr val="000099"/>
                </a:solidFill>
              </a:rPr>
              <a:t>The chosen architecture allows local markets to remain functional during a potential unavailability of the central component</a:t>
            </a:r>
          </a:p>
          <a:p>
            <a:pPr marL="285750" indent="-285750" fontAlgn="auto">
              <a:buFont typeface="Arial" pitchFamily="34" charset="0"/>
              <a:buChar char="•"/>
            </a:pPr>
            <a:endParaRPr altLang="en-US" sz="1800" dirty="0">
              <a:solidFill>
                <a:srgbClr val="000099"/>
              </a:solidFill>
            </a:endParaRPr>
          </a:p>
        </p:txBody>
      </p:sp>
      <p:cxnSp>
        <p:nvCxnSpPr>
          <p:cNvPr id="46" name="Straight Connector 45"/>
          <p:cNvCxnSpPr>
            <a:stCxn id="28" idx="2"/>
          </p:cNvCxnSpPr>
          <p:nvPr/>
        </p:nvCxnSpPr>
        <p:spPr>
          <a:xfrm>
            <a:off x="5981398" y="2512574"/>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170007" y="2530007"/>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400836" y="2526311"/>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8113761" y="3330186"/>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6440669" y="3318806"/>
            <a:ext cx="3539" cy="207830"/>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5511318" y="1142999"/>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56" name="Oval 55"/>
          <p:cNvSpPr/>
          <p:nvPr/>
        </p:nvSpPr>
        <p:spPr>
          <a:xfrm>
            <a:off x="5663718" y="1295399"/>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57" name="Oval 56"/>
          <p:cNvSpPr/>
          <p:nvPr/>
        </p:nvSpPr>
        <p:spPr>
          <a:xfrm>
            <a:off x="5811998" y="1137060"/>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58" name="Oval 57"/>
          <p:cNvSpPr/>
          <p:nvPr/>
        </p:nvSpPr>
        <p:spPr>
          <a:xfrm>
            <a:off x="5952457" y="130216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59" name="Oval 58"/>
          <p:cNvSpPr/>
          <p:nvPr/>
        </p:nvSpPr>
        <p:spPr>
          <a:xfrm>
            <a:off x="5892356" y="148524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0" name="Oval 59"/>
          <p:cNvSpPr/>
          <p:nvPr/>
        </p:nvSpPr>
        <p:spPr>
          <a:xfrm>
            <a:off x="5428545" y="1331681"/>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1" name="Oval 60"/>
          <p:cNvSpPr/>
          <p:nvPr/>
        </p:nvSpPr>
        <p:spPr>
          <a:xfrm>
            <a:off x="5612733" y="152036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2" name="Oval 61"/>
          <p:cNvSpPr/>
          <p:nvPr/>
        </p:nvSpPr>
        <p:spPr>
          <a:xfrm>
            <a:off x="6865786" y="111769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3" name="Oval 62"/>
          <p:cNvSpPr/>
          <p:nvPr/>
        </p:nvSpPr>
        <p:spPr>
          <a:xfrm>
            <a:off x="7018186" y="127009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4" name="Oval 63"/>
          <p:cNvSpPr/>
          <p:nvPr/>
        </p:nvSpPr>
        <p:spPr>
          <a:xfrm>
            <a:off x="7166466" y="111175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5" name="Oval 64"/>
          <p:cNvSpPr/>
          <p:nvPr/>
        </p:nvSpPr>
        <p:spPr>
          <a:xfrm>
            <a:off x="7284052" y="1276859"/>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6" name="Oval 65"/>
          <p:cNvSpPr/>
          <p:nvPr/>
        </p:nvSpPr>
        <p:spPr>
          <a:xfrm>
            <a:off x="7135772" y="1460111"/>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7" name="Oval 66"/>
          <p:cNvSpPr/>
          <p:nvPr/>
        </p:nvSpPr>
        <p:spPr>
          <a:xfrm>
            <a:off x="6710947" y="126158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8" name="Oval 67"/>
          <p:cNvSpPr/>
          <p:nvPr/>
        </p:nvSpPr>
        <p:spPr>
          <a:xfrm>
            <a:off x="6886085" y="1466286"/>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69" name="Oval 68"/>
          <p:cNvSpPr/>
          <p:nvPr/>
        </p:nvSpPr>
        <p:spPr>
          <a:xfrm>
            <a:off x="8095359" y="1063498"/>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0" name="Oval 69"/>
          <p:cNvSpPr/>
          <p:nvPr/>
        </p:nvSpPr>
        <p:spPr>
          <a:xfrm>
            <a:off x="8025206" y="1235886"/>
            <a:ext cx="317947" cy="188479"/>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1" name="Oval 70"/>
          <p:cNvSpPr/>
          <p:nvPr/>
        </p:nvSpPr>
        <p:spPr>
          <a:xfrm>
            <a:off x="8396039" y="1057559"/>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2" name="Oval 71"/>
          <p:cNvSpPr/>
          <p:nvPr/>
        </p:nvSpPr>
        <p:spPr>
          <a:xfrm>
            <a:off x="8291072" y="1242651"/>
            <a:ext cx="317947" cy="188479"/>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3" name="Oval 72"/>
          <p:cNvSpPr/>
          <p:nvPr/>
        </p:nvSpPr>
        <p:spPr>
          <a:xfrm>
            <a:off x="8142792" y="1425903"/>
            <a:ext cx="317947" cy="188479"/>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4" name="Oval 73"/>
          <p:cNvSpPr/>
          <p:nvPr/>
        </p:nvSpPr>
        <p:spPr>
          <a:xfrm>
            <a:off x="6900599" y="98153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5" name="Oval 74"/>
          <p:cNvSpPr/>
          <p:nvPr/>
        </p:nvSpPr>
        <p:spPr>
          <a:xfrm>
            <a:off x="7959699" y="1463878"/>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6" name="Oval 75"/>
          <p:cNvSpPr/>
          <p:nvPr/>
        </p:nvSpPr>
        <p:spPr>
          <a:xfrm>
            <a:off x="7476733" y="107026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7" name="Oval 76"/>
          <p:cNvSpPr/>
          <p:nvPr/>
        </p:nvSpPr>
        <p:spPr>
          <a:xfrm>
            <a:off x="7629133" y="122266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78" name="Oval 77"/>
          <p:cNvSpPr/>
          <p:nvPr/>
        </p:nvSpPr>
        <p:spPr>
          <a:xfrm>
            <a:off x="7777413" y="106432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0" name="Oval 79"/>
          <p:cNvSpPr/>
          <p:nvPr/>
        </p:nvSpPr>
        <p:spPr>
          <a:xfrm>
            <a:off x="7746719" y="1412680"/>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2" name="Oval 81"/>
          <p:cNvSpPr/>
          <p:nvPr/>
        </p:nvSpPr>
        <p:spPr>
          <a:xfrm>
            <a:off x="7423214" y="1427434"/>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3" name="Oval 82"/>
          <p:cNvSpPr/>
          <p:nvPr/>
        </p:nvSpPr>
        <p:spPr>
          <a:xfrm>
            <a:off x="6361844" y="1117693"/>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4" name="Oval 83"/>
          <p:cNvSpPr/>
          <p:nvPr/>
        </p:nvSpPr>
        <p:spPr>
          <a:xfrm>
            <a:off x="6355781" y="128995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5" name="Oval 84"/>
          <p:cNvSpPr/>
          <p:nvPr/>
        </p:nvSpPr>
        <p:spPr>
          <a:xfrm>
            <a:off x="6597859" y="1049082"/>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6" name="Oval 85"/>
          <p:cNvSpPr/>
          <p:nvPr/>
        </p:nvSpPr>
        <p:spPr>
          <a:xfrm>
            <a:off x="6716346" y="1495915"/>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7" name="Oval 86"/>
          <p:cNvSpPr/>
          <p:nvPr/>
        </p:nvSpPr>
        <p:spPr>
          <a:xfrm>
            <a:off x="6473367" y="1479972"/>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8" name="Oval 87"/>
          <p:cNvSpPr/>
          <p:nvPr/>
        </p:nvSpPr>
        <p:spPr>
          <a:xfrm>
            <a:off x="5996495" y="1096800"/>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89" name="Oval 88"/>
          <p:cNvSpPr/>
          <p:nvPr/>
        </p:nvSpPr>
        <p:spPr>
          <a:xfrm>
            <a:off x="6192340" y="1517500"/>
            <a:ext cx="235173" cy="145473"/>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endParaRPr lang="en-GB">
              <a:solidFill>
                <a:prstClr val="black"/>
              </a:solidFill>
            </a:endParaRPr>
          </a:p>
        </p:txBody>
      </p:sp>
      <p:sp>
        <p:nvSpPr>
          <p:cNvPr id="90" name="TextBox 89"/>
          <p:cNvSpPr txBox="1"/>
          <p:nvPr/>
        </p:nvSpPr>
        <p:spPr>
          <a:xfrm>
            <a:off x="6250215" y="789768"/>
            <a:ext cx="1726756" cy="338554"/>
          </a:xfrm>
          <a:prstGeom prst="rect">
            <a:avLst/>
          </a:prstGeom>
          <a:noFill/>
        </p:spPr>
        <p:txBody>
          <a:bodyPr wrap="none" rtlCol="0">
            <a:spAutoFit/>
          </a:bodyPr>
          <a:lstStyle/>
          <a:p>
            <a:pPr algn="ctr" fontAlgn="auto">
              <a:spcBef>
                <a:spcPts val="0"/>
              </a:spcBef>
              <a:spcAft>
                <a:spcPts val="0"/>
              </a:spcAft>
            </a:pPr>
            <a:r>
              <a:rPr lang="de-DE" sz="1600" dirty="0" smtClean="0">
                <a:solidFill>
                  <a:prstClr val="black"/>
                </a:solidFill>
                <a:latin typeface="Arial" pitchFamily="34" charset="0"/>
                <a:ea typeface="+mn-ea"/>
                <a:cs typeface="Arial" pitchFamily="34" charset="0"/>
              </a:rPr>
              <a:t>Market Members</a:t>
            </a:r>
            <a:endParaRPr lang="en-GB" sz="1600" dirty="0">
              <a:solidFill>
                <a:prstClr val="black"/>
              </a:solidFill>
              <a:latin typeface="Arial" pitchFamily="34" charset="0"/>
              <a:ea typeface="+mn-ea"/>
              <a:cs typeface="Arial" pitchFamily="34" charset="0"/>
            </a:endParaRPr>
          </a:p>
        </p:txBody>
      </p:sp>
      <p:cxnSp>
        <p:nvCxnSpPr>
          <p:cNvPr id="91" name="Straight Connector 90"/>
          <p:cNvCxnSpPr>
            <a:stCxn id="61" idx="4"/>
            <a:endCxn id="28" idx="0"/>
          </p:cNvCxnSpPr>
          <p:nvPr/>
        </p:nvCxnSpPr>
        <p:spPr>
          <a:xfrm>
            <a:off x="5730320" y="1665836"/>
            <a:ext cx="251078" cy="194888"/>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endCxn id="29" idx="0"/>
          </p:cNvCxnSpPr>
          <p:nvPr/>
        </p:nvCxnSpPr>
        <p:spPr>
          <a:xfrm>
            <a:off x="8343154" y="1622628"/>
            <a:ext cx="57682" cy="238096"/>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stCxn id="66" idx="4"/>
            <a:endCxn id="40" idx="0"/>
          </p:cNvCxnSpPr>
          <p:nvPr/>
        </p:nvCxnSpPr>
        <p:spPr>
          <a:xfrm flipH="1">
            <a:off x="7191117" y="1605584"/>
            <a:ext cx="62242" cy="255373"/>
          </a:xfrm>
          <a:prstGeom prst="line">
            <a:avLst/>
          </a:prstGeom>
          <a:ln>
            <a:solidFill>
              <a:srgbClr val="00009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03744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000" y="180253"/>
            <a:ext cx="8791480" cy="6497493"/>
          </a:xfrm>
          <a:prstGeom prst="rect">
            <a:avLst/>
          </a:prstGeom>
        </p:spPr>
      </p:pic>
      <p:sp>
        <p:nvSpPr>
          <p:cNvPr id="10" name="Rectangle 9"/>
          <p:cNvSpPr/>
          <p:nvPr/>
        </p:nvSpPr>
        <p:spPr bwMode="gray">
          <a:xfrm>
            <a:off x="180000" y="105798"/>
            <a:ext cx="4187960" cy="6566874"/>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GB" dirty="0">
              <a:solidFill>
                <a:srgbClr val="FFFFFF"/>
              </a:solidFill>
              <a:latin typeface="Arial" pitchFamily="34" charset="0"/>
            </a:endParaRPr>
          </a:p>
        </p:txBody>
      </p:sp>
      <p:sp>
        <p:nvSpPr>
          <p:cNvPr id="8" name="Content Placeholder 2"/>
          <p:cNvSpPr txBox="1">
            <a:spLocks/>
          </p:cNvSpPr>
          <p:nvPr/>
        </p:nvSpPr>
        <p:spPr bwMode="gray">
          <a:xfrm>
            <a:off x="179513" y="2265217"/>
            <a:ext cx="4143105" cy="2878283"/>
          </a:xfrm>
          <a:prstGeom prst="rect">
            <a:avLst/>
          </a:prstGeom>
        </p:spPr>
        <p:txBody>
          <a:bodyPr vert="horz" lIns="252000" tIns="45720" rIns="91440" bIns="45720" rtlCol="0" anchor="t" anchorCtr="0">
            <a:normAutofit/>
          </a:bodyPr>
          <a:lstStyle>
            <a:lvl1pPr marL="0" indent="0" algn="l" defTabSz="914400" rtl="0" eaLnBrk="1" latinLnBrk="0" hangingPunct="1">
              <a:spcBef>
                <a:spcPts val="0"/>
              </a:spcBef>
              <a:spcAft>
                <a:spcPts val="600"/>
              </a:spcAft>
              <a:buFont typeface="Arial" pitchFamily="34" charset="0"/>
              <a:buNone/>
              <a:defRPr lang="en-GB" sz="2800" kern="1200">
                <a:solidFill>
                  <a:srgbClr val="999999"/>
                </a:solidFill>
                <a:latin typeface="Arial" pitchFamily="34" charset="0"/>
                <a:ea typeface="+mj-ea"/>
                <a:cs typeface="+mj-cs"/>
              </a:defRPr>
            </a:lvl1pPr>
            <a:lvl2pPr marL="180000" indent="-180000" algn="l" defTabSz="914400" rtl="0" eaLnBrk="1" latinLnBrk="0" hangingPunct="1">
              <a:spcBef>
                <a:spcPts val="0"/>
              </a:spcBef>
              <a:spcAft>
                <a:spcPts val="600"/>
              </a:spcAft>
              <a:buSzPct val="100000"/>
              <a:buFont typeface="Wingdings" pitchFamily="2" charset="2"/>
              <a:buChar char="§"/>
              <a:defRPr sz="1600" kern="1200">
                <a:solidFill>
                  <a:schemeClr val="tx1"/>
                </a:solidFill>
                <a:latin typeface="Arial" pitchFamily="34" charset="0"/>
                <a:ea typeface="+mn-ea"/>
                <a:cs typeface="+mn-cs"/>
              </a:defRPr>
            </a:lvl2pPr>
            <a:lvl3pPr marL="360000" indent="-180000" algn="l" defTabSz="914400" rtl="0" eaLnBrk="1" latinLnBrk="0" hangingPunct="1">
              <a:spcBef>
                <a:spcPts val="0"/>
              </a:spcBef>
              <a:spcAft>
                <a:spcPts val="600"/>
              </a:spcAft>
              <a:buSzPct val="80000"/>
              <a:buFont typeface="Wingdings" pitchFamily="2" charset="2"/>
              <a:buChar char="§"/>
              <a:defRPr sz="1600" kern="1200">
                <a:solidFill>
                  <a:schemeClr val="tx1"/>
                </a:solidFill>
                <a:latin typeface="Arial" pitchFamily="34" charset="0"/>
                <a:ea typeface="+mn-ea"/>
                <a:cs typeface="+mn-cs"/>
              </a:defRPr>
            </a:lvl3pPr>
            <a:lvl4pPr marL="540000" indent="-180000" algn="l" defTabSz="914400" rtl="0" eaLnBrk="1" latinLnBrk="0" hangingPunct="1">
              <a:spcBef>
                <a:spcPts val="0"/>
              </a:spcBef>
              <a:spcAft>
                <a:spcPts val="600"/>
              </a:spcAft>
              <a:buFont typeface="Arial" pitchFamily="34" charset="0"/>
              <a:buChar char="–"/>
              <a:defRPr sz="1600" kern="1200">
                <a:solidFill>
                  <a:schemeClr val="tx1"/>
                </a:solidFill>
                <a:latin typeface="Arial"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fontAlgn="auto">
              <a:buFont typeface="Arial" pitchFamily="34" charset="0"/>
              <a:buChar char="•"/>
            </a:pPr>
            <a:r>
              <a:rPr lang="en-US" altLang="en-US" sz="1800" dirty="0" smtClean="0">
                <a:solidFill>
                  <a:srgbClr val="000099"/>
                </a:solidFill>
              </a:rPr>
              <a:t>Regular Source Code analysis</a:t>
            </a:r>
          </a:p>
          <a:p>
            <a:pPr marL="285750" indent="-285750" fontAlgn="auto">
              <a:buFont typeface="Arial" pitchFamily="34" charset="0"/>
              <a:buChar char="•"/>
            </a:pPr>
            <a:r>
              <a:rPr lang="en-US" altLang="en-US" sz="1800" dirty="0" smtClean="0">
                <a:solidFill>
                  <a:srgbClr val="000099"/>
                </a:solidFill>
              </a:rPr>
              <a:t>Periodical vulnerability scans</a:t>
            </a:r>
          </a:p>
          <a:p>
            <a:pPr marL="285750" indent="-285750" fontAlgn="auto">
              <a:buFont typeface="Arial" pitchFamily="34" charset="0"/>
              <a:buChar char="•"/>
            </a:pPr>
            <a:r>
              <a:rPr lang="en-US" altLang="en-US" sz="1800" dirty="0" smtClean="0">
                <a:solidFill>
                  <a:srgbClr val="000099"/>
                </a:solidFill>
              </a:rPr>
              <a:t>DDoS protection </a:t>
            </a:r>
          </a:p>
          <a:p>
            <a:pPr marL="285750" indent="-285750" fontAlgn="auto">
              <a:buFont typeface="Arial" pitchFamily="34" charset="0"/>
              <a:buChar char="•"/>
            </a:pPr>
            <a:r>
              <a:rPr lang="en-US" altLang="en-US" sz="1800" dirty="0" smtClean="0">
                <a:solidFill>
                  <a:srgbClr val="000099"/>
                </a:solidFill>
              </a:rPr>
              <a:t>Intrusion detection</a:t>
            </a:r>
          </a:p>
          <a:p>
            <a:pPr marL="285750" indent="-285750" fontAlgn="auto">
              <a:buFont typeface="Arial" pitchFamily="34" charset="0"/>
              <a:buChar char="•"/>
            </a:pPr>
            <a:r>
              <a:rPr lang="en-US" altLang="en-US" sz="1800" dirty="0" smtClean="0">
                <a:solidFill>
                  <a:srgbClr val="000099"/>
                </a:solidFill>
              </a:rPr>
              <a:t>Secure communication throughout</a:t>
            </a:r>
          </a:p>
          <a:p>
            <a:pPr marL="285750" indent="-285750" fontAlgn="auto">
              <a:buFont typeface="Arial" pitchFamily="34" charset="0"/>
              <a:buChar char="•"/>
            </a:pPr>
            <a:r>
              <a:rPr lang="en-US" altLang="en-US" sz="1800" dirty="0" smtClean="0">
                <a:solidFill>
                  <a:srgbClr val="000099"/>
                </a:solidFill>
              </a:rPr>
              <a:t>Hardened infrastructure</a:t>
            </a:r>
          </a:p>
          <a:p>
            <a:pPr marL="285750" indent="-285750" fontAlgn="auto">
              <a:buFont typeface="Arial" pitchFamily="34" charset="0"/>
              <a:buChar char="•"/>
            </a:pPr>
            <a:r>
              <a:rPr lang="en-US" altLang="en-US" sz="1800" dirty="0" smtClean="0">
                <a:solidFill>
                  <a:srgbClr val="000099"/>
                </a:solidFill>
              </a:rPr>
              <a:t>Dedicated MPLS networks for critical XBID communication</a:t>
            </a:r>
            <a:endParaRPr lang="en-US" altLang="en-US" sz="1800" dirty="0">
              <a:solidFill>
                <a:srgbClr val="000099"/>
              </a:solidFill>
            </a:endParaRPr>
          </a:p>
        </p:txBody>
      </p:sp>
      <p:sp>
        <p:nvSpPr>
          <p:cNvPr id="11" name="Title 1"/>
          <p:cNvSpPr txBox="1">
            <a:spLocks/>
          </p:cNvSpPr>
          <p:nvPr/>
        </p:nvSpPr>
        <p:spPr>
          <a:xfrm>
            <a:off x="180000" y="542345"/>
            <a:ext cx="4142618" cy="1254416"/>
          </a:xfrm>
          <a:prstGeom prst="rect">
            <a:avLst/>
          </a:prstGeom>
        </p:spPr>
        <p:txBody>
          <a:bodyPr>
            <a:normAutofit/>
          </a:bodyPr>
          <a:lstStyle>
            <a:lvl1pPr algn="l" defTabSz="914400" rtl="0" eaLnBrk="1" latinLnBrk="0" hangingPunct="1">
              <a:spcBef>
                <a:spcPct val="0"/>
              </a:spcBef>
              <a:buNone/>
              <a:defRPr sz="2400" kern="1200">
                <a:solidFill>
                  <a:schemeClr val="tx2"/>
                </a:solidFill>
                <a:latin typeface="Arial" pitchFamily="34" charset="0"/>
                <a:ea typeface="+mj-ea"/>
                <a:cs typeface="+mj-cs"/>
              </a:defRPr>
            </a:lvl1pPr>
          </a:lstStyle>
          <a:p>
            <a:pPr fontAlgn="auto">
              <a:spcAft>
                <a:spcPts val="0"/>
              </a:spcAft>
            </a:pPr>
            <a:r>
              <a:rPr lang="en-US" sz="2800" dirty="0">
                <a:solidFill>
                  <a:srgbClr val="000099"/>
                </a:solidFill>
              </a:rPr>
              <a:t>Safety and Security</a:t>
            </a:r>
            <a:endParaRPr lang="en-GB" sz="2800" dirty="0">
              <a:solidFill>
                <a:srgbClr val="000099"/>
              </a:solidFill>
              <a:cs typeface="Arial" panose="020B0604020202020204" pitchFamily="34" charset="0"/>
            </a:endParaRPr>
          </a:p>
        </p:txBody>
      </p:sp>
    </p:spTree>
    <p:extLst>
      <p:ext uri="{BB962C8B-B14F-4D97-AF65-F5344CB8AC3E}">
        <p14:creationId xmlns:p14="http://schemas.microsoft.com/office/powerpoint/2010/main" val="5484770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000" y="542345"/>
            <a:ext cx="8784000" cy="1254416"/>
          </a:xfrm>
        </p:spPr>
        <p:txBody>
          <a:bodyPr>
            <a:normAutofit/>
          </a:bodyPr>
          <a:lstStyle/>
          <a:p>
            <a:r>
              <a:rPr lang="en-GB" sz="2800" noProof="0" dirty="0" smtClean="0">
                <a:cs typeface="Arial" panose="020B0604020202020204" pitchFamily="34" charset="0"/>
              </a:rPr>
              <a:t>XBID’s Joint Quality Assurance Process</a:t>
            </a:r>
            <a:br>
              <a:rPr lang="en-GB" sz="2800" noProof="0" dirty="0" smtClean="0">
                <a:cs typeface="Arial" panose="020B0604020202020204" pitchFamily="34" charset="0"/>
              </a:rPr>
            </a:br>
            <a:endParaRPr lang="en-GB" sz="2800" b="1" noProof="0" dirty="0">
              <a:solidFill>
                <a:schemeClr val="tx1"/>
              </a:solidFill>
              <a:ea typeface="+mn-ea"/>
              <a:cs typeface="Arial" panose="020B0604020202020204" pitchFamily="34" charset="0"/>
            </a:endParaRPr>
          </a:p>
        </p:txBody>
      </p:sp>
      <p:sp>
        <p:nvSpPr>
          <p:cNvPr id="4" name="Slide Number Placeholder 3"/>
          <p:cNvSpPr>
            <a:spLocks noGrp="1"/>
          </p:cNvSpPr>
          <p:nvPr>
            <p:ph type="sldNum" sz="quarter" idx="4"/>
          </p:nvPr>
        </p:nvSpPr>
        <p:spPr/>
        <p:txBody>
          <a:bodyPr/>
          <a:lstStyle/>
          <a:p>
            <a:r>
              <a:rPr lang="en-US" sz="825" dirty="0">
                <a:solidFill>
                  <a:prstClr val="black">
                    <a:tint val="75000"/>
                  </a:prstClr>
                </a:solidFill>
              </a:rPr>
              <a:t>Deutsche Börse Group</a:t>
            </a:r>
            <a:r>
              <a:rPr lang="en-US" dirty="0" smtClean="0">
                <a:solidFill>
                  <a:prstClr val="black">
                    <a:tint val="75000"/>
                  </a:prstClr>
                </a:solidFill>
              </a:rPr>
              <a:t>	</a:t>
            </a:r>
            <a:fld id="{92F7DF68-39C9-4B8A-BEDC-AE012F5E4423}" type="slidenum">
              <a:rPr lang="en-US" smtClean="0">
                <a:solidFill>
                  <a:prstClr val="black">
                    <a:tint val="75000"/>
                  </a:prstClr>
                </a:solidFill>
              </a:rPr>
              <a:pPr/>
              <a:t>82</a:t>
            </a:fld>
            <a:endParaRPr lang="en-US" dirty="0">
              <a:solidFill>
                <a:prstClr val="black">
                  <a:tint val="75000"/>
                </a:prstClr>
              </a:solidFill>
            </a:endParaRPr>
          </a:p>
        </p:txBody>
      </p:sp>
      <p:sp>
        <p:nvSpPr>
          <p:cNvPr id="45" name="Content Placeholder 2"/>
          <p:cNvSpPr txBox="1">
            <a:spLocks/>
          </p:cNvSpPr>
          <p:nvPr/>
        </p:nvSpPr>
        <p:spPr bwMode="gray">
          <a:xfrm>
            <a:off x="187036" y="1580168"/>
            <a:ext cx="4727938" cy="5151138"/>
          </a:xfrm>
          <a:prstGeom prst="rect">
            <a:avLst/>
          </a:prstGeom>
        </p:spPr>
        <p:txBody>
          <a:bodyPr vert="horz" lIns="252000" tIns="45720" rIns="91440" bIns="45720" rtlCol="0" anchor="t" anchorCtr="0">
            <a:normAutofit/>
          </a:bodyPr>
          <a:lstStyle>
            <a:lvl1pPr marL="0" indent="0" algn="l" defTabSz="914400" rtl="0" eaLnBrk="1" latinLnBrk="0" hangingPunct="1">
              <a:spcBef>
                <a:spcPts val="0"/>
              </a:spcBef>
              <a:spcAft>
                <a:spcPts val="600"/>
              </a:spcAft>
              <a:buFont typeface="Arial" pitchFamily="34" charset="0"/>
              <a:buNone/>
              <a:defRPr lang="en-GB" sz="2800" kern="1200">
                <a:solidFill>
                  <a:srgbClr val="999999"/>
                </a:solidFill>
                <a:latin typeface="Arial" pitchFamily="34" charset="0"/>
                <a:ea typeface="+mj-ea"/>
                <a:cs typeface="+mj-cs"/>
              </a:defRPr>
            </a:lvl1pPr>
            <a:lvl2pPr marL="180000" indent="-180000" algn="l" defTabSz="914400" rtl="0" eaLnBrk="1" latinLnBrk="0" hangingPunct="1">
              <a:spcBef>
                <a:spcPts val="0"/>
              </a:spcBef>
              <a:spcAft>
                <a:spcPts val="600"/>
              </a:spcAft>
              <a:buSzPct val="100000"/>
              <a:buFont typeface="Wingdings" pitchFamily="2" charset="2"/>
              <a:buChar char="§"/>
              <a:defRPr sz="1600" kern="1200">
                <a:solidFill>
                  <a:schemeClr val="tx1"/>
                </a:solidFill>
                <a:latin typeface="Arial" pitchFamily="34" charset="0"/>
                <a:ea typeface="+mn-ea"/>
                <a:cs typeface="+mn-cs"/>
              </a:defRPr>
            </a:lvl2pPr>
            <a:lvl3pPr marL="360000" indent="-180000" algn="l" defTabSz="914400" rtl="0" eaLnBrk="1" latinLnBrk="0" hangingPunct="1">
              <a:spcBef>
                <a:spcPts val="0"/>
              </a:spcBef>
              <a:spcAft>
                <a:spcPts val="600"/>
              </a:spcAft>
              <a:buSzPct val="80000"/>
              <a:buFont typeface="Wingdings" pitchFamily="2" charset="2"/>
              <a:buChar char="§"/>
              <a:defRPr sz="1600" kern="1200">
                <a:solidFill>
                  <a:schemeClr val="tx1"/>
                </a:solidFill>
                <a:latin typeface="Arial" pitchFamily="34" charset="0"/>
                <a:ea typeface="+mn-ea"/>
                <a:cs typeface="+mn-cs"/>
              </a:defRPr>
            </a:lvl3pPr>
            <a:lvl4pPr marL="540000" indent="-180000" algn="l" defTabSz="914400" rtl="0" eaLnBrk="1" latinLnBrk="0" hangingPunct="1">
              <a:spcBef>
                <a:spcPts val="0"/>
              </a:spcBef>
              <a:spcAft>
                <a:spcPts val="600"/>
              </a:spcAft>
              <a:buFont typeface="Arial" pitchFamily="34" charset="0"/>
              <a:buChar char="–"/>
              <a:defRPr sz="1600" kern="1200">
                <a:solidFill>
                  <a:schemeClr val="tx1"/>
                </a:solidFill>
                <a:latin typeface="Arial" pitchFamily="34" charset="0"/>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fontAlgn="auto">
              <a:buFont typeface="Arial" pitchFamily="34" charset="0"/>
              <a:buChar char="•"/>
            </a:pPr>
            <a:r>
              <a:rPr altLang="en-US" sz="1800" dirty="0">
                <a:solidFill>
                  <a:srgbClr val="000099"/>
                </a:solidFill>
              </a:rPr>
              <a:t>The quality of the XBID </a:t>
            </a:r>
            <a:r>
              <a:rPr altLang="en-US" sz="1800" dirty="0" smtClean="0">
                <a:solidFill>
                  <a:srgbClr val="000099"/>
                </a:solidFill>
              </a:rPr>
              <a:t>solution </a:t>
            </a:r>
            <a:r>
              <a:rPr altLang="en-US" sz="1800" dirty="0">
                <a:solidFill>
                  <a:srgbClr val="000099"/>
                </a:solidFill>
              </a:rPr>
              <a:t>is assessed jointly by DBAG and the </a:t>
            </a:r>
            <a:r>
              <a:rPr altLang="en-US" sz="1800" dirty="0" smtClean="0">
                <a:solidFill>
                  <a:srgbClr val="000099"/>
                </a:solidFill>
              </a:rPr>
              <a:t>Project Parties</a:t>
            </a:r>
          </a:p>
          <a:p>
            <a:pPr marL="285750" indent="-285750" fontAlgn="auto">
              <a:buFont typeface="Arial" pitchFamily="34" charset="0"/>
              <a:buChar char="•"/>
            </a:pPr>
            <a:r>
              <a:rPr altLang="en-US" sz="1800" dirty="0" smtClean="0">
                <a:solidFill>
                  <a:srgbClr val="000099"/>
                </a:solidFill>
              </a:rPr>
              <a:t>Managed against pre-defined </a:t>
            </a:r>
            <a:r>
              <a:rPr altLang="en-US" sz="1800" dirty="0">
                <a:solidFill>
                  <a:srgbClr val="000099"/>
                </a:solidFill>
              </a:rPr>
              <a:t>internal and external Quality Gate </a:t>
            </a:r>
            <a:r>
              <a:rPr altLang="en-US" sz="1800" dirty="0" smtClean="0">
                <a:solidFill>
                  <a:srgbClr val="000099"/>
                </a:solidFill>
              </a:rPr>
              <a:t>Thresholds</a:t>
            </a:r>
          </a:p>
          <a:p>
            <a:pPr marL="285750" indent="-285750" fontAlgn="auto">
              <a:buFont typeface="Arial" pitchFamily="34" charset="0"/>
              <a:buChar char="•"/>
            </a:pPr>
            <a:r>
              <a:rPr altLang="en-US" sz="1800" dirty="0" smtClean="0">
                <a:solidFill>
                  <a:srgbClr val="000099"/>
                </a:solidFill>
              </a:rPr>
              <a:t>The </a:t>
            </a:r>
            <a:r>
              <a:rPr altLang="en-US" sz="1800" dirty="0">
                <a:solidFill>
                  <a:srgbClr val="000099"/>
                </a:solidFill>
              </a:rPr>
              <a:t>XBID Solution must pass all quality gate thresholds as part of the quality assurance </a:t>
            </a:r>
            <a:r>
              <a:rPr altLang="en-US" sz="1800" dirty="0" smtClean="0">
                <a:solidFill>
                  <a:srgbClr val="000099"/>
                </a:solidFill>
              </a:rPr>
              <a:t>process</a:t>
            </a:r>
          </a:p>
          <a:p>
            <a:pPr marL="285750" indent="-285750" fontAlgn="auto">
              <a:buFont typeface="Arial" pitchFamily="34" charset="0"/>
              <a:buChar char="•"/>
            </a:pPr>
            <a:r>
              <a:rPr altLang="en-US" sz="1800" dirty="0" smtClean="0">
                <a:solidFill>
                  <a:srgbClr val="000099"/>
                </a:solidFill>
              </a:rPr>
              <a:t>Project Parties and DBAG have been adamant in ensuring high-quality solution </a:t>
            </a:r>
          </a:p>
          <a:p>
            <a:pPr marL="285750" indent="-285750" fontAlgn="auto">
              <a:buFont typeface="Arial" pitchFamily="34" charset="0"/>
              <a:buChar char="•"/>
            </a:pPr>
            <a:endParaRPr altLang="en-US" sz="1800" dirty="0">
              <a:solidFill>
                <a:srgbClr val="000099"/>
              </a:solidFill>
            </a:endParaRPr>
          </a:p>
        </p:txBody>
      </p:sp>
      <p:grpSp>
        <p:nvGrpSpPr>
          <p:cNvPr id="79" name="Group 78"/>
          <p:cNvGrpSpPr/>
          <p:nvPr/>
        </p:nvGrpSpPr>
        <p:grpSpPr>
          <a:xfrm>
            <a:off x="5100044" y="1274468"/>
            <a:ext cx="3600000" cy="576000"/>
            <a:chOff x="2731" y="157651"/>
            <a:chExt cx="1482652" cy="645538"/>
          </a:xfrm>
        </p:grpSpPr>
        <p:sp>
          <p:nvSpPr>
            <p:cNvPr id="111" name="Rounded Rectangle 110"/>
            <p:cNvSpPr/>
            <p:nvPr/>
          </p:nvSpPr>
          <p:spPr>
            <a:xfrm>
              <a:off x="2731" y="157651"/>
              <a:ext cx="1482652" cy="645537"/>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2" name="Rounded Rectangle 4"/>
            <p:cNvSpPr txBox="1"/>
            <p:nvPr/>
          </p:nvSpPr>
          <p:spPr>
            <a:xfrm>
              <a:off x="28786" y="183706"/>
              <a:ext cx="1430542" cy="61948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algn="ctr" defTabSz="444500" fontAlgn="auto">
                <a:lnSpc>
                  <a:spcPct val="90000"/>
                </a:lnSpc>
                <a:spcAft>
                  <a:spcPct val="35000"/>
                </a:spcAft>
              </a:pPr>
              <a:r>
                <a:rPr lang="en-GB" sz="1400" dirty="0" smtClean="0">
                  <a:solidFill>
                    <a:srgbClr val="FFFFFF"/>
                  </a:solidFill>
                </a:rPr>
                <a:t>PX </a:t>
              </a:r>
              <a:r>
                <a:rPr lang="en-GB" sz="1400" dirty="0">
                  <a:solidFill>
                    <a:srgbClr val="FFFFFF"/>
                  </a:solidFill>
                </a:rPr>
                <a:t>and TSOs </a:t>
              </a:r>
              <a:r>
                <a:rPr lang="en-GB" sz="1400" dirty="0" smtClean="0">
                  <a:solidFill>
                    <a:srgbClr val="FFFFFF"/>
                  </a:solidFill>
                </a:rPr>
                <a:t>define requirements</a:t>
              </a:r>
            </a:p>
            <a:p>
              <a:pPr algn="ctr" defTabSz="444500" fontAlgn="auto">
                <a:lnSpc>
                  <a:spcPct val="90000"/>
                </a:lnSpc>
                <a:spcAft>
                  <a:spcPct val="35000"/>
                </a:spcAft>
              </a:pPr>
              <a:r>
                <a:rPr lang="en-GB" sz="1400" dirty="0" smtClean="0">
                  <a:solidFill>
                    <a:srgbClr val="FFFFFF"/>
                  </a:solidFill>
                </a:rPr>
                <a:t>and approve specifications</a:t>
              </a:r>
              <a:endParaRPr lang="en-US" sz="1400" dirty="0">
                <a:solidFill>
                  <a:srgbClr val="FFFFFF"/>
                </a:solidFill>
              </a:endParaRPr>
            </a:p>
          </p:txBody>
        </p:sp>
      </p:grpSp>
      <p:grpSp>
        <p:nvGrpSpPr>
          <p:cNvPr id="81" name="Group 80"/>
          <p:cNvGrpSpPr/>
          <p:nvPr/>
        </p:nvGrpSpPr>
        <p:grpSpPr>
          <a:xfrm>
            <a:off x="5100044" y="1929389"/>
            <a:ext cx="3600000" cy="576000"/>
            <a:chOff x="2731" y="2381630"/>
            <a:chExt cx="1482652" cy="889591"/>
          </a:xfrm>
        </p:grpSpPr>
        <p:sp>
          <p:nvSpPr>
            <p:cNvPr id="109" name="Rounded Rectangle 108"/>
            <p:cNvSpPr/>
            <p:nvPr/>
          </p:nvSpPr>
          <p:spPr>
            <a:xfrm>
              <a:off x="2731" y="2381630"/>
              <a:ext cx="1482652" cy="889591"/>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0" name="Rounded Rectangle 6"/>
            <p:cNvSpPr txBox="1"/>
            <p:nvPr/>
          </p:nvSpPr>
          <p:spPr>
            <a:xfrm>
              <a:off x="28786" y="2407685"/>
              <a:ext cx="1430542" cy="83748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algn="ctr" defTabSz="444500" fontAlgn="auto">
                <a:lnSpc>
                  <a:spcPct val="90000"/>
                </a:lnSpc>
                <a:spcAft>
                  <a:spcPct val="35000"/>
                </a:spcAft>
              </a:pPr>
              <a:r>
                <a:rPr lang="en-GB" sz="1400" dirty="0" smtClean="0">
                  <a:solidFill>
                    <a:srgbClr val="FFFFFF"/>
                  </a:solidFill>
                </a:rPr>
                <a:t>DBAG Development Tests </a:t>
              </a:r>
            </a:p>
            <a:p>
              <a:pPr algn="ctr" defTabSz="444500" fontAlgn="auto">
                <a:lnSpc>
                  <a:spcPct val="90000"/>
                </a:lnSpc>
                <a:spcAft>
                  <a:spcPct val="35000"/>
                </a:spcAft>
              </a:pPr>
              <a:r>
                <a:rPr lang="en-GB" sz="1400" dirty="0" smtClean="0">
                  <a:solidFill>
                    <a:srgbClr val="FFFFFF"/>
                  </a:solidFill>
                </a:rPr>
                <a:t>1</a:t>
              </a:r>
              <a:r>
                <a:rPr lang="en-GB" sz="1400" baseline="30000" dirty="0" smtClean="0">
                  <a:solidFill>
                    <a:srgbClr val="FFFFFF"/>
                  </a:solidFill>
                </a:rPr>
                <a:t>st</a:t>
              </a:r>
              <a:r>
                <a:rPr lang="en-GB" sz="1400" dirty="0" smtClean="0">
                  <a:solidFill>
                    <a:srgbClr val="FFFFFF"/>
                  </a:solidFill>
                </a:rPr>
                <a:t>  DBAG internal Quality Gate</a:t>
              </a:r>
              <a:endParaRPr lang="en-GB" sz="1400" dirty="0">
                <a:solidFill>
                  <a:srgbClr val="FFFFFF"/>
                </a:solidFill>
              </a:endParaRPr>
            </a:p>
          </p:txBody>
        </p:sp>
      </p:grpSp>
      <p:grpSp>
        <p:nvGrpSpPr>
          <p:cNvPr id="92" name="Group 91"/>
          <p:cNvGrpSpPr/>
          <p:nvPr/>
        </p:nvGrpSpPr>
        <p:grpSpPr>
          <a:xfrm>
            <a:off x="5100044" y="2584310"/>
            <a:ext cx="3600000" cy="576000"/>
            <a:chOff x="1974659" y="2381630"/>
            <a:chExt cx="1482652" cy="889591"/>
          </a:xfrm>
        </p:grpSpPr>
        <p:sp>
          <p:nvSpPr>
            <p:cNvPr id="107" name="Rounded Rectangle 106"/>
            <p:cNvSpPr/>
            <p:nvPr/>
          </p:nvSpPr>
          <p:spPr>
            <a:xfrm>
              <a:off x="1974659" y="2381630"/>
              <a:ext cx="1482652" cy="889591"/>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8" name="Rounded Rectangle 8"/>
            <p:cNvSpPr txBox="1"/>
            <p:nvPr/>
          </p:nvSpPr>
          <p:spPr>
            <a:xfrm>
              <a:off x="2000714" y="2407685"/>
              <a:ext cx="1430542" cy="83748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algn="ctr" defTabSz="444500" fontAlgn="auto">
                <a:lnSpc>
                  <a:spcPct val="90000"/>
                </a:lnSpc>
                <a:spcAft>
                  <a:spcPct val="35000"/>
                </a:spcAft>
              </a:pPr>
              <a:r>
                <a:rPr lang="en-GB" sz="1400" dirty="0" smtClean="0">
                  <a:solidFill>
                    <a:srgbClr val="FFFFFF"/>
                  </a:solidFill>
                </a:rPr>
                <a:t>Manual Functional Tests</a:t>
              </a:r>
            </a:p>
            <a:p>
              <a:pPr algn="ctr" defTabSz="444500" fontAlgn="auto">
                <a:lnSpc>
                  <a:spcPct val="90000"/>
                </a:lnSpc>
                <a:spcAft>
                  <a:spcPct val="35000"/>
                </a:spcAft>
              </a:pPr>
              <a:r>
                <a:rPr lang="en-GB" sz="1400" dirty="0" smtClean="0">
                  <a:solidFill>
                    <a:srgbClr val="FFFFFF"/>
                  </a:solidFill>
                </a:rPr>
                <a:t>2</a:t>
              </a:r>
              <a:r>
                <a:rPr lang="en-GB" sz="1400" baseline="30000" dirty="0" smtClean="0">
                  <a:solidFill>
                    <a:srgbClr val="FFFFFF"/>
                  </a:solidFill>
                </a:rPr>
                <a:t>nd</a:t>
              </a:r>
              <a:r>
                <a:rPr lang="en-GB" sz="1400" dirty="0" smtClean="0">
                  <a:solidFill>
                    <a:srgbClr val="FFFFFF"/>
                  </a:solidFill>
                </a:rPr>
                <a:t>  DBAG Internal Quality Gate</a:t>
              </a:r>
              <a:endParaRPr lang="en-GB" sz="1400" dirty="0">
                <a:solidFill>
                  <a:srgbClr val="FFFFFF"/>
                </a:solidFill>
              </a:endParaRPr>
            </a:p>
          </p:txBody>
        </p:sp>
      </p:grpSp>
      <p:grpSp>
        <p:nvGrpSpPr>
          <p:cNvPr id="93" name="Group 92"/>
          <p:cNvGrpSpPr/>
          <p:nvPr/>
        </p:nvGrpSpPr>
        <p:grpSpPr>
          <a:xfrm>
            <a:off x="5100044" y="3239231"/>
            <a:ext cx="3600000" cy="576000"/>
            <a:chOff x="1974659" y="1269640"/>
            <a:chExt cx="1482652" cy="889591"/>
          </a:xfrm>
        </p:grpSpPr>
        <p:sp>
          <p:nvSpPr>
            <p:cNvPr id="105" name="Rounded Rectangle 104"/>
            <p:cNvSpPr/>
            <p:nvPr/>
          </p:nvSpPr>
          <p:spPr>
            <a:xfrm>
              <a:off x="1974659" y="1269640"/>
              <a:ext cx="1482652" cy="889591"/>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6" name="Rounded Rectangle 10"/>
            <p:cNvSpPr txBox="1"/>
            <p:nvPr/>
          </p:nvSpPr>
          <p:spPr>
            <a:xfrm>
              <a:off x="2000714" y="1295695"/>
              <a:ext cx="1430542" cy="83748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algn="ctr" defTabSz="444500" fontAlgn="auto">
                <a:lnSpc>
                  <a:spcPct val="90000"/>
                </a:lnSpc>
                <a:spcAft>
                  <a:spcPct val="35000"/>
                </a:spcAft>
              </a:pPr>
              <a:r>
                <a:rPr lang="en-GB" sz="1400" dirty="0" smtClean="0">
                  <a:solidFill>
                    <a:srgbClr val="FFFFFF"/>
                  </a:solidFill>
                </a:rPr>
                <a:t>Automated Regression Tests</a:t>
              </a:r>
            </a:p>
            <a:p>
              <a:pPr algn="ctr" defTabSz="444500" fontAlgn="auto">
                <a:lnSpc>
                  <a:spcPct val="90000"/>
                </a:lnSpc>
                <a:spcAft>
                  <a:spcPct val="35000"/>
                </a:spcAft>
              </a:pPr>
              <a:r>
                <a:rPr lang="en-GB" sz="1400" dirty="0" smtClean="0">
                  <a:solidFill>
                    <a:srgbClr val="FFFFFF"/>
                  </a:solidFill>
                </a:rPr>
                <a:t>3</a:t>
              </a:r>
              <a:r>
                <a:rPr lang="en-GB" sz="1400" baseline="30000" dirty="0" smtClean="0">
                  <a:solidFill>
                    <a:srgbClr val="FFFFFF"/>
                  </a:solidFill>
                </a:rPr>
                <a:t>rd</a:t>
              </a:r>
              <a:r>
                <a:rPr lang="en-GB" sz="1400" dirty="0" smtClean="0">
                  <a:solidFill>
                    <a:srgbClr val="FFFFFF"/>
                  </a:solidFill>
                </a:rPr>
                <a:t>  DBAG Internal Quality Gate</a:t>
              </a:r>
              <a:endParaRPr lang="en-GB" sz="1400" dirty="0">
                <a:solidFill>
                  <a:srgbClr val="FFFFFF"/>
                </a:solidFill>
              </a:endParaRPr>
            </a:p>
          </p:txBody>
        </p:sp>
      </p:grpSp>
      <p:grpSp>
        <p:nvGrpSpPr>
          <p:cNvPr id="95" name="Group 94"/>
          <p:cNvGrpSpPr/>
          <p:nvPr/>
        </p:nvGrpSpPr>
        <p:grpSpPr>
          <a:xfrm>
            <a:off x="5100044" y="3894153"/>
            <a:ext cx="3600000" cy="576000"/>
            <a:chOff x="1974659" y="157651"/>
            <a:chExt cx="1482652" cy="889591"/>
          </a:xfrm>
        </p:grpSpPr>
        <p:sp>
          <p:nvSpPr>
            <p:cNvPr id="103" name="Rounded Rectangle 102"/>
            <p:cNvSpPr/>
            <p:nvPr/>
          </p:nvSpPr>
          <p:spPr>
            <a:xfrm>
              <a:off x="1974659" y="157651"/>
              <a:ext cx="1482652" cy="889591"/>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4" name="Rounded Rectangle 12"/>
            <p:cNvSpPr txBox="1"/>
            <p:nvPr/>
          </p:nvSpPr>
          <p:spPr>
            <a:xfrm>
              <a:off x="2000714" y="183706"/>
              <a:ext cx="1430542" cy="83748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algn="ctr" defTabSz="444500" fontAlgn="auto">
                <a:lnSpc>
                  <a:spcPct val="90000"/>
                </a:lnSpc>
                <a:spcAft>
                  <a:spcPct val="35000"/>
                </a:spcAft>
              </a:pPr>
              <a:r>
                <a:rPr lang="en-GB" sz="1400" dirty="0" smtClean="0">
                  <a:solidFill>
                    <a:srgbClr val="FFFFFF"/>
                  </a:solidFill>
                </a:rPr>
                <a:t>Non-Functional Tests</a:t>
              </a:r>
            </a:p>
            <a:p>
              <a:pPr algn="ctr" defTabSz="444500" fontAlgn="auto">
                <a:lnSpc>
                  <a:spcPct val="90000"/>
                </a:lnSpc>
                <a:spcAft>
                  <a:spcPct val="35000"/>
                </a:spcAft>
              </a:pPr>
              <a:r>
                <a:rPr lang="en-GB" sz="1400" dirty="0" smtClean="0">
                  <a:solidFill>
                    <a:srgbClr val="FFFFFF"/>
                  </a:solidFill>
                </a:rPr>
                <a:t>4</a:t>
              </a:r>
              <a:r>
                <a:rPr lang="en-GB" sz="1400" baseline="30000" dirty="0" smtClean="0">
                  <a:solidFill>
                    <a:srgbClr val="FFFFFF"/>
                  </a:solidFill>
                </a:rPr>
                <a:t>th</a:t>
              </a:r>
              <a:r>
                <a:rPr lang="en-GB" sz="1400" dirty="0" smtClean="0">
                  <a:solidFill>
                    <a:srgbClr val="FFFFFF"/>
                  </a:solidFill>
                </a:rPr>
                <a:t> DBAG Internal Quality Gate</a:t>
              </a:r>
              <a:endParaRPr lang="en-GB" sz="1400" dirty="0">
                <a:solidFill>
                  <a:srgbClr val="FFFFFF"/>
                </a:solidFill>
              </a:endParaRPr>
            </a:p>
          </p:txBody>
        </p:sp>
      </p:grpSp>
      <p:grpSp>
        <p:nvGrpSpPr>
          <p:cNvPr id="96" name="Group 95"/>
          <p:cNvGrpSpPr/>
          <p:nvPr/>
        </p:nvGrpSpPr>
        <p:grpSpPr>
          <a:xfrm>
            <a:off x="5100044" y="4549075"/>
            <a:ext cx="3600000" cy="576000"/>
            <a:chOff x="3946587" y="157651"/>
            <a:chExt cx="1482652" cy="889591"/>
          </a:xfrm>
        </p:grpSpPr>
        <p:sp>
          <p:nvSpPr>
            <p:cNvPr id="101" name="Rounded Rectangle 100"/>
            <p:cNvSpPr/>
            <p:nvPr/>
          </p:nvSpPr>
          <p:spPr>
            <a:xfrm>
              <a:off x="3946587" y="157651"/>
              <a:ext cx="1482652" cy="889591"/>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2" name="Rounded Rectangle 14"/>
            <p:cNvSpPr txBox="1"/>
            <p:nvPr/>
          </p:nvSpPr>
          <p:spPr>
            <a:xfrm>
              <a:off x="3972642" y="183706"/>
              <a:ext cx="1430542" cy="83748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algn="ctr" defTabSz="444500" fontAlgn="auto">
                <a:lnSpc>
                  <a:spcPct val="90000"/>
                </a:lnSpc>
                <a:spcAft>
                  <a:spcPct val="35000"/>
                </a:spcAft>
              </a:pPr>
              <a:r>
                <a:rPr lang="en-US" sz="1400" dirty="0" smtClean="0">
                  <a:solidFill>
                    <a:srgbClr val="FFFFFF"/>
                  </a:solidFill>
                </a:rPr>
                <a:t>Factory Acceptance Tests with PXs and TSOs</a:t>
              </a:r>
            </a:p>
            <a:p>
              <a:pPr algn="ctr" defTabSz="444500" fontAlgn="auto">
                <a:lnSpc>
                  <a:spcPct val="90000"/>
                </a:lnSpc>
                <a:spcAft>
                  <a:spcPct val="35000"/>
                </a:spcAft>
              </a:pPr>
              <a:r>
                <a:rPr lang="en-US" sz="1400" dirty="0" smtClean="0">
                  <a:solidFill>
                    <a:srgbClr val="FFFFFF"/>
                  </a:solidFill>
                </a:rPr>
                <a:t>1</a:t>
              </a:r>
              <a:r>
                <a:rPr lang="en-US" sz="1400" baseline="30000" dirty="0" smtClean="0">
                  <a:solidFill>
                    <a:srgbClr val="FFFFFF"/>
                  </a:solidFill>
                </a:rPr>
                <a:t>st</a:t>
              </a:r>
              <a:r>
                <a:rPr lang="en-US" sz="1400" dirty="0" smtClean="0">
                  <a:solidFill>
                    <a:srgbClr val="FFFFFF"/>
                  </a:solidFill>
                </a:rPr>
                <a:t>  PX &amp; TSO Quality Gate</a:t>
              </a:r>
              <a:endParaRPr lang="en-US" sz="1400" dirty="0">
                <a:solidFill>
                  <a:srgbClr val="FFFFFF"/>
                </a:solidFill>
              </a:endParaRPr>
            </a:p>
          </p:txBody>
        </p:sp>
      </p:grpSp>
      <p:grpSp>
        <p:nvGrpSpPr>
          <p:cNvPr id="98" name="Group 97"/>
          <p:cNvGrpSpPr/>
          <p:nvPr/>
        </p:nvGrpSpPr>
        <p:grpSpPr>
          <a:xfrm>
            <a:off x="5100044" y="5203997"/>
            <a:ext cx="3600000" cy="576000"/>
            <a:chOff x="3946587" y="1269640"/>
            <a:chExt cx="1482652" cy="889591"/>
          </a:xfrm>
        </p:grpSpPr>
        <p:sp>
          <p:nvSpPr>
            <p:cNvPr id="99" name="Rounded Rectangle 98"/>
            <p:cNvSpPr/>
            <p:nvPr/>
          </p:nvSpPr>
          <p:spPr>
            <a:xfrm>
              <a:off x="3946587" y="1269640"/>
              <a:ext cx="1482652" cy="889591"/>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0" name="Rounded Rectangle 16"/>
            <p:cNvSpPr txBox="1"/>
            <p:nvPr/>
          </p:nvSpPr>
          <p:spPr>
            <a:xfrm>
              <a:off x="3972642" y="1295695"/>
              <a:ext cx="1430542" cy="83748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algn="ctr" defTabSz="444500" fontAlgn="auto">
                <a:lnSpc>
                  <a:spcPct val="90000"/>
                </a:lnSpc>
                <a:spcAft>
                  <a:spcPct val="35000"/>
                </a:spcAft>
              </a:pPr>
              <a:r>
                <a:rPr lang="en-US" sz="1400" dirty="0" smtClean="0">
                  <a:solidFill>
                    <a:srgbClr val="FFFFFF"/>
                  </a:solidFill>
                </a:rPr>
                <a:t>Customer Acceptance Tests </a:t>
              </a:r>
            </a:p>
            <a:p>
              <a:pPr algn="ctr" defTabSz="444500" fontAlgn="auto">
                <a:lnSpc>
                  <a:spcPct val="90000"/>
                </a:lnSpc>
                <a:spcAft>
                  <a:spcPct val="35000"/>
                </a:spcAft>
              </a:pPr>
              <a:r>
                <a:rPr lang="en-US" sz="1400" dirty="0" smtClean="0">
                  <a:solidFill>
                    <a:srgbClr val="FFFFFF"/>
                  </a:solidFill>
                </a:rPr>
                <a:t>2</a:t>
              </a:r>
              <a:r>
                <a:rPr lang="en-US" sz="1400" baseline="30000" dirty="0" smtClean="0">
                  <a:solidFill>
                    <a:srgbClr val="FFFFFF"/>
                  </a:solidFill>
                </a:rPr>
                <a:t>nd</a:t>
              </a:r>
              <a:r>
                <a:rPr lang="en-US" sz="1400" dirty="0" smtClean="0">
                  <a:solidFill>
                    <a:srgbClr val="FFFFFF"/>
                  </a:solidFill>
                </a:rPr>
                <a:t> PX &amp; TSO Quality Gate</a:t>
              </a:r>
              <a:endParaRPr lang="en-US" sz="1400" dirty="0">
                <a:solidFill>
                  <a:srgbClr val="FFFFFF"/>
                </a:solidFill>
              </a:endParaRPr>
            </a:p>
          </p:txBody>
        </p:sp>
      </p:grpSp>
      <p:grpSp>
        <p:nvGrpSpPr>
          <p:cNvPr id="116" name="Group 115"/>
          <p:cNvGrpSpPr/>
          <p:nvPr/>
        </p:nvGrpSpPr>
        <p:grpSpPr>
          <a:xfrm>
            <a:off x="5120238" y="6017417"/>
            <a:ext cx="3600000" cy="576000"/>
            <a:chOff x="3946586" y="1269639"/>
            <a:chExt cx="1482652" cy="889591"/>
          </a:xfrm>
          <a:solidFill>
            <a:schemeClr val="accent6">
              <a:lumMod val="75000"/>
            </a:schemeClr>
          </a:solidFill>
        </p:grpSpPr>
        <p:sp>
          <p:nvSpPr>
            <p:cNvPr id="117" name="Rounded Rectangle 116"/>
            <p:cNvSpPr/>
            <p:nvPr/>
          </p:nvSpPr>
          <p:spPr>
            <a:xfrm>
              <a:off x="3946586" y="1269639"/>
              <a:ext cx="1482652" cy="889591"/>
            </a:xfrm>
            <a:prstGeom prst="roundRect">
              <a:avLst>
                <a:gd name="adj" fmla="val 1000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8" name="Rounded Rectangle 16"/>
            <p:cNvSpPr txBox="1"/>
            <p:nvPr/>
          </p:nvSpPr>
          <p:spPr>
            <a:xfrm>
              <a:off x="3972642" y="1295695"/>
              <a:ext cx="1430542" cy="83748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algn="ctr" defTabSz="444500" fontAlgn="auto">
                <a:lnSpc>
                  <a:spcPct val="90000"/>
                </a:lnSpc>
                <a:spcAft>
                  <a:spcPct val="35000"/>
                </a:spcAft>
              </a:pPr>
              <a:r>
                <a:rPr lang="en-US" sz="1400" dirty="0" smtClean="0">
                  <a:solidFill>
                    <a:srgbClr val="FFFFFF"/>
                  </a:solidFill>
                </a:rPr>
                <a:t>Local Implementation Projects</a:t>
              </a:r>
              <a:br>
                <a:rPr lang="en-US" sz="1400" dirty="0" smtClean="0">
                  <a:solidFill>
                    <a:srgbClr val="FFFFFF"/>
                  </a:solidFill>
                </a:rPr>
              </a:br>
              <a:r>
                <a:rPr lang="en-US" sz="1400" dirty="0" smtClean="0">
                  <a:solidFill>
                    <a:srgbClr val="FFFFFF"/>
                  </a:solidFill>
                </a:rPr>
                <a:t>Market Member Simulation</a:t>
              </a:r>
              <a:endParaRPr lang="en-US" sz="1400" dirty="0">
                <a:solidFill>
                  <a:srgbClr val="FFFFFF"/>
                </a:solidFill>
              </a:endParaRPr>
            </a:p>
          </p:txBody>
        </p:sp>
      </p:grpSp>
    </p:spTree>
    <p:extLst>
      <p:ext uri="{BB962C8B-B14F-4D97-AF65-F5344CB8AC3E}">
        <p14:creationId xmlns:p14="http://schemas.microsoft.com/office/powerpoint/2010/main" val="1454438600"/>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DE" dirty="0" err="1" smtClean="0"/>
              <a:t>Thank</a:t>
            </a:r>
            <a:r>
              <a:rPr lang="de-DE" dirty="0" smtClean="0"/>
              <a:t> </a:t>
            </a:r>
            <a:r>
              <a:rPr lang="de-DE" dirty="0" err="1" smtClean="0"/>
              <a:t>You</a:t>
            </a:r>
            <a:r>
              <a:rPr lang="de-DE" dirty="0" smtClean="0"/>
              <a:t>!</a:t>
            </a:r>
            <a:endParaRPr lang="de-DE" dirty="0"/>
          </a:p>
        </p:txBody>
      </p:sp>
      <p:pic>
        <p:nvPicPr>
          <p:cNvPr id="6" name="Picture 2" descr="H:\Corporate_Communications\MarketingC\Abteilungsordner\Corporate Identity\Logos\01 Corporate Logos\Deutsche Börse Group_REFRESH\DIN A4\png\DB_DBG2012_REFRESH__RGB_DINA4_.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0232" y="836713"/>
            <a:ext cx="2376264" cy="6189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0224939"/>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4:50-15:15</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ea typeface="Times New Roman"/>
                <a:cs typeface="Arial"/>
              </a:rPr>
              <a:t>Key note speech </a:t>
            </a:r>
            <a:endParaRPr lang="en-GB" sz="2000" kern="0" dirty="0" smtClean="0">
              <a:ea typeface="Times New Roman"/>
              <a:cs typeface="Times New Roman"/>
            </a:endParaRPr>
          </a:p>
          <a:p>
            <a:r>
              <a:rPr lang="en-GB" sz="2000" dirty="0" smtClean="0">
                <a:solidFill>
                  <a:srgbClr val="000000"/>
                </a:solidFill>
                <a:ea typeface="Times New Roman"/>
              </a:rPr>
              <a:t>Overview of XBID Project</a:t>
            </a:r>
          </a:p>
          <a:p>
            <a:r>
              <a:rPr lang="en-GB" sz="2000" dirty="0" smtClean="0">
                <a:solidFill>
                  <a:srgbClr val="000000"/>
                </a:solidFill>
                <a:ea typeface="Times New Roman"/>
              </a:rPr>
              <a:t>The XBID matching solution</a:t>
            </a:r>
          </a:p>
          <a:p>
            <a:r>
              <a:rPr lang="en-GB" sz="2000" dirty="0" smtClean="0">
                <a:solidFill>
                  <a:srgbClr val="000000"/>
                </a:solidFill>
                <a:ea typeface="Times New Roman"/>
              </a:rPr>
              <a:t>Overview of borders, market areas &amp; products</a:t>
            </a:r>
          </a:p>
          <a:p>
            <a:r>
              <a:rPr lang="en-GB" sz="2000" kern="0" dirty="0" smtClean="0">
                <a:solidFill>
                  <a:srgbClr val="000000"/>
                </a:solidFill>
                <a:ea typeface="Times New Roman"/>
                <a:cs typeface="Times New Roman"/>
              </a:rPr>
              <a:t>Relevant information for market parties from LIPs</a:t>
            </a:r>
            <a:r>
              <a:rPr lang="en-GB" sz="2000" kern="0" dirty="0" smtClean="0">
                <a:solidFill>
                  <a:srgbClr val="000000"/>
                </a:solidFill>
                <a:ea typeface="Times New Roman"/>
                <a:cs typeface="Arial"/>
              </a:rPr>
              <a:t> </a:t>
            </a:r>
            <a:r>
              <a:rPr lang="en-GB" sz="2000" dirty="0" smtClean="0">
                <a:solidFill>
                  <a:srgbClr val="000000"/>
                </a:solidFill>
                <a:ea typeface="Times New Roman"/>
              </a:rPr>
              <a:t> </a:t>
            </a:r>
          </a:p>
          <a:p>
            <a:r>
              <a:rPr lang="en-US" sz="2000" kern="0" dirty="0">
                <a:solidFill>
                  <a:srgbClr val="000000"/>
                </a:solidFill>
                <a:ea typeface="Times New Roman"/>
                <a:cs typeface="Times New Roman"/>
              </a:rPr>
              <a:t>Explicit access on French-German border </a:t>
            </a:r>
          </a:p>
          <a:p>
            <a:r>
              <a:rPr lang="en-GB" sz="2000" kern="0" dirty="0" smtClean="0">
                <a:solidFill>
                  <a:srgbClr val="000000"/>
                </a:solidFill>
                <a:ea typeface="Times New Roman"/>
                <a:cs typeface="Times New Roman"/>
              </a:rPr>
              <a:t>NRA overview</a:t>
            </a:r>
          </a:p>
          <a:p>
            <a:r>
              <a:rPr lang="en-GB" sz="2000" kern="0" dirty="0" smtClean="0">
                <a:solidFill>
                  <a:srgbClr val="000000"/>
                </a:solidFill>
                <a:ea typeface="Times New Roman"/>
                <a:cs typeface="Times New Roman"/>
              </a:rPr>
              <a:t>Deutsche </a:t>
            </a:r>
            <a:r>
              <a:rPr lang="en-GB" sz="2000" kern="0" dirty="0" err="1" smtClean="0">
                <a:solidFill>
                  <a:srgbClr val="000000"/>
                </a:solidFill>
                <a:ea typeface="Times New Roman"/>
                <a:cs typeface="Times New Roman"/>
              </a:rPr>
              <a:t>Börse</a:t>
            </a:r>
            <a:r>
              <a:rPr lang="en-GB" sz="2000" kern="0" dirty="0" smtClean="0">
                <a:solidFill>
                  <a:srgbClr val="000000"/>
                </a:solidFill>
                <a:ea typeface="Times New Roman"/>
                <a:cs typeface="Times New Roman"/>
              </a:rPr>
              <a:t>’ trading solution provider </a:t>
            </a:r>
            <a:r>
              <a:rPr lang="en-GB" sz="2000" kern="0" dirty="0" smtClean="0">
                <a:solidFill>
                  <a:srgbClr val="000000"/>
                </a:solidFill>
                <a:ea typeface="Times New Roman"/>
                <a:cs typeface="Arial"/>
              </a:rPr>
              <a:t> </a:t>
            </a:r>
            <a:endParaRPr lang="en-GB" sz="2000" kern="0" dirty="0" smtClean="0">
              <a:solidFill>
                <a:srgbClr val="000000"/>
              </a:solidFill>
              <a:ea typeface="Times New Roman"/>
              <a:cs typeface="Times New Roman"/>
            </a:endParaRPr>
          </a:p>
          <a:p>
            <a:r>
              <a:rPr lang="en-GB" sz="2000" dirty="0" smtClean="0">
                <a:solidFill>
                  <a:schemeClr val="accent2"/>
                </a:solidFill>
                <a:ea typeface="Times New Roman"/>
              </a:rPr>
              <a:t>Members trial period, </a:t>
            </a:r>
            <a:r>
              <a:rPr lang="en-GB" sz="2000" dirty="0" err="1" smtClean="0">
                <a:solidFill>
                  <a:schemeClr val="accent2"/>
                </a:solidFill>
                <a:ea typeface="Times New Roman"/>
              </a:rPr>
              <a:t>go-live</a:t>
            </a:r>
            <a:r>
              <a:rPr lang="en-GB" sz="2000" dirty="0" smtClean="0">
                <a:solidFill>
                  <a:schemeClr val="accent2"/>
                </a:solidFill>
                <a:ea typeface="Times New Roman"/>
              </a:rPr>
              <a:t> plan and next steps for readiness</a:t>
            </a:r>
          </a:p>
          <a:p>
            <a:r>
              <a:rPr lang="en-GB" sz="2000" kern="0" dirty="0" smtClean="0">
                <a:solidFill>
                  <a:srgbClr val="000000"/>
                </a:solidFill>
                <a:ea typeface="Times New Roman"/>
                <a:cs typeface="Arial"/>
              </a:rPr>
              <a:t>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84</a:t>
            </a:fld>
            <a:endParaRPr lang="en-US" altLang="en-US" dirty="0"/>
          </a:p>
        </p:txBody>
      </p:sp>
    </p:spTree>
    <p:extLst>
      <p:ext uri="{BB962C8B-B14F-4D97-AF65-F5344CB8AC3E}">
        <p14:creationId xmlns:p14="http://schemas.microsoft.com/office/powerpoint/2010/main" val="6369562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solidFill>
                  <a:schemeClr val="accent1"/>
                </a:solidFill>
              </a:rPr>
              <a:t>Member’s </a:t>
            </a:r>
            <a:r>
              <a:rPr lang="en-US" dirty="0">
                <a:solidFill>
                  <a:schemeClr val="accent1"/>
                </a:solidFill>
              </a:rPr>
              <a:t>trial period, </a:t>
            </a:r>
            <a:r>
              <a:rPr lang="en-US" dirty="0" err="1">
                <a:solidFill>
                  <a:schemeClr val="accent1"/>
                </a:solidFill>
              </a:rPr>
              <a:t>go-live</a:t>
            </a:r>
            <a:r>
              <a:rPr lang="en-US" dirty="0">
                <a:solidFill>
                  <a:schemeClr val="accent1"/>
                </a:solidFill>
              </a:rPr>
              <a:t> plan and next steps for readiness </a:t>
            </a:r>
            <a:endParaRPr lang="en-GB" dirty="0">
              <a:solidFill>
                <a:schemeClr val="accent1"/>
              </a:solidFill>
            </a:endParaRPr>
          </a:p>
        </p:txBody>
      </p:sp>
      <p:sp>
        <p:nvSpPr>
          <p:cNvPr id="5" name="Textplatzhalter 4"/>
          <p:cNvSpPr>
            <a:spLocks noGrp="1"/>
          </p:cNvSpPr>
          <p:nvPr>
            <p:ph type="body" sz="quarter" idx="15"/>
          </p:nvPr>
        </p:nvSpPr>
        <p:spPr>
          <a:xfrm>
            <a:off x="2255839" y="3051443"/>
            <a:ext cx="6329361" cy="315570"/>
          </a:xfrm>
        </p:spPr>
        <p:txBody>
          <a:bodyPr/>
          <a:lstStyle/>
          <a:p>
            <a:r>
              <a:rPr lang="en-GB" dirty="0" smtClean="0"/>
              <a:t>Pierre </a:t>
            </a:r>
            <a:r>
              <a:rPr lang="en-GB" dirty="0" err="1" smtClean="0"/>
              <a:t>Milon</a:t>
            </a:r>
            <a:endParaRPr lang="en-GB" dirty="0" smtClean="0"/>
          </a:p>
          <a:p>
            <a:endParaRPr lang="en-GB" dirty="0"/>
          </a:p>
        </p:txBody>
      </p:sp>
      <p:sp>
        <p:nvSpPr>
          <p:cNvPr id="6" name="Textplatzhalter 5"/>
          <p:cNvSpPr>
            <a:spLocks noGrp="1"/>
          </p:cNvSpPr>
          <p:nvPr>
            <p:ph type="body" sz="quarter" idx="16"/>
          </p:nvPr>
        </p:nvSpPr>
        <p:spPr>
          <a:xfrm>
            <a:off x="2255839" y="3438279"/>
            <a:ext cx="6329361" cy="315570"/>
          </a:xfrm>
        </p:spPr>
        <p:txBody>
          <a:bodyPr/>
          <a:lstStyle/>
          <a:p>
            <a:r>
              <a:rPr lang="en-GB" dirty="0" smtClean="0"/>
              <a:t>EPEX Spot</a:t>
            </a:r>
            <a:endParaRPr lang="en-GB" dirty="0"/>
          </a:p>
        </p:txBody>
      </p:sp>
    </p:spTree>
    <p:extLst>
      <p:ext uri="{BB962C8B-B14F-4D97-AF65-F5344CB8AC3E}">
        <p14:creationId xmlns:p14="http://schemas.microsoft.com/office/powerpoint/2010/main" val="32951099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3"/>
          </p:nvPr>
        </p:nvSpPr>
        <p:spPr/>
        <p:txBody>
          <a:bodyPr/>
          <a:lstStyle/>
          <a:p>
            <a:r>
              <a:rPr lang="en-GB" dirty="0"/>
              <a:t>Market Trial</a:t>
            </a:r>
          </a:p>
          <a:p>
            <a:r>
              <a:rPr lang="en-GB" dirty="0"/>
              <a:t>Go-live sequence</a:t>
            </a:r>
          </a:p>
          <a:p>
            <a:r>
              <a:rPr lang="en-GB" dirty="0"/>
              <a:t>Rollback</a:t>
            </a:r>
          </a:p>
          <a:p>
            <a:endParaRPr lang="de-DE"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86</a:t>
            </a:fld>
            <a:endParaRPr lang="en-US" altLang="en-US" dirty="0"/>
          </a:p>
        </p:txBody>
      </p:sp>
    </p:spTree>
    <p:extLst>
      <p:ext uri="{BB962C8B-B14F-4D97-AF65-F5344CB8AC3E}">
        <p14:creationId xmlns:p14="http://schemas.microsoft.com/office/powerpoint/2010/main" val="3621928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386" y="830201"/>
            <a:ext cx="8046000" cy="583015"/>
          </a:xfrm>
          <a:noFill/>
        </p:spPr>
        <p:txBody>
          <a:bodyPr vert="horz" lIns="0" tIns="0" rIns="0" bIns="0" rtlCol="0" anchor="t" anchorCtr="0">
            <a:noAutofit/>
          </a:bodyPr>
          <a:lstStyle/>
          <a:p>
            <a:r>
              <a:rPr lang="en-GB" dirty="0"/>
              <a:t>Market Trial (1)</a:t>
            </a:r>
            <a:br>
              <a:rPr lang="en-GB" dirty="0"/>
            </a:br>
            <a:endParaRPr lang="en-GB" dirty="0"/>
          </a:p>
        </p:txBody>
      </p:sp>
      <p:sp>
        <p:nvSpPr>
          <p:cNvPr id="4" name="Text Placeholder 3"/>
          <p:cNvSpPr>
            <a:spLocks noGrp="1"/>
          </p:cNvSpPr>
          <p:nvPr>
            <p:ph type="body" sz="quarter" idx="13"/>
          </p:nvPr>
        </p:nvSpPr>
        <p:spPr>
          <a:xfrm>
            <a:off x="540386" y="1182636"/>
            <a:ext cx="8046000" cy="5290473"/>
          </a:xfrm>
        </p:spPr>
        <p:txBody>
          <a:bodyPr>
            <a:noAutofit/>
          </a:bodyPr>
          <a:lstStyle/>
          <a:p>
            <a:pPr marL="0" indent="0" algn="just">
              <a:buNone/>
            </a:pPr>
            <a:endParaRPr lang="en-GB" sz="2000" b="1" dirty="0"/>
          </a:p>
          <a:p>
            <a:pPr marL="0" indent="0" algn="just">
              <a:buNone/>
            </a:pPr>
            <a:r>
              <a:rPr lang="en-GB" b="1" u="sng" dirty="0"/>
              <a:t>What is the purpose of the Market Trial ?</a:t>
            </a:r>
          </a:p>
          <a:p>
            <a:pPr algn="just"/>
            <a:r>
              <a:rPr lang="en-GB" dirty="0"/>
              <a:t>The Market Trial gives the Market participants the opportunity to connect via the Local Trading Systems of the NEMO’s to the new XBID System in order to familiarize with some changes that are introduced with the implementation of this new XBID system. This is also an opportunity for Market participants to test their interface to the LTS in combination with the XBID System.</a:t>
            </a:r>
          </a:p>
          <a:p>
            <a:pPr algn="just"/>
            <a:r>
              <a:rPr lang="en-US" dirty="0"/>
              <a:t>Market Trial will also include explicit allocation on FR-DE border</a:t>
            </a:r>
          </a:p>
          <a:p>
            <a:pPr algn="just"/>
            <a:r>
              <a:rPr lang="en-GB" dirty="0"/>
              <a:t>The Market Trial will be conducted in production-like conditions, meaning that following items are configured in accordance with the foreseen </a:t>
            </a:r>
            <a:r>
              <a:rPr lang="en-GB" dirty="0" err="1"/>
              <a:t>go-live</a:t>
            </a:r>
            <a:r>
              <a:rPr lang="en-GB" dirty="0"/>
              <a:t> configuration:</a:t>
            </a:r>
          </a:p>
          <a:p>
            <a:pPr lvl="1" algn="just"/>
            <a:r>
              <a:rPr lang="en-GB" sz="1600" dirty="0"/>
              <a:t>product range </a:t>
            </a:r>
          </a:p>
          <a:p>
            <a:pPr lvl="1" algn="just"/>
            <a:r>
              <a:rPr lang="en-GB" sz="1600" dirty="0"/>
              <a:t>product naming and product scheduling </a:t>
            </a:r>
          </a:p>
          <a:p>
            <a:pPr lvl="1" algn="just"/>
            <a:r>
              <a:rPr lang="en-GB" sz="1600" dirty="0"/>
              <a:t>cross-border capacities publication times, </a:t>
            </a:r>
          </a:p>
          <a:p>
            <a:pPr lvl="1" algn="just"/>
            <a:r>
              <a:rPr lang="en-GB" sz="1600" dirty="0"/>
              <a:t>coupling perimeter.</a:t>
            </a:r>
          </a:p>
          <a:p>
            <a:pPr algn="just"/>
            <a:r>
              <a:rPr lang="en-GB" dirty="0"/>
              <a:t>Post-coupling activities like nominations are </a:t>
            </a:r>
            <a:r>
              <a:rPr lang="en-GB" u="sng" dirty="0"/>
              <a:t>out of scope </a:t>
            </a:r>
            <a:r>
              <a:rPr lang="en-GB" dirty="0"/>
              <a:t>of the Market Trial.</a:t>
            </a:r>
          </a:p>
          <a:p>
            <a:pPr lvl="1" algn="just"/>
            <a:endParaRPr lang="en-GB" sz="1400" dirty="0"/>
          </a:p>
        </p:txBody>
      </p:sp>
      <p:sp>
        <p:nvSpPr>
          <p:cNvPr id="3" name="Slide Number Placeholder 2"/>
          <p:cNvSpPr>
            <a:spLocks noGrp="1"/>
          </p:cNvSpPr>
          <p:nvPr>
            <p:ph type="sldNum" sz="quarter" idx="11"/>
          </p:nvPr>
        </p:nvSpPr>
        <p:spPr/>
        <p:txBody>
          <a:bodyPr/>
          <a:lstStyle/>
          <a:p>
            <a:fld id="{AD89DE65-C7D9-40CE-B96E-B8C3E7B233C5}" type="slidenum">
              <a:rPr lang="en-GB" smtClean="0">
                <a:solidFill>
                  <a:prstClr val="black"/>
                </a:solidFill>
              </a:rPr>
              <a:pPr/>
              <a:t>87</a:t>
            </a:fld>
            <a:endParaRPr lang="en-GB" dirty="0">
              <a:solidFill>
                <a:prstClr val="black"/>
              </a:solidFill>
            </a:endParaRPr>
          </a:p>
        </p:txBody>
      </p:sp>
      <p:sp>
        <p:nvSpPr>
          <p:cNvPr id="5" name="Textfeld 4"/>
          <p:cNvSpPr txBox="1"/>
          <p:nvPr/>
        </p:nvSpPr>
        <p:spPr>
          <a:xfrm>
            <a:off x="8562769" y="1341457"/>
            <a:ext cx="581231" cy="1077218"/>
          </a:xfrm>
          <a:prstGeom prst="rect">
            <a:avLst/>
          </a:prstGeom>
          <a:noFill/>
        </p:spPr>
        <p:txBody>
          <a:bodyPr wrap="square" lIns="0" tIns="0" rIns="0" bIns="0" rtlCol="0">
            <a:spAutoFit/>
          </a:bodyPr>
          <a:lstStyle/>
          <a:p>
            <a:pPr algn="ctr"/>
            <a:endParaRPr lang="en-GB" sz="800" b="1">
              <a:solidFill>
                <a:srgbClr val="92D050"/>
              </a:solidFill>
              <a:sym typeface="Wingdings"/>
            </a:endParaRPr>
          </a:p>
          <a:p>
            <a:pPr algn="ctr"/>
            <a:endParaRPr lang="en-GB" sz="1400" b="1">
              <a:solidFill>
                <a:srgbClr val="92D050"/>
              </a:solidFill>
              <a:sym typeface="Wingdings"/>
            </a:endParaRPr>
          </a:p>
          <a:p>
            <a:pPr algn="ctr"/>
            <a:endParaRPr lang="en-GB" sz="2400" b="1">
              <a:solidFill>
                <a:srgbClr val="92D050"/>
              </a:solidFill>
              <a:sym typeface="Wingdings"/>
            </a:endParaRPr>
          </a:p>
          <a:p>
            <a:pPr algn="ctr"/>
            <a:endParaRPr lang="en-GB" sz="2400" b="1" dirty="0">
              <a:solidFill>
                <a:srgbClr val="92D050"/>
              </a:solidFill>
            </a:endParaRPr>
          </a:p>
        </p:txBody>
      </p:sp>
    </p:spTree>
    <p:extLst>
      <p:ext uri="{BB962C8B-B14F-4D97-AF65-F5344CB8AC3E}">
        <p14:creationId xmlns:p14="http://schemas.microsoft.com/office/powerpoint/2010/main" val="1730034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386" y="854054"/>
            <a:ext cx="8046000" cy="583015"/>
          </a:xfrm>
          <a:noFill/>
        </p:spPr>
        <p:txBody>
          <a:bodyPr vert="horz" lIns="0" tIns="0" rIns="0" bIns="0" rtlCol="0" anchor="t" anchorCtr="0">
            <a:noAutofit/>
          </a:bodyPr>
          <a:lstStyle/>
          <a:p>
            <a:r>
              <a:rPr lang="en-GB" dirty="0"/>
              <a:t>Market Trial (2</a:t>
            </a:r>
            <a:r>
              <a:rPr lang="en-GB" dirty="0" smtClean="0"/>
              <a:t>)</a:t>
            </a:r>
            <a:r>
              <a:rPr lang="en-GB" dirty="0"/>
              <a:t/>
            </a:r>
            <a:br>
              <a:rPr lang="en-GB" dirty="0"/>
            </a:br>
            <a:endParaRPr lang="en-GB" dirty="0"/>
          </a:p>
        </p:txBody>
      </p:sp>
      <p:sp>
        <p:nvSpPr>
          <p:cNvPr id="3" name="Slide Number Placeholder 2"/>
          <p:cNvSpPr>
            <a:spLocks noGrp="1"/>
          </p:cNvSpPr>
          <p:nvPr>
            <p:ph type="sldNum" sz="quarter" idx="11"/>
          </p:nvPr>
        </p:nvSpPr>
        <p:spPr/>
        <p:txBody>
          <a:bodyPr/>
          <a:lstStyle/>
          <a:p>
            <a:fld id="{AD89DE65-C7D9-40CE-B96E-B8C3E7B233C5}" type="slidenum">
              <a:rPr lang="en-GB" smtClean="0">
                <a:solidFill>
                  <a:prstClr val="black"/>
                </a:solidFill>
              </a:rPr>
              <a:pPr/>
              <a:t>88</a:t>
            </a:fld>
            <a:endParaRPr lang="en-GB" dirty="0">
              <a:solidFill>
                <a:prstClr val="black"/>
              </a:solidFill>
            </a:endParaRPr>
          </a:p>
        </p:txBody>
      </p:sp>
      <p:sp>
        <p:nvSpPr>
          <p:cNvPr id="4" name="Text Placeholder 3"/>
          <p:cNvSpPr>
            <a:spLocks noGrp="1"/>
          </p:cNvSpPr>
          <p:nvPr>
            <p:ph type="body" sz="quarter" idx="13"/>
          </p:nvPr>
        </p:nvSpPr>
        <p:spPr>
          <a:xfrm>
            <a:off x="540386" y="1126979"/>
            <a:ext cx="8153238" cy="5290473"/>
          </a:xfrm>
        </p:spPr>
        <p:txBody>
          <a:bodyPr>
            <a:noAutofit/>
          </a:bodyPr>
          <a:lstStyle/>
          <a:p>
            <a:pPr algn="just"/>
            <a:endParaRPr lang="en-GB" sz="1200" b="1" dirty="0"/>
          </a:p>
          <a:p>
            <a:pPr marL="0" indent="0" algn="just">
              <a:buNone/>
            </a:pPr>
            <a:r>
              <a:rPr lang="en-GB" b="1" u="sng" dirty="0"/>
              <a:t>Practicalities</a:t>
            </a:r>
          </a:p>
          <a:p>
            <a:pPr algn="just"/>
            <a:r>
              <a:rPr lang="en-GB" dirty="0" smtClean="0"/>
              <a:t>Two periods: </a:t>
            </a:r>
            <a:r>
              <a:rPr lang="en-GB" dirty="0"/>
              <a:t>from </a:t>
            </a:r>
            <a:r>
              <a:rPr lang="en-GB" dirty="0" smtClean="0"/>
              <a:t>26th </a:t>
            </a:r>
            <a:r>
              <a:rPr lang="en-GB" dirty="0"/>
              <a:t>February until 2</a:t>
            </a:r>
            <a:r>
              <a:rPr lang="en-GB" baseline="30000" dirty="0"/>
              <a:t>nd</a:t>
            </a:r>
            <a:r>
              <a:rPr lang="en-GB" dirty="0"/>
              <a:t> of </a:t>
            </a:r>
            <a:r>
              <a:rPr lang="en-GB" dirty="0" smtClean="0"/>
              <a:t>March and 14</a:t>
            </a:r>
            <a:r>
              <a:rPr lang="en-GB" baseline="30000" dirty="0" smtClean="0"/>
              <a:t>th</a:t>
            </a:r>
            <a:r>
              <a:rPr lang="en-GB" dirty="0" smtClean="0"/>
              <a:t> May until 18</a:t>
            </a:r>
            <a:r>
              <a:rPr lang="en-GB" baseline="30000" dirty="0" smtClean="0"/>
              <a:t>th</a:t>
            </a:r>
            <a:r>
              <a:rPr lang="en-GB" dirty="0" smtClean="0"/>
              <a:t> May</a:t>
            </a:r>
            <a:endParaRPr lang="en-GB" dirty="0"/>
          </a:p>
          <a:p>
            <a:pPr algn="just"/>
            <a:r>
              <a:rPr lang="en-GB" dirty="0"/>
              <a:t>All NEMOs will approach their customers in order to clarify practicalities of the trading system used for this trial period, e.g. for: </a:t>
            </a:r>
          </a:p>
          <a:p>
            <a:pPr lvl="1" algn="just"/>
            <a:r>
              <a:rPr lang="en-GB" dirty="0"/>
              <a:t>connectivity</a:t>
            </a:r>
          </a:p>
          <a:p>
            <a:pPr lvl="1" algn="just"/>
            <a:r>
              <a:rPr lang="en-GB" dirty="0"/>
              <a:t>credentials</a:t>
            </a:r>
          </a:p>
          <a:p>
            <a:pPr algn="just"/>
            <a:r>
              <a:rPr lang="en-GB" dirty="0"/>
              <a:t>All Market participants will be in contact with their respective NEMO in case support is needed. </a:t>
            </a:r>
          </a:p>
          <a:p>
            <a:pPr algn="just"/>
            <a:r>
              <a:rPr lang="en-US" dirty="0"/>
              <a:t>Explicit allocation (FR-DE)</a:t>
            </a:r>
          </a:p>
          <a:p>
            <a:pPr lvl="1" algn="just"/>
            <a:r>
              <a:rPr lang="en-US" dirty="0"/>
              <a:t>Market participants are invited to approach Amprion and RTE</a:t>
            </a:r>
          </a:p>
          <a:p>
            <a:pPr lvl="1" algn="just"/>
            <a:r>
              <a:rPr lang="en-US" dirty="0"/>
              <a:t>Connectivity tests (API) </a:t>
            </a:r>
            <a:r>
              <a:rPr lang="en-US" dirty="0" smtClean="0"/>
              <a:t>will be facilitated and communicated to the interested parties</a:t>
            </a:r>
            <a:endParaRPr lang="en-US" dirty="0"/>
          </a:p>
          <a:p>
            <a:pPr algn="just"/>
            <a:r>
              <a:rPr lang="en-GB" dirty="0"/>
              <a:t>During the Market Trial, operational messages corresponding to foreseen scenarios will be sent by the respective NEMOs.</a:t>
            </a:r>
          </a:p>
          <a:p>
            <a:pPr algn="just"/>
            <a:r>
              <a:rPr lang="en-GB" dirty="0"/>
              <a:t>NEMOs support will be proposed only during working hours [9am – 5pm]. </a:t>
            </a:r>
          </a:p>
          <a:p>
            <a:pPr algn="just"/>
            <a:r>
              <a:rPr lang="en-GB" dirty="0"/>
              <a:t>Market Participants are invited to send questions if any or report on system </a:t>
            </a:r>
            <a:r>
              <a:rPr lang="en-GB" dirty="0" smtClean="0"/>
              <a:t>behaviour </a:t>
            </a:r>
            <a:r>
              <a:rPr lang="en-GB" dirty="0"/>
              <a:t>to the respective NEMOs. </a:t>
            </a:r>
          </a:p>
          <a:p>
            <a:pPr lvl="1" algn="just"/>
            <a:endParaRPr lang="en-GB" sz="1400" dirty="0"/>
          </a:p>
          <a:p>
            <a:pPr lvl="1" algn="just"/>
            <a:endParaRPr lang="en-GB" sz="1400" dirty="0"/>
          </a:p>
        </p:txBody>
      </p:sp>
      <p:sp>
        <p:nvSpPr>
          <p:cNvPr id="5" name="Textfeld 4"/>
          <p:cNvSpPr txBox="1"/>
          <p:nvPr/>
        </p:nvSpPr>
        <p:spPr>
          <a:xfrm>
            <a:off x="8562769" y="1341457"/>
            <a:ext cx="581231" cy="1077218"/>
          </a:xfrm>
          <a:prstGeom prst="rect">
            <a:avLst/>
          </a:prstGeom>
          <a:noFill/>
        </p:spPr>
        <p:txBody>
          <a:bodyPr wrap="square" lIns="0" tIns="0" rIns="0" bIns="0" rtlCol="0">
            <a:spAutoFit/>
          </a:bodyPr>
          <a:lstStyle/>
          <a:p>
            <a:pPr algn="ctr"/>
            <a:endParaRPr lang="en-GB" sz="800" b="1">
              <a:solidFill>
                <a:srgbClr val="92D050"/>
              </a:solidFill>
              <a:sym typeface="Wingdings"/>
            </a:endParaRPr>
          </a:p>
          <a:p>
            <a:pPr algn="ctr"/>
            <a:endParaRPr lang="en-GB" sz="1400" b="1">
              <a:solidFill>
                <a:srgbClr val="92D050"/>
              </a:solidFill>
              <a:sym typeface="Wingdings"/>
            </a:endParaRPr>
          </a:p>
          <a:p>
            <a:pPr algn="ctr"/>
            <a:endParaRPr lang="en-GB" sz="2400" b="1">
              <a:solidFill>
                <a:srgbClr val="92D050"/>
              </a:solidFill>
              <a:sym typeface="Wingdings"/>
            </a:endParaRPr>
          </a:p>
          <a:p>
            <a:pPr algn="ctr"/>
            <a:endParaRPr lang="en-GB" sz="2400" b="1" dirty="0">
              <a:solidFill>
                <a:srgbClr val="92D050"/>
              </a:solidFill>
            </a:endParaRPr>
          </a:p>
        </p:txBody>
      </p:sp>
    </p:spTree>
    <p:extLst>
      <p:ext uri="{BB962C8B-B14F-4D97-AF65-F5344CB8AC3E}">
        <p14:creationId xmlns:p14="http://schemas.microsoft.com/office/powerpoint/2010/main" val="406543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386" y="822250"/>
            <a:ext cx="8046000" cy="583015"/>
          </a:xfrm>
          <a:noFill/>
        </p:spPr>
        <p:txBody>
          <a:bodyPr vert="horz" lIns="0" tIns="0" rIns="0" bIns="0" rtlCol="0" anchor="t" anchorCtr="0">
            <a:noAutofit/>
          </a:bodyPr>
          <a:lstStyle/>
          <a:p>
            <a:r>
              <a:rPr lang="en-GB" dirty="0"/>
              <a:t>Market Trial (3)</a:t>
            </a:r>
            <a:br>
              <a:rPr lang="en-GB" dirty="0"/>
            </a:br>
            <a:endParaRPr lang="en-GB" dirty="0"/>
          </a:p>
        </p:txBody>
      </p:sp>
      <p:sp>
        <p:nvSpPr>
          <p:cNvPr id="3" name="Slide Number Placeholder 2"/>
          <p:cNvSpPr>
            <a:spLocks noGrp="1"/>
          </p:cNvSpPr>
          <p:nvPr>
            <p:ph type="sldNum" sz="quarter" idx="11"/>
          </p:nvPr>
        </p:nvSpPr>
        <p:spPr/>
        <p:txBody>
          <a:bodyPr/>
          <a:lstStyle/>
          <a:p>
            <a:fld id="{AD89DE65-C7D9-40CE-B96E-B8C3E7B233C5}" type="slidenum">
              <a:rPr lang="en-GB" smtClean="0">
                <a:solidFill>
                  <a:prstClr val="black"/>
                </a:solidFill>
              </a:rPr>
              <a:pPr/>
              <a:t>89</a:t>
            </a:fld>
            <a:endParaRPr lang="en-GB" dirty="0">
              <a:solidFill>
                <a:prstClr val="black"/>
              </a:solidFill>
            </a:endParaRPr>
          </a:p>
        </p:txBody>
      </p:sp>
      <p:sp>
        <p:nvSpPr>
          <p:cNvPr id="4" name="Text Placeholder 3"/>
          <p:cNvSpPr>
            <a:spLocks noGrp="1"/>
          </p:cNvSpPr>
          <p:nvPr>
            <p:ph type="body" sz="quarter" idx="13"/>
          </p:nvPr>
        </p:nvSpPr>
        <p:spPr>
          <a:xfrm>
            <a:off x="540386" y="1182636"/>
            <a:ext cx="8046000" cy="5290473"/>
          </a:xfrm>
        </p:spPr>
        <p:txBody>
          <a:bodyPr>
            <a:noAutofit/>
          </a:bodyPr>
          <a:lstStyle/>
          <a:p>
            <a:pPr algn="just"/>
            <a:endParaRPr lang="en-GB" sz="2000" b="1" dirty="0" smtClean="0"/>
          </a:p>
          <a:p>
            <a:pPr algn="just"/>
            <a:r>
              <a:rPr lang="en-GB" b="1" dirty="0" smtClean="0"/>
              <a:t>Detailed scenarios</a:t>
            </a:r>
            <a:endParaRPr lang="en-GB" b="1" dirty="0" smtClean="0">
              <a:solidFill>
                <a:srgbClr val="FF0000"/>
              </a:solidFill>
            </a:endParaRPr>
          </a:p>
          <a:p>
            <a:pPr lvl="1" algn="just"/>
            <a:r>
              <a:rPr lang="en-GB" sz="1600" u="sng" dirty="0" smtClean="0"/>
              <a:t>Normal day scenario </a:t>
            </a:r>
            <a:r>
              <a:rPr lang="en-GB" sz="1600" dirty="0"/>
              <a:t>the configuration for the market trial will include all borders that will be coupled at </a:t>
            </a:r>
            <a:r>
              <a:rPr lang="en-GB" sz="1600" dirty="0" err="1"/>
              <a:t>go-live</a:t>
            </a:r>
            <a:r>
              <a:rPr lang="en-GB" sz="1600" dirty="0"/>
              <a:t>. (see next slide</a:t>
            </a:r>
            <a:r>
              <a:rPr lang="en-GB" sz="1600" dirty="0" smtClean="0"/>
              <a:t>). </a:t>
            </a:r>
            <a:r>
              <a:rPr lang="en-GB" sz="1600" dirty="0"/>
              <a:t>This will be the opportunity to perform testing against production-like products and get used to different layers of matching: Local Trading System or XBID, depending of the scenario tested</a:t>
            </a:r>
          </a:p>
          <a:p>
            <a:pPr lvl="1" algn="just"/>
            <a:endParaRPr lang="en-GB" sz="1600" u="sng" dirty="0" smtClean="0"/>
          </a:p>
          <a:p>
            <a:pPr lvl="1" algn="just"/>
            <a:r>
              <a:rPr lang="en-GB" sz="1600" u="sng" dirty="0" smtClean="0"/>
              <a:t>Trade recall and cancellation </a:t>
            </a:r>
            <a:r>
              <a:rPr lang="en-GB" sz="1600" dirty="0" smtClean="0"/>
              <a:t>mechanism. For and between the NEMOs offering the service, NP and EPEX, harmonized operational timings will be used</a:t>
            </a:r>
          </a:p>
          <a:p>
            <a:pPr lvl="2" algn="just"/>
            <a:r>
              <a:rPr lang="en-GB" sz="1600" dirty="0" smtClean="0"/>
              <a:t>Max </a:t>
            </a:r>
            <a:r>
              <a:rPr lang="en-GB" sz="1600" dirty="0"/>
              <a:t>time to request a recall after trade : 5mins</a:t>
            </a:r>
          </a:p>
          <a:p>
            <a:pPr lvl="2" algn="just"/>
            <a:r>
              <a:rPr lang="en-GB" sz="1600" dirty="0"/>
              <a:t>Admin reaction time: 15mins</a:t>
            </a:r>
          </a:p>
          <a:p>
            <a:pPr lvl="2" algn="just"/>
            <a:r>
              <a:rPr lang="en-GB" sz="1600" dirty="0"/>
              <a:t>Time before trading ends and delivery starts: 20mins</a:t>
            </a:r>
          </a:p>
          <a:p>
            <a:pPr lvl="2" algn="just"/>
            <a:endParaRPr lang="en-GB" sz="1600" dirty="0"/>
          </a:p>
          <a:p>
            <a:pPr lvl="1" algn="just"/>
            <a:r>
              <a:rPr lang="en-GB" sz="1600" u="sng" dirty="0" smtClean="0"/>
              <a:t>Incident </a:t>
            </a:r>
            <a:r>
              <a:rPr lang="en-GB" sz="1600" u="sng" dirty="0"/>
              <a:t>cases</a:t>
            </a:r>
            <a:r>
              <a:rPr lang="en-GB" sz="1600" dirty="0"/>
              <a:t>: closure of interconnectors in XBID, closure or market area in XBID, XBID down. Specific messages will be communicated, specific local NEMO processes in local trading systems might be proposed</a:t>
            </a:r>
            <a:r>
              <a:rPr lang="en-GB" sz="1600" dirty="0" smtClean="0"/>
              <a:t>.</a:t>
            </a:r>
            <a:endParaRPr lang="en-GB" sz="1600" dirty="0"/>
          </a:p>
        </p:txBody>
      </p:sp>
      <p:sp>
        <p:nvSpPr>
          <p:cNvPr id="5" name="Textfeld 4"/>
          <p:cNvSpPr txBox="1"/>
          <p:nvPr/>
        </p:nvSpPr>
        <p:spPr>
          <a:xfrm>
            <a:off x="8562769" y="1341457"/>
            <a:ext cx="581231" cy="1077218"/>
          </a:xfrm>
          <a:prstGeom prst="rect">
            <a:avLst/>
          </a:prstGeom>
          <a:noFill/>
        </p:spPr>
        <p:txBody>
          <a:bodyPr wrap="square" lIns="0" tIns="0" rIns="0" bIns="0" rtlCol="0">
            <a:spAutoFit/>
          </a:bodyPr>
          <a:lstStyle/>
          <a:p>
            <a:pPr algn="ctr"/>
            <a:endParaRPr lang="en-GB" sz="800" b="1">
              <a:solidFill>
                <a:srgbClr val="92D050"/>
              </a:solidFill>
              <a:sym typeface="Wingdings"/>
            </a:endParaRPr>
          </a:p>
          <a:p>
            <a:pPr algn="ctr"/>
            <a:endParaRPr lang="en-GB" sz="1400" b="1">
              <a:solidFill>
                <a:srgbClr val="92D050"/>
              </a:solidFill>
              <a:sym typeface="Wingdings"/>
            </a:endParaRPr>
          </a:p>
          <a:p>
            <a:pPr algn="ctr"/>
            <a:endParaRPr lang="en-GB" sz="2400" b="1">
              <a:solidFill>
                <a:srgbClr val="92D050"/>
              </a:solidFill>
              <a:sym typeface="Wingdings"/>
            </a:endParaRPr>
          </a:p>
          <a:p>
            <a:pPr algn="ctr"/>
            <a:endParaRPr lang="en-GB" sz="2400" b="1" dirty="0">
              <a:solidFill>
                <a:srgbClr val="92D050"/>
              </a:solidFill>
            </a:endParaRPr>
          </a:p>
        </p:txBody>
      </p:sp>
    </p:spTree>
    <p:extLst>
      <p:ext uri="{BB962C8B-B14F-4D97-AF65-F5344CB8AC3E}">
        <p14:creationId xmlns:p14="http://schemas.microsoft.com/office/powerpoint/2010/main" val="19822645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Benefits delivered by XBID</a:t>
            </a:r>
            <a:endParaRPr lang="de-DE" dirty="0"/>
          </a:p>
        </p:txBody>
      </p:sp>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9</a:t>
            </a:fld>
            <a:endParaRPr lang="en-US" altLang="en-US" dirty="0"/>
          </a:p>
        </p:txBody>
      </p:sp>
      <p:sp>
        <p:nvSpPr>
          <p:cNvPr id="4" name="Textplatzhalter 3"/>
          <p:cNvSpPr>
            <a:spLocks noGrp="1"/>
          </p:cNvSpPr>
          <p:nvPr>
            <p:ph type="body" sz="quarter" idx="13"/>
          </p:nvPr>
        </p:nvSpPr>
        <p:spPr/>
        <p:txBody>
          <a:bodyPr>
            <a:normAutofit lnSpcReduction="10000"/>
          </a:bodyPr>
          <a:lstStyle/>
          <a:p>
            <a:pPr algn="just"/>
            <a:r>
              <a:rPr lang="en-GB" sz="2000" dirty="0"/>
              <a:t>Cross-border trading opportunity ‘within day’ across Europe on a harmonised platform.</a:t>
            </a:r>
          </a:p>
          <a:p>
            <a:pPr algn="just"/>
            <a:r>
              <a:rPr lang="en-GB" sz="2000" dirty="0"/>
              <a:t>As the Intraday market develops it will enable increased optimisation of the use of generation - especially variable RES</a:t>
            </a:r>
          </a:p>
          <a:p>
            <a:pPr algn="just"/>
            <a:r>
              <a:rPr lang="en-GB" sz="2000" dirty="0"/>
              <a:t>Will lead to welfare benefits</a:t>
            </a:r>
          </a:p>
          <a:p>
            <a:pPr algn="just"/>
            <a:r>
              <a:rPr lang="en-GB" sz="2000" dirty="0"/>
              <a:t>Brings the whole European Intraday continuous market together and complements the existing Day Ahead market</a:t>
            </a:r>
          </a:p>
          <a:p>
            <a:pPr algn="just"/>
            <a:r>
              <a:rPr lang="en-GB" sz="2000" dirty="0"/>
              <a:t>Capable of delivering a wide product range – 15 minutes, 30 minutes, hourly, block products etc.</a:t>
            </a:r>
          </a:p>
          <a:p>
            <a:pPr algn="just"/>
            <a:r>
              <a:rPr lang="en-GB" sz="2000" dirty="0"/>
              <a:t>Wide range of orders types</a:t>
            </a:r>
            <a:endParaRPr lang="en-US" sz="2000" strike="sngStrike" dirty="0"/>
          </a:p>
          <a:p>
            <a:pPr lvl="1" algn="just"/>
            <a:r>
              <a:rPr lang="en-US" sz="2000" dirty="0"/>
              <a:t>Iceberg-enabled (they can be made into an iceberg)</a:t>
            </a:r>
          </a:p>
          <a:p>
            <a:pPr lvl="1" algn="just"/>
            <a:r>
              <a:rPr lang="en-US" sz="2000" dirty="0"/>
              <a:t>Link-enabled (they can be linked)</a:t>
            </a:r>
          </a:p>
          <a:p>
            <a:pPr lvl="1" algn="just"/>
            <a:r>
              <a:rPr lang="en-US" sz="2000" dirty="0"/>
              <a:t>Block-order-enabled (they can be combined into user defined blocks)</a:t>
            </a:r>
            <a:endParaRPr lang="en-GB" sz="2000" dirty="0"/>
          </a:p>
          <a:p>
            <a:pPr algn="just"/>
            <a:r>
              <a:rPr lang="en-GB" sz="2000" dirty="0"/>
              <a:t>Supports a wide range of contract </a:t>
            </a:r>
            <a:r>
              <a:rPr lang="en-GB" sz="2000" dirty="0" smtClean="0"/>
              <a:t>types</a:t>
            </a:r>
            <a:endParaRPr lang="en-GB" sz="2000" dirty="0"/>
          </a:p>
        </p:txBody>
      </p:sp>
    </p:spTree>
    <p:extLst>
      <p:ext uri="{BB962C8B-B14F-4D97-AF65-F5344CB8AC3E}">
        <p14:creationId xmlns:p14="http://schemas.microsoft.com/office/powerpoint/2010/main" val="1781133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386" y="830201"/>
            <a:ext cx="8046000" cy="583015"/>
          </a:xfrm>
          <a:noFill/>
        </p:spPr>
        <p:txBody>
          <a:bodyPr vert="horz" lIns="0" tIns="0" rIns="0" bIns="0" rtlCol="0" anchor="t" anchorCtr="0">
            <a:noAutofit/>
          </a:bodyPr>
          <a:lstStyle/>
          <a:p>
            <a:r>
              <a:rPr lang="en-GB" dirty="0"/>
              <a:t>2. Go-live sequence</a:t>
            </a:r>
            <a:br>
              <a:rPr lang="en-GB" dirty="0"/>
            </a:br>
            <a:endParaRPr lang="en-GB" dirty="0"/>
          </a:p>
        </p:txBody>
      </p:sp>
      <p:sp>
        <p:nvSpPr>
          <p:cNvPr id="3" name="Slide Number Placeholder 2"/>
          <p:cNvSpPr>
            <a:spLocks noGrp="1"/>
          </p:cNvSpPr>
          <p:nvPr>
            <p:ph type="sldNum" sz="quarter" idx="11"/>
          </p:nvPr>
        </p:nvSpPr>
        <p:spPr/>
        <p:txBody>
          <a:bodyPr/>
          <a:lstStyle/>
          <a:p>
            <a:fld id="{AD89DE65-C7D9-40CE-B96E-B8C3E7B233C5}" type="slidenum">
              <a:rPr lang="en-GB" smtClean="0">
                <a:solidFill>
                  <a:prstClr val="black"/>
                </a:solidFill>
              </a:rPr>
              <a:pPr/>
              <a:t>90</a:t>
            </a:fld>
            <a:endParaRPr lang="en-GB" dirty="0">
              <a:solidFill>
                <a:prstClr val="black"/>
              </a:solidFill>
            </a:endParaRPr>
          </a:p>
        </p:txBody>
      </p:sp>
      <p:sp>
        <p:nvSpPr>
          <p:cNvPr id="4" name="Text Placeholder 3"/>
          <p:cNvSpPr>
            <a:spLocks noGrp="1"/>
          </p:cNvSpPr>
          <p:nvPr>
            <p:ph type="body" sz="quarter" idx="13"/>
          </p:nvPr>
        </p:nvSpPr>
        <p:spPr>
          <a:xfrm>
            <a:off x="540386" y="1182636"/>
            <a:ext cx="8046000" cy="5290473"/>
          </a:xfrm>
        </p:spPr>
        <p:txBody>
          <a:bodyPr>
            <a:noAutofit/>
          </a:bodyPr>
          <a:lstStyle/>
          <a:p>
            <a:pPr algn="just"/>
            <a:endParaRPr lang="en-GB" sz="2000" b="1" dirty="0"/>
          </a:p>
          <a:p>
            <a:pPr marL="0" indent="0" algn="just">
              <a:buNone/>
            </a:pPr>
            <a:r>
              <a:rPr lang="en-GB" b="1" u="sng" dirty="0"/>
              <a:t>Local markets</a:t>
            </a:r>
          </a:p>
          <a:p>
            <a:pPr lvl="1" algn="just"/>
            <a:r>
              <a:rPr lang="en-GB" sz="1600" dirty="0"/>
              <a:t>Each NEMO will communicate on the potential down times of its local markets.</a:t>
            </a:r>
          </a:p>
          <a:p>
            <a:pPr lvl="1" algn="just"/>
            <a:r>
              <a:rPr lang="en-GB" sz="1600" dirty="0"/>
              <a:t>First tradeable local contracts in local trading systems could be available earlier than the start of cross-border capacities allocation.</a:t>
            </a:r>
          </a:p>
          <a:p>
            <a:pPr lvl="1" algn="just"/>
            <a:endParaRPr lang="en-GB" sz="1600" dirty="0"/>
          </a:p>
          <a:p>
            <a:pPr marL="0" indent="0" algn="just">
              <a:buNone/>
            </a:pPr>
            <a:r>
              <a:rPr lang="en-GB" b="1" u="sng" dirty="0"/>
              <a:t>Cross-border markets</a:t>
            </a:r>
          </a:p>
          <a:p>
            <a:pPr lvl="1" algn="just"/>
            <a:r>
              <a:rPr lang="en-GB" sz="1600" dirty="0"/>
              <a:t>XBID is targeted to be implemented on the </a:t>
            </a:r>
            <a:r>
              <a:rPr lang="en-GB" sz="1600" b="1" dirty="0" smtClean="0"/>
              <a:t>12</a:t>
            </a:r>
            <a:r>
              <a:rPr lang="en-GB" sz="1600" b="1" baseline="30000" dirty="0" smtClean="0"/>
              <a:t>th</a:t>
            </a:r>
            <a:r>
              <a:rPr lang="en-GB" sz="1600" b="1" dirty="0" smtClean="0"/>
              <a:t> June </a:t>
            </a:r>
            <a:r>
              <a:rPr lang="en-GB" sz="1600" b="1" dirty="0"/>
              <a:t>2018 </a:t>
            </a:r>
            <a:r>
              <a:rPr lang="en-GB" sz="1600" dirty="0"/>
              <a:t>and first tradeable cross-border contracts will be for the </a:t>
            </a:r>
            <a:r>
              <a:rPr lang="en-GB" sz="1600" b="1" dirty="0" smtClean="0"/>
              <a:t>13</a:t>
            </a:r>
            <a:r>
              <a:rPr lang="en-GB" sz="1600" b="1" baseline="30000" dirty="0" smtClean="0"/>
              <a:t>th</a:t>
            </a:r>
            <a:r>
              <a:rPr lang="en-GB" sz="1600" b="1" dirty="0" smtClean="0"/>
              <a:t> June </a:t>
            </a:r>
            <a:r>
              <a:rPr lang="en-GB" sz="1600" b="1" dirty="0"/>
              <a:t>2018 [00:00-01:00]</a:t>
            </a:r>
          </a:p>
          <a:p>
            <a:pPr lvl="2" algn="just"/>
            <a:r>
              <a:rPr lang="en-GB" sz="1600" dirty="0"/>
              <a:t>NB. The detailed launch plan and checklists are still being worked on, detailed information on the duration of the migration, downtimes of ‘old’ and ‘new’ platforms are still being investigated.</a:t>
            </a:r>
          </a:p>
          <a:p>
            <a:pPr lvl="2" algn="just"/>
            <a:r>
              <a:rPr lang="en-GB" sz="1600" dirty="0"/>
              <a:t>Downtimes will be limited as much as possible but there is a risk that there will be no cross border allocation possible for one day.  </a:t>
            </a:r>
          </a:p>
          <a:p>
            <a:pPr lvl="1" algn="just"/>
            <a:r>
              <a:rPr lang="en-GB" sz="1600" dirty="0"/>
              <a:t>Capacities will be published according to the timings defined by the relevant TSOs on a border per border basis.</a:t>
            </a:r>
          </a:p>
          <a:p>
            <a:pPr lvl="1" algn="just"/>
            <a:endParaRPr lang="en-GB" sz="1600" dirty="0"/>
          </a:p>
          <a:p>
            <a:pPr lvl="1" algn="just"/>
            <a:endParaRPr lang="en-GB" sz="1400" dirty="0"/>
          </a:p>
          <a:p>
            <a:pPr lvl="1" algn="just"/>
            <a:endParaRPr lang="en-GB" sz="1400" dirty="0"/>
          </a:p>
        </p:txBody>
      </p:sp>
      <p:sp>
        <p:nvSpPr>
          <p:cNvPr id="5" name="Textfeld 4"/>
          <p:cNvSpPr txBox="1"/>
          <p:nvPr/>
        </p:nvSpPr>
        <p:spPr>
          <a:xfrm>
            <a:off x="8562769" y="1341457"/>
            <a:ext cx="581231" cy="1077218"/>
          </a:xfrm>
          <a:prstGeom prst="rect">
            <a:avLst/>
          </a:prstGeom>
          <a:noFill/>
        </p:spPr>
        <p:txBody>
          <a:bodyPr wrap="square" lIns="0" tIns="0" rIns="0" bIns="0" rtlCol="0">
            <a:spAutoFit/>
          </a:bodyPr>
          <a:lstStyle/>
          <a:p>
            <a:pPr algn="ctr"/>
            <a:endParaRPr lang="en-GB" sz="800" b="1">
              <a:solidFill>
                <a:srgbClr val="92D050"/>
              </a:solidFill>
              <a:sym typeface="Wingdings"/>
            </a:endParaRPr>
          </a:p>
          <a:p>
            <a:pPr algn="ctr"/>
            <a:endParaRPr lang="en-GB" sz="1400" b="1">
              <a:solidFill>
                <a:srgbClr val="92D050"/>
              </a:solidFill>
              <a:sym typeface="Wingdings"/>
            </a:endParaRPr>
          </a:p>
          <a:p>
            <a:pPr algn="ctr"/>
            <a:endParaRPr lang="en-GB" sz="2400" b="1">
              <a:solidFill>
                <a:srgbClr val="92D050"/>
              </a:solidFill>
              <a:sym typeface="Wingdings"/>
            </a:endParaRPr>
          </a:p>
          <a:p>
            <a:pPr algn="ctr"/>
            <a:endParaRPr lang="en-GB" sz="2400" b="1" dirty="0">
              <a:solidFill>
                <a:srgbClr val="92D050"/>
              </a:solidFill>
            </a:endParaRPr>
          </a:p>
        </p:txBody>
      </p:sp>
    </p:spTree>
    <p:extLst>
      <p:ext uri="{BB962C8B-B14F-4D97-AF65-F5344CB8AC3E}">
        <p14:creationId xmlns:p14="http://schemas.microsoft.com/office/powerpoint/2010/main" val="801068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Connecteur droit 20"/>
          <p:cNvCxnSpPr/>
          <p:nvPr/>
        </p:nvCxnSpPr>
        <p:spPr>
          <a:xfrm>
            <a:off x="4157669" y="3753143"/>
            <a:ext cx="0" cy="43085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Connecteur droit 20"/>
          <p:cNvCxnSpPr/>
          <p:nvPr/>
        </p:nvCxnSpPr>
        <p:spPr>
          <a:xfrm>
            <a:off x="5565685" y="3769063"/>
            <a:ext cx="0" cy="43085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540386" y="822250"/>
            <a:ext cx="8046000" cy="583015"/>
          </a:xfrm>
          <a:noFill/>
        </p:spPr>
        <p:txBody>
          <a:bodyPr vert="horz" lIns="0" tIns="0" rIns="0" bIns="0" rtlCol="0" anchor="t" anchorCtr="0">
            <a:noAutofit/>
          </a:bodyPr>
          <a:lstStyle/>
          <a:p>
            <a:r>
              <a:rPr lang="en-GB" dirty="0"/>
              <a:t>3. </a:t>
            </a:r>
            <a:r>
              <a:rPr lang="en-GB" dirty="0" smtClean="0"/>
              <a:t>Summary</a:t>
            </a:r>
            <a:r>
              <a:rPr lang="en-GB" dirty="0"/>
              <a:t/>
            </a:r>
            <a:br>
              <a:rPr lang="en-GB" dirty="0"/>
            </a:br>
            <a:endParaRPr lang="en-GB" dirty="0"/>
          </a:p>
        </p:txBody>
      </p:sp>
      <p:sp>
        <p:nvSpPr>
          <p:cNvPr id="3" name="Slide Number Placeholder 2"/>
          <p:cNvSpPr>
            <a:spLocks noGrp="1"/>
          </p:cNvSpPr>
          <p:nvPr>
            <p:ph type="sldNum" sz="quarter" idx="11"/>
          </p:nvPr>
        </p:nvSpPr>
        <p:spPr/>
        <p:txBody>
          <a:bodyPr/>
          <a:lstStyle/>
          <a:p>
            <a:fld id="{AD89DE65-C7D9-40CE-B96E-B8C3E7B233C5}" type="slidenum">
              <a:rPr lang="en-GB" smtClean="0">
                <a:solidFill>
                  <a:prstClr val="black"/>
                </a:solidFill>
              </a:rPr>
              <a:pPr/>
              <a:t>91</a:t>
            </a:fld>
            <a:endParaRPr lang="en-GB" dirty="0">
              <a:solidFill>
                <a:prstClr val="black"/>
              </a:solidFill>
            </a:endParaRPr>
          </a:p>
        </p:txBody>
      </p:sp>
      <p:sp>
        <p:nvSpPr>
          <p:cNvPr id="4" name="Text Placeholder 3"/>
          <p:cNvSpPr>
            <a:spLocks noGrp="1"/>
          </p:cNvSpPr>
          <p:nvPr>
            <p:ph type="body" sz="quarter" idx="13"/>
          </p:nvPr>
        </p:nvSpPr>
        <p:spPr>
          <a:xfrm>
            <a:off x="540386" y="1478943"/>
            <a:ext cx="8046000" cy="4994166"/>
          </a:xfrm>
        </p:spPr>
        <p:txBody>
          <a:bodyPr>
            <a:noAutofit/>
          </a:bodyPr>
          <a:lstStyle/>
          <a:p>
            <a:pPr algn="just"/>
            <a:r>
              <a:rPr lang="en-GB" b="1" dirty="0" smtClean="0"/>
              <a:t>Timeline</a:t>
            </a:r>
            <a:endParaRPr lang="en-GB" b="1" dirty="0"/>
          </a:p>
          <a:p>
            <a:pPr lvl="1" algn="just"/>
            <a:endParaRPr lang="en-GB" sz="1400" dirty="0"/>
          </a:p>
        </p:txBody>
      </p:sp>
      <p:sp>
        <p:nvSpPr>
          <p:cNvPr id="6" name="Flèche droite 5"/>
          <p:cNvSpPr/>
          <p:nvPr/>
        </p:nvSpPr>
        <p:spPr>
          <a:xfrm>
            <a:off x="415448" y="3881007"/>
            <a:ext cx="8517924" cy="115502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7" name="Connecteur droit 6"/>
          <p:cNvCxnSpPr>
            <a:stCxn id="8" idx="2"/>
          </p:cNvCxnSpPr>
          <p:nvPr/>
        </p:nvCxnSpPr>
        <p:spPr>
          <a:xfrm>
            <a:off x="1209062" y="3606290"/>
            <a:ext cx="7147" cy="549432"/>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580862" y="2361071"/>
            <a:ext cx="1256400" cy="1245219"/>
          </a:xfrm>
          <a:prstGeom prst="rect">
            <a:avLst/>
          </a:prstGeom>
          <a:noFill/>
          <a:ln w="127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solidFill>
                  <a:schemeClr val="tx1"/>
                </a:solidFill>
              </a:rPr>
              <a:t>1</a:t>
            </a:r>
            <a:r>
              <a:rPr lang="en-GB" baseline="30000" dirty="0" smtClean="0">
                <a:solidFill>
                  <a:schemeClr val="tx1"/>
                </a:solidFill>
              </a:rPr>
              <a:t>st</a:t>
            </a:r>
            <a:r>
              <a:rPr lang="en-GB" dirty="0" smtClean="0">
                <a:solidFill>
                  <a:schemeClr val="tx1"/>
                </a:solidFill>
              </a:rPr>
              <a:t> XBID </a:t>
            </a:r>
            <a:r>
              <a:rPr lang="en-GB" dirty="0">
                <a:solidFill>
                  <a:schemeClr val="tx1"/>
                </a:solidFill>
              </a:rPr>
              <a:t>Market </a:t>
            </a:r>
            <a:r>
              <a:rPr lang="en-GB" dirty="0" smtClean="0">
                <a:solidFill>
                  <a:schemeClr val="tx1"/>
                </a:solidFill>
              </a:rPr>
              <a:t>Trial </a:t>
            </a:r>
            <a:endParaRPr lang="en-GB" sz="2400" dirty="0">
              <a:solidFill>
                <a:schemeClr val="tx1"/>
              </a:solidFill>
            </a:endParaRPr>
          </a:p>
        </p:txBody>
      </p:sp>
      <p:sp>
        <p:nvSpPr>
          <p:cNvPr id="10" name="Rectangle 9"/>
          <p:cNvSpPr/>
          <p:nvPr/>
        </p:nvSpPr>
        <p:spPr>
          <a:xfrm>
            <a:off x="4955965" y="2169994"/>
            <a:ext cx="1256400" cy="1583149"/>
          </a:xfrm>
          <a:prstGeom prst="rect">
            <a:avLst/>
          </a:prstGeom>
          <a:noFill/>
          <a:ln w="127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solidFill>
                  <a:schemeClr val="tx1"/>
                </a:solidFill>
              </a:rPr>
              <a:t>First tradeable cross border contracts</a:t>
            </a:r>
            <a:endParaRPr lang="en-GB" sz="2400" dirty="0">
              <a:solidFill>
                <a:schemeClr val="tx1"/>
              </a:solidFill>
            </a:endParaRPr>
          </a:p>
        </p:txBody>
      </p:sp>
      <p:sp>
        <p:nvSpPr>
          <p:cNvPr id="12" name="Rectangle 11"/>
          <p:cNvSpPr/>
          <p:nvPr/>
        </p:nvSpPr>
        <p:spPr>
          <a:xfrm>
            <a:off x="6523631" y="2361071"/>
            <a:ext cx="1256400" cy="1245219"/>
          </a:xfrm>
          <a:prstGeom prst="rect">
            <a:avLst/>
          </a:prstGeom>
          <a:noFill/>
          <a:ln w="127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solidFill>
                  <a:schemeClr val="tx1"/>
                </a:solidFill>
              </a:rPr>
              <a:t>End of XBID </a:t>
            </a:r>
            <a:r>
              <a:rPr lang="en-GB" dirty="0" smtClean="0">
                <a:solidFill>
                  <a:schemeClr val="tx1"/>
                </a:solidFill>
              </a:rPr>
              <a:t>rollback period</a:t>
            </a:r>
            <a:endParaRPr lang="en-GB" sz="2400" dirty="0">
              <a:solidFill>
                <a:schemeClr val="tx1"/>
              </a:solidFill>
            </a:endParaRPr>
          </a:p>
        </p:txBody>
      </p:sp>
      <p:sp>
        <p:nvSpPr>
          <p:cNvPr id="13" name="Rectangle 12"/>
          <p:cNvSpPr/>
          <p:nvPr/>
        </p:nvSpPr>
        <p:spPr>
          <a:xfrm>
            <a:off x="542675" y="4287452"/>
            <a:ext cx="1577676" cy="338554"/>
          </a:xfrm>
          <a:prstGeom prst="rect">
            <a:avLst/>
          </a:prstGeom>
        </p:spPr>
        <p:txBody>
          <a:bodyPr wrap="none">
            <a:spAutoFit/>
          </a:bodyPr>
          <a:lstStyle/>
          <a:p>
            <a:r>
              <a:rPr lang="en-GB" sz="1600" b="1" dirty="0" smtClean="0">
                <a:solidFill>
                  <a:schemeClr val="bg1"/>
                </a:solidFill>
              </a:rPr>
              <a:t>[26/02 </a:t>
            </a:r>
            <a:r>
              <a:rPr lang="en-GB" sz="1600" b="1" dirty="0">
                <a:solidFill>
                  <a:schemeClr val="bg1"/>
                </a:solidFill>
              </a:rPr>
              <a:t>– 02/03</a:t>
            </a:r>
            <a:r>
              <a:rPr lang="en-GB" sz="1600" b="1" dirty="0" smtClean="0">
                <a:solidFill>
                  <a:schemeClr val="bg1"/>
                </a:solidFill>
              </a:rPr>
              <a:t>]</a:t>
            </a:r>
            <a:endParaRPr lang="en-GB" sz="1600" b="1" dirty="0">
              <a:solidFill>
                <a:schemeClr val="bg1"/>
              </a:solidFill>
            </a:endParaRPr>
          </a:p>
        </p:txBody>
      </p:sp>
      <p:sp>
        <p:nvSpPr>
          <p:cNvPr id="15" name="Rectangle 14"/>
          <p:cNvSpPr/>
          <p:nvPr/>
        </p:nvSpPr>
        <p:spPr>
          <a:xfrm>
            <a:off x="6490540" y="4287452"/>
            <a:ext cx="1433790" cy="338554"/>
          </a:xfrm>
          <a:prstGeom prst="rect">
            <a:avLst/>
          </a:prstGeom>
        </p:spPr>
        <p:txBody>
          <a:bodyPr wrap="none">
            <a:spAutoFit/>
          </a:bodyPr>
          <a:lstStyle/>
          <a:p>
            <a:pPr algn="ctr"/>
            <a:r>
              <a:rPr lang="en-GB" sz="1600" b="1" dirty="0">
                <a:solidFill>
                  <a:schemeClr val="bg1"/>
                </a:solidFill>
              </a:rPr>
              <a:t>[</a:t>
            </a:r>
            <a:r>
              <a:rPr lang="en-GB" sz="1600" b="1" dirty="0" smtClean="0">
                <a:solidFill>
                  <a:schemeClr val="bg1"/>
                </a:solidFill>
              </a:rPr>
              <a:t>14</a:t>
            </a:r>
            <a:r>
              <a:rPr lang="en-GB" sz="1600" b="1" baseline="30000" dirty="0" smtClean="0">
                <a:solidFill>
                  <a:schemeClr val="bg1"/>
                </a:solidFill>
              </a:rPr>
              <a:t>th</a:t>
            </a:r>
            <a:r>
              <a:rPr lang="en-GB" sz="1600" b="1" dirty="0" smtClean="0">
                <a:solidFill>
                  <a:schemeClr val="bg1"/>
                </a:solidFill>
              </a:rPr>
              <a:t> August]</a:t>
            </a:r>
            <a:endParaRPr lang="en-GB" sz="1600" b="1" dirty="0">
              <a:solidFill>
                <a:schemeClr val="bg1"/>
              </a:solidFill>
            </a:endParaRPr>
          </a:p>
        </p:txBody>
      </p:sp>
      <p:sp>
        <p:nvSpPr>
          <p:cNvPr id="18" name="Rectangle 17"/>
          <p:cNvSpPr/>
          <p:nvPr/>
        </p:nvSpPr>
        <p:spPr>
          <a:xfrm>
            <a:off x="5145074" y="4287452"/>
            <a:ext cx="1075936" cy="338554"/>
          </a:xfrm>
          <a:prstGeom prst="rect">
            <a:avLst/>
          </a:prstGeom>
        </p:spPr>
        <p:txBody>
          <a:bodyPr wrap="none">
            <a:spAutoFit/>
          </a:bodyPr>
          <a:lstStyle/>
          <a:p>
            <a:r>
              <a:rPr lang="en-GB" sz="1600" b="1" dirty="0" smtClean="0">
                <a:solidFill>
                  <a:schemeClr val="bg1"/>
                </a:solidFill>
              </a:rPr>
              <a:t>13</a:t>
            </a:r>
            <a:r>
              <a:rPr lang="en-GB" sz="1600" b="1" baseline="30000" dirty="0" smtClean="0">
                <a:solidFill>
                  <a:schemeClr val="bg1"/>
                </a:solidFill>
              </a:rPr>
              <a:t>th</a:t>
            </a:r>
            <a:r>
              <a:rPr lang="en-GB" sz="1600" b="1" dirty="0" smtClean="0">
                <a:solidFill>
                  <a:schemeClr val="bg1"/>
                </a:solidFill>
              </a:rPr>
              <a:t> June</a:t>
            </a:r>
            <a:endParaRPr lang="en-GB" sz="1600" b="1" dirty="0">
              <a:solidFill>
                <a:schemeClr val="bg1"/>
              </a:solidFill>
            </a:endParaRPr>
          </a:p>
        </p:txBody>
      </p:sp>
      <p:cxnSp>
        <p:nvCxnSpPr>
          <p:cNvPr id="19" name="Connecteur droit 18"/>
          <p:cNvCxnSpPr>
            <a:stCxn id="10" idx="2"/>
          </p:cNvCxnSpPr>
          <p:nvPr/>
        </p:nvCxnSpPr>
        <p:spPr>
          <a:xfrm>
            <a:off x="5584165" y="3753143"/>
            <a:ext cx="0" cy="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20" name="Rectangle 19"/>
          <p:cNvSpPr/>
          <p:nvPr/>
        </p:nvSpPr>
        <p:spPr>
          <a:xfrm>
            <a:off x="3719385" y="4287452"/>
            <a:ext cx="1075936" cy="338554"/>
          </a:xfrm>
          <a:prstGeom prst="rect">
            <a:avLst/>
          </a:prstGeom>
        </p:spPr>
        <p:txBody>
          <a:bodyPr wrap="none">
            <a:spAutoFit/>
          </a:bodyPr>
          <a:lstStyle/>
          <a:p>
            <a:r>
              <a:rPr lang="en-GB" sz="1600" b="1" dirty="0" smtClean="0">
                <a:solidFill>
                  <a:schemeClr val="bg1"/>
                </a:solidFill>
              </a:rPr>
              <a:t>12</a:t>
            </a:r>
            <a:r>
              <a:rPr lang="en-GB" sz="1600" b="1" baseline="30000" dirty="0" smtClean="0">
                <a:solidFill>
                  <a:schemeClr val="bg1"/>
                </a:solidFill>
              </a:rPr>
              <a:t>th</a:t>
            </a:r>
            <a:r>
              <a:rPr lang="en-GB" sz="1600" b="1" dirty="0" smtClean="0">
                <a:solidFill>
                  <a:schemeClr val="bg1"/>
                </a:solidFill>
              </a:rPr>
              <a:t> June</a:t>
            </a:r>
            <a:endParaRPr lang="en-GB" sz="1600" b="1" dirty="0">
              <a:solidFill>
                <a:schemeClr val="bg1"/>
              </a:solidFill>
            </a:endParaRPr>
          </a:p>
        </p:txBody>
      </p:sp>
      <p:sp>
        <p:nvSpPr>
          <p:cNvPr id="22" name="Rectangle 21"/>
          <p:cNvSpPr/>
          <p:nvPr/>
        </p:nvSpPr>
        <p:spPr>
          <a:xfrm>
            <a:off x="3457380" y="2169994"/>
            <a:ext cx="1256343" cy="1583149"/>
          </a:xfrm>
          <a:prstGeom prst="rect">
            <a:avLst/>
          </a:prstGeom>
          <a:noFill/>
          <a:ln w="127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solidFill>
                  <a:schemeClr val="tx1"/>
                </a:solidFill>
              </a:rPr>
              <a:t>XBID implemented and trading open</a:t>
            </a:r>
          </a:p>
        </p:txBody>
      </p:sp>
      <p:cxnSp>
        <p:nvCxnSpPr>
          <p:cNvPr id="26" name="Connecteur droit 25"/>
          <p:cNvCxnSpPr/>
          <p:nvPr/>
        </p:nvCxnSpPr>
        <p:spPr>
          <a:xfrm>
            <a:off x="7152190" y="3606290"/>
            <a:ext cx="7148" cy="553552"/>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23" name="Rectangle 22"/>
          <p:cNvSpPr/>
          <p:nvPr/>
        </p:nvSpPr>
        <p:spPr>
          <a:xfrm>
            <a:off x="2032579" y="4287452"/>
            <a:ext cx="1577676" cy="338554"/>
          </a:xfrm>
          <a:prstGeom prst="rect">
            <a:avLst/>
          </a:prstGeom>
        </p:spPr>
        <p:txBody>
          <a:bodyPr wrap="none">
            <a:spAutoFit/>
          </a:bodyPr>
          <a:lstStyle/>
          <a:p>
            <a:r>
              <a:rPr lang="en-GB" sz="1600" b="1" dirty="0" smtClean="0">
                <a:solidFill>
                  <a:schemeClr val="bg1"/>
                </a:solidFill>
              </a:rPr>
              <a:t>[14/05 </a:t>
            </a:r>
            <a:r>
              <a:rPr lang="en-GB" sz="1600" b="1" dirty="0">
                <a:solidFill>
                  <a:schemeClr val="bg1"/>
                </a:solidFill>
              </a:rPr>
              <a:t>– </a:t>
            </a:r>
            <a:r>
              <a:rPr lang="en-GB" sz="1600" b="1" dirty="0" smtClean="0">
                <a:solidFill>
                  <a:schemeClr val="bg1"/>
                </a:solidFill>
              </a:rPr>
              <a:t>18/05]</a:t>
            </a:r>
            <a:endParaRPr lang="en-GB" sz="1600" b="1" dirty="0">
              <a:solidFill>
                <a:schemeClr val="bg1"/>
              </a:solidFill>
            </a:endParaRPr>
          </a:p>
        </p:txBody>
      </p:sp>
      <p:cxnSp>
        <p:nvCxnSpPr>
          <p:cNvPr id="24" name="Connecteur droit 6"/>
          <p:cNvCxnSpPr>
            <a:stCxn id="25" idx="2"/>
          </p:cNvCxnSpPr>
          <p:nvPr/>
        </p:nvCxnSpPr>
        <p:spPr>
          <a:xfrm>
            <a:off x="2671670" y="3608562"/>
            <a:ext cx="7147" cy="549432"/>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sp>
        <p:nvSpPr>
          <p:cNvPr id="25" name="Rectangle 24"/>
          <p:cNvSpPr/>
          <p:nvPr/>
        </p:nvSpPr>
        <p:spPr>
          <a:xfrm>
            <a:off x="2043470" y="2361071"/>
            <a:ext cx="1256400" cy="1247491"/>
          </a:xfrm>
          <a:prstGeom prst="rect">
            <a:avLst/>
          </a:prstGeom>
          <a:noFill/>
          <a:ln w="127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smtClean="0">
                <a:solidFill>
                  <a:schemeClr val="tx1"/>
                </a:solidFill>
              </a:rPr>
              <a:t>2nd XBID </a:t>
            </a:r>
            <a:r>
              <a:rPr lang="en-GB" dirty="0">
                <a:solidFill>
                  <a:schemeClr val="tx1"/>
                </a:solidFill>
              </a:rPr>
              <a:t>Market </a:t>
            </a:r>
            <a:r>
              <a:rPr lang="en-GB" dirty="0" smtClean="0">
                <a:solidFill>
                  <a:schemeClr val="tx1"/>
                </a:solidFill>
              </a:rPr>
              <a:t>Trial </a:t>
            </a:r>
            <a:endParaRPr lang="en-GB" sz="2400" dirty="0">
              <a:solidFill>
                <a:schemeClr val="tx1"/>
              </a:solidFill>
            </a:endParaRPr>
          </a:p>
        </p:txBody>
      </p:sp>
    </p:spTree>
    <p:extLst>
      <p:ext uri="{BB962C8B-B14F-4D97-AF65-F5344CB8AC3E}">
        <p14:creationId xmlns:p14="http://schemas.microsoft.com/office/powerpoint/2010/main" val="22397091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Agenda			     </a:t>
            </a:r>
            <a:r>
              <a:rPr lang="de-DE" dirty="0" smtClean="0">
                <a:solidFill>
                  <a:schemeClr val="accent2"/>
                </a:solidFill>
              </a:rPr>
              <a:t>15:15-15:30</a:t>
            </a:r>
            <a:endParaRPr lang="de-DE" dirty="0">
              <a:solidFill>
                <a:schemeClr val="accent2"/>
              </a:solidFill>
            </a:endParaRPr>
          </a:p>
        </p:txBody>
      </p:sp>
      <p:sp>
        <p:nvSpPr>
          <p:cNvPr id="3" name="Textplatzhalter 2"/>
          <p:cNvSpPr>
            <a:spLocks noGrp="1"/>
          </p:cNvSpPr>
          <p:nvPr>
            <p:ph type="body" sz="quarter" idx="13"/>
          </p:nvPr>
        </p:nvSpPr>
        <p:spPr/>
        <p:txBody>
          <a:bodyPr>
            <a:normAutofit lnSpcReduction="10000"/>
          </a:bodyPr>
          <a:lstStyle/>
          <a:p>
            <a:r>
              <a:rPr lang="en-GB" sz="2000" kern="0" dirty="0" smtClean="0">
                <a:ea typeface="Times New Roman"/>
                <a:cs typeface="Arial"/>
              </a:rPr>
              <a:t>Welcome, introduction</a:t>
            </a:r>
          </a:p>
          <a:p>
            <a:r>
              <a:rPr lang="en-GB" sz="2000" kern="0" dirty="0" smtClean="0">
                <a:ea typeface="Times New Roman"/>
                <a:cs typeface="Arial"/>
              </a:rPr>
              <a:t>Key note speech </a:t>
            </a:r>
            <a:endParaRPr lang="en-GB" sz="2000" kern="0" dirty="0" smtClean="0">
              <a:ea typeface="Times New Roman"/>
              <a:cs typeface="Times New Roman"/>
            </a:endParaRPr>
          </a:p>
          <a:p>
            <a:r>
              <a:rPr lang="en-GB" sz="2000" dirty="0" smtClean="0">
                <a:solidFill>
                  <a:srgbClr val="000000"/>
                </a:solidFill>
                <a:ea typeface="Times New Roman"/>
              </a:rPr>
              <a:t>Overview of XBID Project</a:t>
            </a:r>
          </a:p>
          <a:p>
            <a:r>
              <a:rPr lang="en-GB" sz="2000" dirty="0" smtClean="0">
                <a:solidFill>
                  <a:srgbClr val="000000"/>
                </a:solidFill>
                <a:ea typeface="Times New Roman"/>
              </a:rPr>
              <a:t>The XBID matching solution</a:t>
            </a:r>
          </a:p>
          <a:p>
            <a:r>
              <a:rPr lang="en-GB" sz="2000" dirty="0" smtClean="0">
                <a:solidFill>
                  <a:srgbClr val="000000"/>
                </a:solidFill>
                <a:ea typeface="Times New Roman"/>
              </a:rPr>
              <a:t>Overview of borders, market areas &amp; products</a:t>
            </a:r>
          </a:p>
          <a:p>
            <a:r>
              <a:rPr lang="en-GB" sz="2000" kern="0" dirty="0" smtClean="0">
                <a:solidFill>
                  <a:srgbClr val="000000"/>
                </a:solidFill>
                <a:ea typeface="Times New Roman"/>
                <a:cs typeface="Times New Roman"/>
              </a:rPr>
              <a:t>Relevant information for market parties from LIPs</a:t>
            </a:r>
            <a:r>
              <a:rPr lang="en-GB" sz="2000" kern="0" dirty="0" smtClean="0">
                <a:solidFill>
                  <a:srgbClr val="000000"/>
                </a:solidFill>
                <a:ea typeface="Times New Roman"/>
                <a:cs typeface="Arial"/>
              </a:rPr>
              <a:t> </a:t>
            </a:r>
            <a:r>
              <a:rPr lang="en-GB" sz="2000" dirty="0" smtClean="0">
                <a:solidFill>
                  <a:srgbClr val="000000"/>
                </a:solidFill>
                <a:ea typeface="Times New Roman"/>
              </a:rPr>
              <a:t> </a:t>
            </a:r>
          </a:p>
          <a:p>
            <a:r>
              <a:rPr lang="en-US" sz="2000" kern="0" dirty="0">
                <a:solidFill>
                  <a:srgbClr val="000000"/>
                </a:solidFill>
                <a:ea typeface="Times New Roman"/>
                <a:cs typeface="Times New Roman"/>
              </a:rPr>
              <a:t>Explicit access on French-German border </a:t>
            </a:r>
          </a:p>
          <a:p>
            <a:r>
              <a:rPr lang="en-GB" sz="2000" kern="0" dirty="0" smtClean="0">
                <a:solidFill>
                  <a:srgbClr val="000000"/>
                </a:solidFill>
                <a:ea typeface="Times New Roman"/>
                <a:cs typeface="Times New Roman"/>
              </a:rPr>
              <a:t>NRA overview</a:t>
            </a:r>
          </a:p>
          <a:p>
            <a:r>
              <a:rPr lang="en-GB" sz="2000" kern="0" dirty="0" smtClean="0">
                <a:solidFill>
                  <a:srgbClr val="000000"/>
                </a:solidFill>
                <a:ea typeface="Times New Roman"/>
                <a:cs typeface="Times New Roman"/>
              </a:rPr>
              <a:t>Deutsche </a:t>
            </a:r>
            <a:r>
              <a:rPr lang="en-GB" sz="2000" kern="0" dirty="0" err="1" smtClean="0">
                <a:solidFill>
                  <a:srgbClr val="000000"/>
                </a:solidFill>
                <a:ea typeface="Times New Roman"/>
                <a:cs typeface="Times New Roman"/>
              </a:rPr>
              <a:t>Börse</a:t>
            </a:r>
            <a:r>
              <a:rPr lang="en-GB" sz="2000" kern="0" dirty="0" smtClean="0">
                <a:solidFill>
                  <a:srgbClr val="000000"/>
                </a:solidFill>
                <a:ea typeface="Times New Roman"/>
                <a:cs typeface="Times New Roman"/>
              </a:rPr>
              <a:t>’ trading solution provider </a:t>
            </a:r>
            <a:r>
              <a:rPr lang="en-GB" sz="2000" kern="0" dirty="0" smtClean="0">
                <a:solidFill>
                  <a:srgbClr val="000000"/>
                </a:solidFill>
                <a:ea typeface="Times New Roman"/>
                <a:cs typeface="Arial"/>
              </a:rPr>
              <a:t> </a:t>
            </a:r>
            <a:endParaRPr lang="en-GB" sz="2000" kern="0" dirty="0" smtClean="0">
              <a:solidFill>
                <a:srgbClr val="000000"/>
              </a:solidFill>
              <a:ea typeface="Times New Roman"/>
              <a:cs typeface="Times New Roman"/>
            </a:endParaRPr>
          </a:p>
          <a:p>
            <a:r>
              <a:rPr lang="en-GB" sz="2000" dirty="0" smtClean="0">
                <a:solidFill>
                  <a:srgbClr val="000000"/>
                </a:solidFill>
                <a:ea typeface="Times New Roman"/>
              </a:rPr>
              <a:t>Members trial period, </a:t>
            </a:r>
            <a:r>
              <a:rPr lang="en-GB" sz="2000" dirty="0" err="1" smtClean="0">
                <a:solidFill>
                  <a:srgbClr val="000000"/>
                </a:solidFill>
                <a:ea typeface="Times New Roman"/>
              </a:rPr>
              <a:t>go-live</a:t>
            </a:r>
            <a:r>
              <a:rPr lang="en-GB" sz="2000" dirty="0" smtClean="0">
                <a:solidFill>
                  <a:srgbClr val="000000"/>
                </a:solidFill>
                <a:ea typeface="Times New Roman"/>
              </a:rPr>
              <a:t> plan and next steps for readiness</a:t>
            </a:r>
          </a:p>
          <a:p>
            <a:r>
              <a:rPr lang="en-GB" sz="2000" kern="0" dirty="0" smtClean="0">
                <a:solidFill>
                  <a:schemeClr val="accent2"/>
                </a:solidFill>
                <a:ea typeface="Times New Roman"/>
                <a:cs typeface="Arial"/>
              </a:rPr>
              <a:t> Future plan for XBID </a:t>
            </a:r>
          </a:p>
          <a:p>
            <a:endParaRPr lang="en-GB" sz="2000" dirty="0" smtClean="0">
              <a:solidFill>
                <a:srgbClr val="000000"/>
              </a:solidFill>
              <a:ea typeface="Times New Roman"/>
            </a:endParaRPr>
          </a:p>
          <a:p>
            <a:endParaRPr lang="en-GB" sz="2000" dirty="0"/>
          </a:p>
        </p:txBody>
      </p:sp>
      <p:sp>
        <p:nvSpPr>
          <p:cNvPr id="4" name="Foliennummernplatzhalter 3"/>
          <p:cNvSpPr>
            <a:spLocks noGrp="1"/>
          </p:cNvSpPr>
          <p:nvPr>
            <p:ph type="sldNum" sz="quarter" idx="16"/>
          </p:nvPr>
        </p:nvSpPr>
        <p:spPr/>
        <p:txBody>
          <a:bodyPr/>
          <a:lstStyle/>
          <a:p>
            <a:pPr>
              <a:defRPr/>
            </a:pPr>
            <a:fld id="{D383EB99-40B2-4176-B4FA-CDBAA950DF99}" type="slidenum">
              <a:rPr lang="en-US" altLang="en-US" smtClean="0"/>
              <a:pPr>
                <a:defRPr/>
              </a:pPr>
              <a:t>92</a:t>
            </a:fld>
            <a:endParaRPr lang="en-US" altLang="en-US" dirty="0"/>
          </a:p>
        </p:txBody>
      </p:sp>
    </p:spTree>
    <p:extLst>
      <p:ext uri="{BB962C8B-B14F-4D97-AF65-F5344CB8AC3E}">
        <p14:creationId xmlns:p14="http://schemas.microsoft.com/office/powerpoint/2010/main" val="6369562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solidFill>
                  <a:schemeClr val="accent1"/>
                </a:solidFill>
              </a:rPr>
              <a:t>Future </a:t>
            </a:r>
            <a:r>
              <a:rPr lang="en-US" dirty="0">
                <a:solidFill>
                  <a:schemeClr val="accent1"/>
                </a:solidFill>
              </a:rPr>
              <a:t>plan for XBID</a:t>
            </a:r>
            <a:endParaRPr lang="en-GB" dirty="0">
              <a:solidFill>
                <a:schemeClr val="accent1"/>
              </a:solidFill>
            </a:endParaRPr>
          </a:p>
        </p:txBody>
      </p:sp>
      <p:sp>
        <p:nvSpPr>
          <p:cNvPr id="5" name="Textplatzhalter 4"/>
          <p:cNvSpPr>
            <a:spLocks noGrp="1"/>
          </p:cNvSpPr>
          <p:nvPr>
            <p:ph type="body" sz="quarter" idx="15"/>
          </p:nvPr>
        </p:nvSpPr>
        <p:spPr>
          <a:xfrm>
            <a:off x="2255839" y="3024147"/>
            <a:ext cx="6329361" cy="315570"/>
          </a:xfrm>
        </p:spPr>
        <p:txBody>
          <a:bodyPr/>
          <a:lstStyle/>
          <a:p>
            <a:r>
              <a:rPr lang="en-GB" dirty="0" smtClean="0"/>
              <a:t>Mark Pickles</a:t>
            </a:r>
          </a:p>
          <a:p>
            <a:endParaRPr lang="en-GB" dirty="0"/>
          </a:p>
        </p:txBody>
      </p:sp>
      <p:sp>
        <p:nvSpPr>
          <p:cNvPr id="6" name="Textplatzhalter 5"/>
          <p:cNvSpPr>
            <a:spLocks noGrp="1"/>
          </p:cNvSpPr>
          <p:nvPr>
            <p:ph type="body" sz="quarter" idx="16"/>
          </p:nvPr>
        </p:nvSpPr>
        <p:spPr>
          <a:xfrm>
            <a:off x="2255839" y="3410983"/>
            <a:ext cx="6329361" cy="315570"/>
          </a:xfrm>
        </p:spPr>
        <p:txBody>
          <a:bodyPr/>
          <a:lstStyle/>
          <a:p>
            <a:r>
              <a:rPr lang="en-GB" dirty="0" smtClean="0"/>
              <a:t>TSO Project Manager</a:t>
            </a:r>
            <a:endParaRPr lang="en-GB" dirty="0"/>
          </a:p>
        </p:txBody>
      </p:sp>
    </p:spTree>
    <p:extLst>
      <p:ext uri="{BB962C8B-B14F-4D97-AF65-F5344CB8AC3E}">
        <p14:creationId xmlns:p14="http://schemas.microsoft.com/office/powerpoint/2010/main" val="15506487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XBID Go-live…….. is just the beginning!</a:t>
            </a:r>
          </a:p>
        </p:txBody>
      </p:sp>
      <p:sp>
        <p:nvSpPr>
          <p:cNvPr id="3" name="Slide Number Placeholder 2"/>
          <p:cNvSpPr>
            <a:spLocks noGrp="1"/>
          </p:cNvSpPr>
          <p:nvPr>
            <p:ph type="sldNum" sz="quarter" idx="11"/>
          </p:nvPr>
        </p:nvSpPr>
        <p:spPr/>
        <p:txBody>
          <a:bodyPr/>
          <a:lstStyle/>
          <a:p>
            <a:fld id="{AD89DE65-C7D9-40CE-B96E-B8C3E7B233C5}" type="slidenum">
              <a:rPr lang="de-DE" smtClean="0"/>
              <a:pPr/>
              <a:t>94</a:t>
            </a:fld>
            <a:endParaRPr lang="de-DE" dirty="0"/>
          </a:p>
        </p:txBody>
      </p:sp>
      <p:sp>
        <p:nvSpPr>
          <p:cNvPr id="4" name="Text Placeholder 3"/>
          <p:cNvSpPr>
            <a:spLocks noGrp="1"/>
          </p:cNvSpPr>
          <p:nvPr>
            <p:ph type="body" sz="quarter" idx="13"/>
          </p:nvPr>
        </p:nvSpPr>
        <p:spPr/>
        <p:txBody>
          <a:bodyPr>
            <a:normAutofit lnSpcReduction="10000"/>
          </a:bodyPr>
          <a:lstStyle/>
          <a:p>
            <a:r>
              <a:rPr lang="en-GB" dirty="0"/>
              <a:t>The 1</a:t>
            </a:r>
            <a:r>
              <a:rPr lang="en-GB" baseline="30000" dirty="0"/>
              <a:t>st</a:t>
            </a:r>
            <a:r>
              <a:rPr lang="en-GB" dirty="0"/>
              <a:t> XBID </a:t>
            </a:r>
            <a:r>
              <a:rPr lang="en-GB" dirty="0" err="1"/>
              <a:t>go-live</a:t>
            </a:r>
            <a:r>
              <a:rPr lang="en-GB" dirty="0"/>
              <a:t> marks a significant milestone</a:t>
            </a:r>
          </a:p>
          <a:p>
            <a:endParaRPr lang="en-GB" dirty="0"/>
          </a:p>
          <a:p>
            <a:endParaRPr lang="en-GB" dirty="0"/>
          </a:p>
          <a:p>
            <a:pPr marL="0" indent="0">
              <a:buNone/>
            </a:pPr>
            <a:endParaRPr lang="en-GB" dirty="0"/>
          </a:p>
          <a:p>
            <a:endParaRPr lang="en-GB" dirty="0"/>
          </a:p>
          <a:p>
            <a:endParaRPr lang="en-GB" dirty="0"/>
          </a:p>
          <a:p>
            <a:r>
              <a:rPr lang="en-GB" dirty="0"/>
              <a:t>But it is only the beginning and now we need to:</a:t>
            </a:r>
          </a:p>
          <a:p>
            <a:pPr lvl="1"/>
            <a:r>
              <a:rPr lang="en-GB" dirty="0"/>
              <a:t>1. Further enhance and improve XBID usability</a:t>
            </a:r>
          </a:p>
          <a:p>
            <a:pPr lvl="1"/>
            <a:r>
              <a:rPr lang="en-GB" dirty="0"/>
              <a:t>2. Deliver the 2</a:t>
            </a:r>
            <a:r>
              <a:rPr lang="en-GB" baseline="30000" dirty="0"/>
              <a:t>nd</a:t>
            </a:r>
            <a:r>
              <a:rPr lang="en-GB" dirty="0"/>
              <a:t> Wave LIPs</a:t>
            </a:r>
          </a:p>
          <a:p>
            <a:pPr lvl="1"/>
            <a:r>
              <a:rPr lang="en-GB" dirty="0"/>
              <a:t>3. Develop and deploy changes foreseen for the short term or which are already ‘in progress’ such as Losses on DC cables and further development of the Shipping Module</a:t>
            </a:r>
          </a:p>
          <a:p>
            <a:pPr lvl="1"/>
            <a:r>
              <a:rPr lang="en-GB" dirty="0"/>
              <a:t>4. Develop and deliver a strategic roadmap to deliver remaining CACM requirements </a:t>
            </a:r>
          </a:p>
          <a:p>
            <a:r>
              <a:rPr lang="en-GB" dirty="0"/>
              <a:t>We also need to ensure that the project governance after </a:t>
            </a:r>
            <a:r>
              <a:rPr lang="en-GB" dirty="0" err="1"/>
              <a:t>go-live</a:t>
            </a:r>
            <a:r>
              <a:rPr lang="en-GB" dirty="0"/>
              <a:t> oversees both the day to day operations of XBID as well as the future development of the system</a:t>
            </a:r>
          </a:p>
        </p:txBody>
      </p:sp>
      <p:pic>
        <p:nvPicPr>
          <p:cNvPr id="50178" name="Picture 2" descr="Image result for Image of mileston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0952" y="1212997"/>
            <a:ext cx="1981200" cy="2314575"/>
          </a:xfrm>
          <a:prstGeom prst="rect">
            <a:avLst/>
          </a:prstGeom>
          <a:noFill/>
          <a:extLst>
            <a:ext uri="{909E8E84-426E-40DD-AFC4-6F175D3DCCD1}">
              <a14:hiddenFill xmlns:a14="http://schemas.microsoft.com/office/drawing/2010/main">
                <a:solidFill>
                  <a:srgbClr val="FFFFFF"/>
                </a:solidFill>
              </a14:hiddenFill>
            </a:ext>
          </a:extLst>
        </p:spPr>
      </p:pic>
      <p:sp>
        <p:nvSpPr>
          <p:cNvPr id="5" name="Right Arrow 4"/>
          <p:cNvSpPr/>
          <p:nvPr/>
        </p:nvSpPr>
        <p:spPr>
          <a:xfrm>
            <a:off x="2371060" y="2169042"/>
            <a:ext cx="3040912" cy="4572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Tree>
    <p:extLst>
      <p:ext uri="{BB962C8B-B14F-4D97-AF65-F5344CB8AC3E}">
        <p14:creationId xmlns:p14="http://schemas.microsoft.com/office/powerpoint/2010/main" val="39105786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lgn="l" rtl="0">
              <a:spcBef>
                <a:spcPct val="0"/>
              </a:spcBef>
            </a:pPr>
            <a:r>
              <a:rPr lang="en-GB" b="1" dirty="0">
                <a:latin typeface="+mj-lt"/>
              </a:rPr>
              <a:t>1. Enhance and improve XBID usability</a:t>
            </a:r>
            <a:r>
              <a:rPr lang="en-GB" dirty="0"/>
              <a:t/>
            </a:r>
            <a:br>
              <a:rPr lang="en-GB" dirty="0"/>
            </a:br>
            <a:endParaRPr lang="en-GB" dirty="0"/>
          </a:p>
        </p:txBody>
      </p:sp>
      <p:sp>
        <p:nvSpPr>
          <p:cNvPr id="3" name="Slide Number Placeholder 2"/>
          <p:cNvSpPr>
            <a:spLocks noGrp="1"/>
          </p:cNvSpPr>
          <p:nvPr>
            <p:ph type="sldNum" sz="quarter" idx="11"/>
          </p:nvPr>
        </p:nvSpPr>
        <p:spPr/>
        <p:txBody>
          <a:bodyPr/>
          <a:lstStyle/>
          <a:p>
            <a:fld id="{AD89DE65-C7D9-40CE-B96E-B8C3E7B233C5}" type="slidenum">
              <a:rPr lang="de-DE" smtClean="0"/>
              <a:pPr/>
              <a:t>95</a:t>
            </a:fld>
            <a:endParaRPr lang="de-DE" dirty="0"/>
          </a:p>
        </p:txBody>
      </p:sp>
      <p:sp>
        <p:nvSpPr>
          <p:cNvPr id="4" name="Text Placeholder 3"/>
          <p:cNvSpPr>
            <a:spLocks noGrp="1"/>
          </p:cNvSpPr>
          <p:nvPr>
            <p:ph type="body" sz="quarter" idx="13"/>
          </p:nvPr>
        </p:nvSpPr>
        <p:spPr/>
        <p:txBody>
          <a:bodyPr>
            <a:normAutofit/>
          </a:bodyPr>
          <a:lstStyle/>
          <a:p>
            <a:r>
              <a:rPr lang="en-GB" sz="2000" dirty="0"/>
              <a:t>Project Parties have identified a number of ideas to further enhance XBID. These include:</a:t>
            </a:r>
          </a:p>
          <a:p>
            <a:pPr lvl="1"/>
            <a:r>
              <a:rPr lang="en-GB" sz="2000" dirty="0"/>
              <a:t>Extended monitoring of XBID - ACER Monitoring request to Interim NEMO Committee</a:t>
            </a:r>
          </a:p>
          <a:p>
            <a:pPr lvl="1"/>
            <a:r>
              <a:rPr lang="en-GB" sz="2000" dirty="0"/>
              <a:t>Possibility to recall/cancel all related trades at once</a:t>
            </a:r>
          </a:p>
          <a:p>
            <a:pPr lvl="1"/>
            <a:r>
              <a:rPr lang="en-GB" sz="2000" dirty="0"/>
              <a:t>Enhanced Shipper 2.0 </a:t>
            </a:r>
          </a:p>
          <a:p>
            <a:pPr lvl="1"/>
            <a:r>
              <a:rPr lang="en-GB" sz="2000" dirty="0" smtClean="0"/>
              <a:t>Additional screen in the Shipping Module which to assist TSOs during the Verification of Scheduled Exchanges….etc.</a:t>
            </a:r>
            <a:endParaRPr lang="en-GB" sz="2000" dirty="0">
              <a:solidFill>
                <a:srgbClr val="FF0000"/>
              </a:solidFill>
            </a:endParaRPr>
          </a:p>
          <a:p>
            <a:r>
              <a:rPr lang="en-GB" sz="2000" dirty="0"/>
              <a:t>It is envisaged that there will be a maximum of 2 releases each year when improvements/changes will be deployed to XBID</a:t>
            </a:r>
          </a:p>
          <a:p>
            <a:pPr lvl="1"/>
            <a:r>
              <a:rPr lang="en-GB" sz="2000" dirty="0"/>
              <a:t>Changes will be subject to extensive testing before implementation</a:t>
            </a:r>
          </a:p>
        </p:txBody>
      </p:sp>
      <p:pic>
        <p:nvPicPr>
          <p:cNvPr id="10242" name="Picture 2" descr="Image result for usabilit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05767" y="5196931"/>
            <a:ext cx="1992573" cy="1697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521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 Placeholder 3"/>
          <p:cNvSpPr>
            <a:spLocks noGrp="1"/>
          </p:cNvSpPr>
          <p:nvPr>
            <p:ph type="body" sz="quarter" idx="13"/>
          </p:nvPr>
        </p:nvSpPr>
        <p:spPr>
          <a:xfrm>
            <a:off x="547882" y="977817"/>
            <a:ext cx="8046000" cy="4896000"/>
          </a:xfrm>
        </p:spPr>
        <p:txBody>
          <a:bodyPr>
            <a:normAutofit/>
          </a:bodyPr>
          <a:lstStyle/>
          <a:p>
            <a:r>
              <a:rPr lang="en-GB" sz="1600" dirty="0" smtClean="0"/>
              <a:t>This </a:t>
            </a:r>
            <a:r>
              <a:rPr lang="en-GB" sz="1600" dirty="0"/>
              <a:t>is planned for </a:t>
            </a:r>
            <a:r>
              <a:rPr lang="en-GB" sz="1600" dirty="0" smtClean="0"/>
              <a:t>Spring/early Summer </a:t>
            </a:r>
            <a:r>
              <a:rPr lang="en-GB" sz="1600" dirty="0"/>
              <a:t>2019. A delivery plan is in place and tracked</a:t>
            </a:r>
          </a:p>
          <a:p>
            <a:r>
              <a:rPr lang="en-GB" sz="1600" dirty="0"/>
              <a:t>There will be Pre-launch communications</a:t>
            </a:r>
          </a:p>
        </p:txBody>
      </p:sp>
      <p:sp>
        <p:nvSpPr>
          <p:cNvPr id="5" name="Title 4"/>
          <p:cNvSpPr>
            <a:spLocks noGrp="1"/>
          </p:cNvSpPr>
          <p:nvPr>
            <p:ph type="title"/>
          </p:nvPr>
        </p:nvSpPr>
        <p:spPr>
          <a:xfrm>
            <a:off x="540385" y="586136"/>
            <a:ext cx="8453489" cy="583015"/>
          </a:xfrm>
        </p:spPr>
        <p:txBody>
          <a:bodyPr/>
          <a:lstStyle/>
          <a:p>
            <a:pPr fontAlgn="auto">
              <a:spcAft>
                <a:spcPts val="0"/>
              </a:spcAft>
            </a:pPr>
            <a:r>
              <a:rPr lang="en-GB" dirty="0"/>
              <a:t>2. 2</a:t>
            </a:r>
            <a:r>
              <a:rPr lang="en-GB" baseline="30000" dirty="0"/>
              <a:t>nd</a:t>
            </a:r>
            <a:r>
              <a:rPr lang="en-GB" dirty="0"/>
              <a:t> Wave of LIPs </a:t>
            </a:r>
          </a:p>
        </p:txBody>
      </p:sp>
      <p:graphicFrame>
        <p:nvGraphicFramePr>
          <p:cNvPr id="2" name="1 Tabla"/>
          <p:cNvGraphicFramePr>
            <a:graphicFrameLocks noGrp="1"/>
          </p:cNvGraphicFramePr>
          <p:nvPr>
            <p:extLst>
              <p:ext uri="{D42A27DB-BD31-4B8C-83A1-F6EECF244321}">
                <p14:modId xmlns:p14="http://schemas.microsoft.com/office/powerpoint/2010/main" val="3835210825"/>
              </p:ext>
            </p:extLst>
          </p:nvPr>
        </p:nvGraphicFramePr>
        <p:xfrm>
          <a:off x="1850067" y="1496386"/>
          <a:ext cx="5449671" cy="1675956"/>
        </p:xfrm>
        <a:graphic>
          <a:graphicData uri="http://schemas.openxmlformats.org/drawingml/2006/table">
            <a:tbl>
              <a:tblPr firstRow="1" bandRow="1">
                <a:tableStyleId>{5C22544A-7EE6-4342-B048-85BDC9FD1C3A}</a:tableStyleId>
              </a:tblPr>
              <a:tblGrid>
                <a:gridCol w="3155063">
                  <a:extLst>
                    <a:ext uri="{9D8B030D-6E8A-4147-A177-3AD203B41FA5}">
                      <a16:colId xmlns="" xmlns:a16="http://schemas.microsoft.com/office/drawing/2014/main" val="20000"/>
                    </a:ext>
                  </a:extLst>
                </a:gridCol>
                <a:gridCol w="2294608">
                  <a:extLst>
                    <a:ext uri="{9D8B030D-6E8A-4147-A177-3AD203B41FA5}">
                      <a16:colId xmlns="" xmlns:a16="http://schemas.microsoft.com/office/drawing/2014/main" val="20001"/>
                    </a:ext>
                  </a:extLst>
                </a:gridCol>
              </a:tblGrid>
              <a:tr h="265609">
                <a:tc>
                  <a:txBody>
                    <a:bodyPr/>
                    <a:lstStyle/>
                    <a:p>
                      <a:pPr algn="ctr"/>
                      <a:r>
                        <a:rPr lang="en-GB" sz="1400" dirty="0">
                          <a:solidFill>
                            <a:schemeClr val="accent1"/>
                          </a:solidFill>
                        </a:rPr>
                        <a:t>LIP 14</a:t>
                      </a:r>
                    </a:p>
                  </a:txBody>
                  <a:tcPr anchor="b">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pPr algn="ctr"/>
                      <a:r>
                        <a:rPr lang="en-GB" sz="1100" dirty="0"/>
                        <a:t>Part</a:t>
                      </a:r>
                      <a:r>
                        <a:rPr lang="en-GB" sz="1100" baseline="0" dirty="0"/>
                        <a:t> of the 2</a:t>
                      </a:r>
                      <a:r>
                        <a:rPr lang="en-GB" sz="1100" baseline="30000" dirty="0"/>
                        <a:t>nd</a:t>
                      </a:r>
                      <a:r>
                        <a:rPr lang="en-GB" sz="1100" baseline="0" dirty="0"/>
                        <a:t> Go-live wave</a:t>
                      </a:r>
                      <a:endParaRPr lang="en-GB" sz="1100" dirty="0"/>
                    </a:p>
                  </a:txBody>
                  <a:tcPr/>
                </a:tc>
                <a:extLst>
                  <a:ext uri="{0D108BD9-81ED-4DB2-BD59-A6C34878D82A}">
                    <a16:rowId xmlns="" xmlns:a16="http://schemas.microsoft.com/office/drawing/2014/main" val="10000"/>
                  </a:ext>
                </a:extLst>
              </a:tr>
              <a:tr h="292170">
                <a:tc>
                  <a:txBody>
                    <a:bodyPr/>
                    <a:lstStyle/>
                    <a:p>
                      <a:pPr algn="ctr"/>
                      <a:r>
                        <a:rPr lang="en-GB" sz="1000" b="1" dirty="0"/>
                        <a:t>Slovenia – Italy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endParaRPr lang="en-GB" sz="16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accent3"/>
                      </a:solidFill>
                      <a:prstDash val="sysDot"/>
                      <a:round/>
                      <a:headEnd type="none" w="med" len="med"/>
                      <a:tailEnd type="none" w="med" len="med"/>
                    </a:lnB>
                    <a:solidFill>
                      <a:schemeClr val="bg1"/>
                    </a:solidFill>
                  </a:tcPr>
                </a:tc>
                <a:extLst>
                  <a:ext uri="{0D108BD9-81ED-4DB2-BD59-A6C34878D82A}">
                    <a16:rowId xmlns="" xmlns:a16="http://schemas.microsoft.com/office/drawing/2014/main" val="10001"/>
                  </a:ext>
                </a:extLst>
              </a:tr>
              <a:tr h="3452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a:t>Austria – Italy </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pPr algn="ctr"/>
                      <a:r>
                        <a:rPr lang="en-GB" sz="1600" dirty="0" smtClean="0"/>
                        <a:t>?</a:t>
                      </a:r>
                      <a:endParaRPr lang="en-GB" sz="16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accent3"/>
                      </a:solidFill>
                      <a:prstDash val="sysDot"/>
                      <a:round/>
                      <a:headEnd type="none" w="med" len="med"/>
                      <a:tailEnd type="none" w="med" len="med"/>
                    </a:lnT>
                    <a:lnB w="12700" cap="flat" cmpd="sng" algn="ctr">
                      <a:solidFill>
                        <a:schemeClr val="accent3"/>
                      </a:solidFill>
                      <a:prstDash val="sysDot"/>
                      <a:round/>
                      <a:headEnd type="none" w="med" len="med"/>
                      <a:tailEnd type="none" w="med" len="med"/>
                    </a:lnB>
                    <a:solidFill>
                      <a:schemeClr val="bg1"/>
                    </a:solidFill>
                  </a:tcPr>
                </a:tc>
                <a:extLst>
                  <a:ext uri="{0D108BD9-81ED-4DB2-BD59-A6C34878D82A}">
                    <a16:rowId xmlns="" xmlns:a16="http://schemas.microsoft.com/office/drawing/2014/main" val="4238765594"/>
                  </a:ext>
                </a:extLst>
              </a:tr>
              <a:tr h="3452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smtClean="0"/>
                        <a:t>France – Italy</a:t>
                      </a:r>
                      <a:endParaRPr lang="en-GB" sz="1000" b="1"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pPr algn="ctr"/>
                      <a:r>
                        <a:rPr lang="en-GB" sz="1600" dirty="0" smtClean="0"/>
                        <a:t>?</a:t>
                      </a:r>
                      <a:endParaRPr lang="en-GB" sz="16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accent3"/>
                      </a:solidFill>
                      <a:prstDash val="sysDot"/>
                      <a:round/>
                      <a:headEnd type="none" w="med" len="med"/>
                      <a:tailEnd type="none" w="med" len="med"/>
                    </a:lnT>
                    <a:lnB w="12700" cap="flat" cmpd="sng" algn="ctr">
                      <a:solidFill>
                        <a:schemeClr val="accent3"/>
                      </a:solidFill>
                      <a:prstDash val="sysDot"/>
                      <a:round/>
                      <a:headEnd type="none" w="med" len="med"/>
                      <a:tailEnd type="none" w="med" len="med"/>
                    </a:lnB>
                    <a:solidFill>
                      <a:schemeClr val="bg1"/>
                    </a:solidFill>
                  </a:tcPr>
                </a:tc>
              </a:tr>
              <a:tr h="3452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dirty="0" smtClean="0"/>
                        <a:t>Slovenia - Austria</a:t>
                      </a:r>
                      <a:endParaRPr lang="en-GB" sz="1000" b="1"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pPr algn="ctr"/>
                      <a:r>
                        <a:rPr lang="en-GB" sz="1600" dirty="0" smtClean="0"/>
                        <a:t>?</a:t>
                      </a:r>
                      <a:endParaRPr lang="en-GB" sz="16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accent3"/>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r>
            </a:tbl>
          </a:graphicData>
        </a:graphic>
      </p:graphicFrame>
      <p:graphicFrame>
        <p:nvGraphicFramePr>
          <p:cNvPr id="11" name="10 Tabla"/>
          <p:cNvGraphicFramePr>
            <a:graphicFrameLocks noGrp="1"/>
          </p:cNvGraphicFramePr>
          <p:nvPr>
            <p:extLst>
              <p:ext uri="{D42A27DB-BD31-4B8C-83A1-F6EECF244321}">
                <p14:modId xmlns:p14="http://schemas.microsoft.com/office/powerpoint/2010/main" val="1193048895"/>
              </p:ext>
            </p:extLst>
          </p:nvPr>
        </p:nvGraphicFramePr>
        <p:xfrm>
          <a:off x="1881066" y="3244073"/>
          <a:ext cx="5438953" cy="2404355"/>
        </p:xfrm>
        <a:graphic>
          <a:graphicData uri="http://schemas.openxmlformats.org/drawingml/2006/table">
            <a:tbl>
              <a:tblPr firstRow="1" bandRow="1">
                <a:tableStyleId>{5C22544A-7EE6-4342-B048-85BDC9FD1C3A}</a:tableStyleId>
              </a:tblPr>
              <a:tblGrid>
                <a:gridCol w="3134697">
                  <a:extLst>
                    <a:ext uri="{9D8B030D-6E8A-4147-A177-3AD203B41FA5}">
                      <a16:colId xmlns="" xmlns:a16="http://schemas.microsoft.com/office/drawing/2014/main" val="20000"/>
                    </a:ext>
                  </a:extLst>
                </a:gridCol>
                <a:gridCol w="2304256">
                  <a:extLst>
                    <a:ext uri="{9D8B030D-6E8A-4147-A177-3AD203B41FA5}">
                      <a16:colId xmlns="" xmlns:a16="http://schemas.microsoft.com/office/drawing/2014/main" val="20001"/>
                    </a:ext>
                  </a:extLst>
                </a:gridCol>
              </a:tblGrid>
              <a:tr h="0">
                <a:tc>
                  <a:txBody>
                    <a:bodyPr/>
                    <a:lstStyle/>
                    <a:p>
                      <a:pPr algn="ctr"/>
                      <a:r>
                        <a:rPr lang="en-GB" sz="1400" dirty="0">
                          <a:solidFill>
                            <a:schemeClr val="accent1"/>
                          </a:solidFill>
                        </a:rPr>
                        <a:t>LIP 15</a:t>
                      </a:r>
                    </a:p>
                  </a:txBody>
                  <a:tcPr anchor="b">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pPr algn="ctr"/>
                      <a:r>
                        <a:rPr lang="en-GB" sz="1100" dirty="0"/>
                        <a:t>Part</a:t>
                      </a:r>
                      <a:r>
                        <a:rPr lang="en-GB" sz="1100" baseline="0" dirty="0"/>
                        <a:t> of the 2</a:t>
                      </a:r>
                      <a:r>
                        <a:rPr lang="en-GB" sz="1100" baseline="30000" dirty="0"/>
                        <a:t>nd</a:t>
                      </a:r>
                      <a:r>
                        <a:rPr lang="en-GB" sz="1100" baseline="0" dirty="0"/>
                        <a:t> Go-live wave</a:t>
                      </a:r>
                      <a:endParaRPr lang="en-GB" sz="1100" dirty="0"/>
                    </a:p>
                  </a:txBody>
                  <a:tcPr/>
                </a:tc>
                <a:extLst>
                  <a:ext uri="{0D108BD9-81ED-4DB2-BD59-A6C34878D82A}">
                    <a16:rowId xmlns="" xmlns:a16="http://schemas.microsoft.com/office/drawing/2014/main" val="10000"/>
                  </a:ext>
                </a:extLst>
              </a:tr>
              <a:tr h="202521">
                <a:tc>
                  <a:txBody>
                    <a:bodyPr/>
                    <a:lstStyle/>
                    <a:p>
                      <a:pPr algn="ctr"/>
                      <a:r>
                        <a:rPr lang="en-GB" sz="1000" b="1" dirty="0"/>
                        <a:t>Germany-Czech Republic</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endParaRPr lang="en-GB" sz="12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ysDot"/>
                      <a:round/>
                      <a:headEnd type="none" w="med" len="med"/>
                      <a:tailEnd type="none" w="med" len="med"/>
                    </a:lnB>
                    <a:solidFill>
                      <a:schemeClr val="bg1"/>
                    </a:solidFill>
                  </a:tcPr>
                </a:tc>
                <a:extLst>
                  <a:ext uri="{0D108BD9-81ED-4DB2-BD59-A6C34878D82A}">
                    <a16:rowId xmlns="" xmlns:a16="http://schemas.microsoft.com/office/drawing/2014/main" val="10001"/>
                  </a:ext>
                </a:extLst>
              </a:tr>
              <a:tr h="0">
                <a:tc>
                  <a:txBody>
                    <a:bodyPr/>
                    <a:lstStyle/>
                    <a:p>
                      <a:pPr algn="ctr"/>
                      <a:r>
                        <a:rPr lang="en-GB" sz="1000" b="1" dirty="0"/>
                        <a:t>Austria - Czech Republic</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endParaRPr lang="en-GB" sz="12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extLst>
                  <a:ext uri="{0D108BD9-81ED-4DB2-BD59-A6C34878D82A}">
                    <a16:rowId xmlns="" xmlns:a16="http://schemas.microsoft.com/office/drawing/2014/main" val="10002"/>
                  </a:ext>
                </a:extLst>
              </a:tr>
              <a:tr h="310183">
                <a:tc>
                  <a:txBody>
                    <a:bodyPr/>
                    <a:lstStyle/>
                    <a:p>
                      <a:pPr algn="ctr"/>
                      <a:r>
                        <a:rPr lang="en-GB" sz="1000" b="1" dirty="0"/>
                        <a:t>Austria – Hungary</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endParaRPr lang="en-GB" sz="12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extLst>
                  <a:ext uri="{0D108BD9-81ED-4DB2-BD59-A6C34878D82A}">
                    <a16:rowId xmlns="" xmlns:a16="http://schemas.microsoft.com/office/drawing/2014/main" val="10003"/>
                  </a:ext>
                </a:extLst>
              </a:tr>
              <a:tr h="310183">
                <a:tc>
                  <a:txBody>
                    <a:bodyPr/>
                    <a:lstStyle/>
                    <a:p>
                      <a:pPr algn="ctr"/>
                      <a:r>
                        <a:rPr lang="en-GB" sz="1000" b="1" dirty="0"/>
                        <a:t>Croatia-Hungary</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endParaRPr lang="en-GB" sz="12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extLst>
                  <a:ext uri="{0D108BD9-81ED-4DB2-BD59-A6C34878D82A}">
                    <a16:rowId xmlns="" xmlns:a16="http://schemas.microsoft.com/office/drawing/2014/main" val="10004"/>
                  </a:ext>
                </a:extLst>
              </a:tr>
              <a:tr h="310183">
                <a:tc>
                  <a:txBody>
                    <a:bodyPr/>
                    <a:lstStyle/>
                    <a:p>
                      <a:pPr algn="ctr"/>
                      <a:r>
                        <a:rPr lang="en-GB" sz="1000" b="1" dirty="0"/>
                        <a:t>Hungary – Romania</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endParaRPr lang="en-GB" sz="12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extLst>
                  <a:ext uri="{0D108BD9-81ED-4DB2-BD59-A6C34878D82A}">
                    <a16:rowId xmlns="" xmlns:a16="http://schemas.microsoft.com/office/drawing/2014/main" val="10005"/>
                  </a:ext>
                </a:extLst>
              </a:tr>
              <a:tr h="310183">
                <a:tc>
                  <a:txBody>
                    <a:bodyPr/>
                    <a:lstStyle/>
                    <a:p>
                      <a:pPr algn="ctr"/>
                      <a:r>
                        <a:rPr lang="en-GB" sz="1000" b="1" dirty="0"/>
                        <a:t>Slovenia – Croatia</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endParaRPr lang="en-GB" sz="12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extLst>
                  <a:ext uri="{0D108BD9-81ED-4DB2-BD59-A6C34878D82A}">
                    <a16:rowId xmlns="" xmlns:a16="http://schemas.microsoft.com/office/drawing/2014/main" val="10006"/>
                  </a:ext>
                </a:extLst>
              </a:tr>
              <a:tr h="310183">
                <a:tc>
                  <a:txBody>
                    <a:bodyPr/>
                    <a:lstStyle/>
                    <a:p>
                      <a:pPr algn="ctr"/>
                      <a:r>
                        <a:rPr lang="en-GB" sz="1000" b="1" dirty="0"/>
                        <a:t>Slovenia - Hungary</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en-GB" sz="12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bl>
          </a:graphicData>
        </a:graphic>
      </p:graphicFrame>
      <p:sp>
        <p:nvSpPr>
          <p:cNvPr id="8" name="7 Forma en L"/>
          <p:cNvSpPr/>
          <p:nvPr/>
        </p:nvSpPr>
        <p:spPr>
          <a:xfrm rot="19115071">
            <a:off x="6037880" y="3600938"/>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graphicFrame>
        <p:nvGraphicFramePr>
          <p:cNvPr id="12" name="11 Tabla"/>
          <p:cNvGraphicFramePr>
            <a:graphicFrameLocks noGrp="1"/>
          </p:cNvGraphicFramePr>
          <p:nvPr>
            <p:extLst>
              <p:ext uri="{D42A27DB-BD31-4B8C-83A1-F6EECF244321}">
                <p14:modId xmlns:p14="http://schemas.microsoft.com/office/powerpoint/2010/main" val="2061421508"/>
              </p:ext>
            </p:extLst>
          </p:nvPr>
        </p:nvGraphicFramePr>
        <p:xfrm>
          <a:off x="1904606" y="5820089"/>
          <a:ext cx="5429305" cy="975360"/>
        </p:xfrm>
        <a:graphic>
          <a:graphicData uri="http://schemas.openxmlformats.org/drawingml/2006/table">
            <a:tbl>
              <a:tblPr firstRow="1" bandRow="1">
                <a:tableStyleId>{5C22544A-7EE6-4342-B048-85BDC9FD1C3A}</a:tableStyleId>
              </a:tblPr>
              <a:tblGrid>
                <a:gridCol w="3132423">
                  <a:extLst>
                    <a:ext uri="{9D8B030D-6E8A-4147-A177-3AD203B41FA5}">
                      <a16:colId xmlns="" xmlns:a16="http://schemas.microsoft.com/office/drawing/2014/main" val="20000"/>
                    </a:ext>
                  </a:extLst>
                </a:gridCol>
                <a:gridCol w="2296882">
                  <a:extLst>
                    <a:ext uri="{9D8B030D-6E8A-4147-A177-3AD203B41FA5}">
                      <a16:colId xmlns="" xmlns:a16="http://schemas.microsoft.com/office/drawing/2014/main" val="20001"/>
                    </a:ext>
                  </a:extLst>
                </a:gridCol>
              </a:tblGrid>
              <a:tr h="145200">
                <a:tc>
                  <a:txBody>
                    <a:bodyPr/>
                    <a:lstStyle/>
                    <a:p>
                      <a:pPr algn="ctr"/>
                      <a:r>
                        <a:rPr lang="en-GB" sz="1400" dirty="0">
                          <a:solidFill>
                            <a:schemeClr val="accent1"/>
                          </a:solidFill>
                        </a:rPr>
                        <a:t>LIP 16</a:t>
                      </a:r>
                    </a:p>
                  </a:txBody>
                  <a:tcPr anchor="b">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pPr algn="ctr"/>
                      <a:r>
                        <a:rPr lang="en-GB" sz="1100" dirty="0"/>
                        <a:t>Part</a:t>
                      </a:r>
                      <a:r>
                        <a:rPr lang="en-GB" sz="1100" baseline="0" dirty="0"/>
                        <a:t> of the 2</a:t>
                      </a:r>
                      <a:r>
                        <a:rPr lang="en-GB" sz="1100" baseline="30000" dirty="0"/>
                        <a:t>nd</a:t>
                      </a:r>
                      <a:r>
                        <a:rPr lang="en-GB" sz="1100" baseline="0" dirty="0"/>
                        <a:t> Go-live wave</a:t>
                      </a:r>
                      <a:endParaRPr lang="en-GB" sz="1100" dirty="0"/>
                    </a:p>
                  </a:txBody>
                  <a:tcPr/>
                </a:tc>
                <a:extLst>
                  <a:ext uri="{0D108BD9-81ED-4DB2-BD59-A6C34878D82A}">
                    <a16:rowId xmlns="" xmlns:a16="http://schemas.microsoft.com/office/drawing/2014/main" val="10000"/>
                  </a:ext>
                </a:extLst>
              </a:tr>
              <a:tr h="274423">
                <a:tc>
                  <a:txBody>
                    <a:bodyPr/>
                    <a:lstStyle/>
                    <a:p>
                      <a:pPr algn="ctr"/>
                      <a:r>
                        <a:rPr lang="en-GB" sz="1000" b="1" dirty="0"/>
                        <a:t>Poland-Lithuania</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endParaRPr lang="en-GB" sz="16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ysDot"/>
                      <a:round/>
                      <a:headEnd type="none" w="med" len="med"/>
                      <a:tailEnd type="none" w="med" len="med"/>
                    </a:lnB>
                    <a:solidFill>
                      <a:schemeClr val="bg1"/>
                    </a:solidFill>
                  </a:tcPr>
                </a:tc>
                <a:extLst>
                  <a:ext uri="{0D108BD9-81ED-4DB2-BD59-A6C34878D82A}">
                    <a16:rowId xmlns="" xmlns:a16="http://schemas.microsoft.com/office/drawing/2014/main" val="10001"/>
                  </a:ext>
                </a:extLst>
              </a:tr>
              <a:tr h="257514">
                <a:tc>
                  <a:txBody>
                    <a:bodyPr/>
                    <a:lstStyle/>
                    <a:p>
                      <a:pPr algn="ctr"/>
                      <a:r>
                        <a:rPr lang="en-GB" sz="1000" b="1" dirty="0"/>
                        <a:t>Poland-Sweden</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tc>
                  <a:txBody>
                    <a:bodyPr/>
                    <a:lstStyle/>
                    <a:p>
                      <a:endParaRPr lang="en-GB" sz="1600" dirty="0"/>
                    </a:p>
                  </a:txBody>
                  <a:tcPr anchor="ctr">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ysDot"/>
                      <a:round/>
                      <a:headEnd type="none" w="med" len="med"/>
                      <a:tailEnd type="none" w="med" len="med"/>
                    </a:lnT>
                    <a:lnB w="12700" cap="flat" cmpd="sng" algn="ctr">
                      <a:solidFill>
                        <a:schemeClr val="bg1">
                          <a:lumMod val="65000"/>
                        </a:schemeClr>
                      </a:solidFill>
                      <a:prstDash val="sysDot"/>
                      <a:round/>
                      <a:headEnd type="none" w="med" len="med"/>
                      <a:tailEnd type="none" w="med" len="med"/>
                    </a:lnB>
                    <a:solidFill>
                      <a:schemeClr val="bg1"/>
                    </a:solidFill>
                  </a:tcPr>
                </a:tc>
                <a:extLst>
                  <a:ext uri="{0D108BD9-81ED-4DB2-BD59-A6C34878D82A}">
                    <a16:rowId xmlns="" xmlns:a16="http://schemas.microsoft.com/office/drawing/2014/main" val="10002"/>
                  </a:ext>
                </a:extLst>
              </a:tr>
            </a:tbl>
          </a:graphicData>
        </a:graphic>
      </p:graphicFrame>
      <p:sp>
        <p:nvSpPr>
          <p:cNvPr id="13" name="12 Forma en L"/>
          <p:cNvSpPr/>
          <p:nvPr/>
        </p:nvSpPr>
        <p:spPr>
          <a:xfrm rot="19115071">
            <a:off x="6037880" y="5088007"/>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pic>
        <p:nvPicPr>
          <p:cNvPr id="17" name="Picture 3" descr="C:\flags\italy.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44746" y="1807876"/>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87045" name="Picture 5" descr="C:\flags\sloveni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3464" y="1811610"/>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87048" name="Picture 8" descr="C:\flags\germany.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85857" y="3568197"/>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87049" name="Picture 9" descr="C:\flags\czec_republic.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55379" y="3568197"/>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9" descr="C:\flags\czec_republic.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55379" y="3834159"/>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C:\flags\austria.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5857" y="3852626"/>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C:\flags\austria.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4097" y="4149075"/>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87050" name="Picture 10" descr="C:\flags\hungary.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55379" y="4104940"/>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C:\flags\hungary.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55377" y="4422675"/>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87052" name="Picture 12" descr="C:\flags\croatia.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84977" y="4422690"/>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C:\flags\hungary.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85857" y="4738233"/>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87053" name="Picture 13" descr="C:\flags\romania.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55379" y="4720752"/>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2" descr="C:\flags\croatia.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55377" y="5051502"/>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5" descr="C:\flags\sloveni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5857" y="5051502"/>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87055" name="Picture 15" descr="C:\flags\lithuania.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76643" y="6161270"/>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87056" name="Picture 16" descr="C:\flags\poland.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07445" y="6161270"/>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6" descr="C:\flags\poland.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305363" y="6497744"/>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87057" name="Picture 17" descr="C:\flags\swed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76643" y="6481277"/>
            <a:ext cx="273600" cy="27360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3 Conector recto"/>
          <p:cNvCxnSpPr/>
          <p:nvPr/>
        </p:nvCxnSpPr>
        <p:spPr>
          <a:xfrm>
            <a:off x="542255" y="3196818"/>
            <a:ext cx="7793671"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5" name="44 Conector recto"/>
          <p:cNvCxnSpPr/>
          <p:nvPr/>
        </p:nvCxnSpPr>
        <p:spPr>
          <a:xfrm>
            <a:off x="539999" y="5733271"/>
            <a:ext cx="7795927"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8" name="7 Forma en L"/>
          <p:cNvSpPr/>
          <p:nvPr/>
        </p:nvSpPr>
        <p:spPr>
          <a:xfrm rot="19115071">
            <a:off x="6037880" y="3857904"/>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sp>
        <p:nvSpPr>
          <p:cNvPr id="39" name="7 Forma en L"/>
          <p:cNvSpPr/>
          <p:nvPr/>
        </p:nvSpPr>
        <p:spPr>
          <a:xfrm rot="19115071">
            <a:off x="6037880" y="4176997"/>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sp>
        <p:nvSpPr>
          <p:cNvPr id="41" name="7 Forma en L"/>
          <p:cNvSpPr/>
          <p:nvPr/>
        </p:nvSpPr>
        <p:spPr>
          <a:xfrm rot="19115071">
            <a:off x="6037880" y="4465042"/>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sp>
        <p:nvSpPr>
          <p:cNvPr id="42" name="7 Forma en L"/>
          <p:cNvSpPr/>
          <p:nvPr/>
        </p:nvSpPr>
        <p:spPr>
          <a:xfrm rot="19115071">
            <a:off x="6037880" y="4753074"/>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pic>
        <p:nvPicPr>
          <p:cNvPr id="44" name="Picture 10" descr="C:\flags\hungary.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57203" y="5374814"/>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5" descr="C:\flags\sloveni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9459" y="5374814"/>
            <a:ext cx="273600" cy="273600"/>
          </a:xfrm>
          <a:prstGeom prst="rect">
            <a:avLst/>
          </a:prstGeom>
          <a:noFill/>
          <a:extLst>
            <a:ext uri="{909E8E84-426E-40DD-AFC4-6F175D3DCCD1}">
              <a14:hiddenFill xmlns:a14="http://schemas.microsoft.com/office/drawing/2010/main">
                <a:solidFill>
                  <a:srgbClr val="FFFFFF"/>
                </a:solidFill>
              </a14:hiddenFill>
            </a:ext>
          </a:extLst>
        </p:spPr>
      </p:pic>
      <p:sp>
        <p:nvSpPr>
          <p:cNvPr id="47" name="12 Forma en L"/>
          <p:cNvSpPr/>
          <p:nvPr/>
        </p:nvSpPr>
        <p:spPr>
          <a:xfrm rot="19115071">
            <a:off x="6037880" y="5385592"/>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sp>
        <p:nvSpPr>
          <p:cNvPr id="49" name="7 Forma en L"/>
          <p:cNvSpPr/>
          <p:nvPr/>
        </p:nvSpPr>
        <p:spPr>
          <a:xfrm rot="19115071">
            <a:off x="6060368" y="1825982"/>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sp>
        <p:nvSpPr>
          <p:cNvPr id="50" name="7 Forma en L"/>
          <p:cNvSpPr/>
          <p:nvPr/>
        </p:nvSpPr>
        <p:spPr>
          <a:xfrm rot="19115071">
            <a:off x="6059146" y="6221878"/>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sp>
        <p:nvSpPr>
          <p:cNvPr id="51" name="7 Forma en L"/>
          <p:cNvSpPr/>
          <p:nvPr/>
        </p:nvSpPr>
        <p:spPr>
          <a:xfrm rot="19115071">
            <a:off x="6059146" y="6496018"/>
            <a:ext cx="232468" cy="130219"/>
          </a:xfrm>
          <a:prstGeom prst="corne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prstClr val="white"/>
              </a:solidFill>
            </a:endParaRPr>
          </a:p>
        </p:txBody>
      </p:sp>
      <p:pic>
        <p:nvPicPr>
          <p:cNvPr id="48" name="Picture 4" descr="C:\flags\austria.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73464" y="2163557"/>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3" descr="C:\flags\italy.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44746" y="2168156"/>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3" descr="C:\flags\italy.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55477" y="2526620"/>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C:\flags\franc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279459" y="2507485"/>
            <a:ext cx="271840" cy="27184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 descr="C:\flags\sloveni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1316" y="2865540"/>
            <a:ext cx="273600" cy="2736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C:\flags\austria.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50899" y="2856875"/>
            <a:ext cx="273600" cy="273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4544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079956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3"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ounded Rectangular Callout 12"/>
          <p:cNvSpPr/>
          <p:nvPr/>
        </p:nvSpPr>
        <p:spPr>
          <a:xfrm>
            <a:off x="7009919" y="1928516"/>
            <a:ext cx="1607247" cy="904836"/>
          </a:xfrm>
          <a:prstGeom prst="wedgeRoundRectCallout">
            <a:avLst>
              <a:gd name="adj1" fmla="val -214312"/>
              <a:gd name="adj2" fmla="val 161708"/>
              <a:gd name="adj3" fmla="val 16667"/>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US" sz="1100" b="1" dirty="0">
                <a:solidFill>
                  <a:schemeClr val="tx1"/>
                </a:solidFill>
              </a:rPr>
              <a:t>Impact analysis needs to be done for all elements</a:t>
            </a:r>
            <a:endParaRPr lang="en-GB" sz="1100" b="1" dirty="0">
              <a:solidFill>
                <a:schemeClr val="tx1"/>
              </a:solidFill>
            </a:endParaRPr>
          </a:p>
        </p:txBody>
      </p:sp>
      <p:sp>
        <p:nvSpPr>
          <p:cNvPr id="13" name="Rounded Rectangular Callout 12"/>
          <p:cNvSpPr/>
          <p:nvPr/>
        </p:nvSpPr>
        <p:spPr>
          <a:xfrm>
            <a:off x="7009919" y="3250671"/>
            <a:ext cx="1607247" cy="1462991"/>
          </a:xfrm>
          <a:prstGeom prst="wedgeRoundRectCallout">
            <a:avLst>
              <a:gd name="adj1" fmla="val -196499"/>
              <a:gd name="adj2" fmla="val 62593"/>
              <a:gd name="adj3" fmla="val 16667"/>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b="1" dirty="0">
                <a:solidFill>
                  <a:schemeClr val="tx1"/>
                </a:solidFill>
              </a:rPr>
              <a:t>Sequence of all these activities are not agreed – sequence/ planning will be discussed with Steering Committee and with stakeholders. </a:t>
            </a:r>
          </a:p>
        </p:txBody>
      </p:sp>
      <p:sp>
        <p:nvSpPr>
          <p:cNvPr id="6" name="Rounded Rectangular Callout 5"/>
          <p:cNvSpPr/>
          <p:nvPr/>
        </p:nvSpPr>
        <p:spPr>
          <a:xfrm>
            <a:off x="7009919" y="4976317"/>
            <a:ext cx="1607247" cy="1437311"/>
          </a:xfrm>
          <a:prstGeom prst="wedgeRoundRectCallout">
            <a:avLst>
              <a:gd name="adj1" fmla="val -260206"/>
              <a:gd name="adj2" fmla="val 9443"/>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b="1" dirty="0">
                <a:solidFill>
                  <a:schemeClr val="tx1"/>
                </a:solidFill>
              </a:rPr>
              <a:t>Release planning likely to mean no more than 1 or 2 releases p.a. due to testing cycles etc. </a:t>
            </a:r>
          </a:p>
        </p:txBody>
      </p:sp>
      <p:cxnSp>
        <p:nvCxnSpPr>
          <p:cNvPr id="127" name="Straight Connector 51"/>
          <p:cNvCxnSpPr>
            <a:stCxn id="126" idx="3"/>
            <a:endCxn id="37" idx="3"/>
          </p:cNvCxnSpPr>
          <p:nvPr/>
        </p:nvCxnSpPr>
        <p:spPr>
          <a:xfrm>
            <a:off x="5005343" y="1797711"/>
            <a:ext cx="31760" cy="2649945"/>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23" name="Straight Connector 51"/>
          <p:cNvCxnSpPr>
            <a:stCxn id="122" idx="3"/>
            <a:endCxn id="116" idx="3"/>
          </p:cNvCxnSpPr>
          <p:nvPr/>
        </p:nvCxnSpPr>
        <p:spPr>
          <a:xfrm>
            <a:off x="3334141" y="1805460"/>
            <a:ext cx="6906" cy="1600785"/>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sp>
        <p:nvSpPr>
          <p:cNvPr id="2" name="Titel 1"/>
          <p:cNvSpPr>
            <a:spLocks noGrp="1"/>
          </p:cNvSpPr>
          <p:nvPr>
            <p:ph type="title"/>
          </p:nvPr>
        </p:nvSpPr>
        <p:spPr>
          <a:xfrm>
            <a:off x="540386" y="792334"/>
            <a:ext cx="8046000" cy="583015"/>
          </a:xfrm>
        </p:spPr>
        <p:txBody>
          <a:bodyPr/>
          <a:lstStyle/>
          <a:p>
            <a:r>
              <a:rPr lang="en-GB" dirty="0"/>
              <a:t>3. Illustrative “Shorter Term” changes. Sequence must be prioritised/agreed with stakeholders</a:t>
            </a:r>
          </a:p>
        </p:txBody>
      </p:sp>
      <p:sp>
        <p:nvSpPr>
          <p:cNvPr id="3" name="Foliennummernplatzhalter 2"/>
          <p:cNvSpPr>
            <a:spLocks noGrp="1"/>
          </p:cNvSpPr>
          <p:nvPr>
            <p:ph type="sldNum" sz="quarter" idx="11"/>
          </p:nvPr>
        </p:nvSpPr>
        <p:spPr/>
        <p:txBody>
          <a:bodyPr/>
          <a:lstStyle/>
          <a:p>
            <a:fld id="{AD89DE65-C7D9-40CE-B96E-B8C3E7B233C5}" type="slidenum">
              <a:rPr lang="de-DE" smtClean="0"/>
              <a:pPr/>
              <a:t>97</a:t>
            </a:fld>
            <a:endParaRPr lang="de-DE" dirty="0"/>
          </a:p>
        </p:txBody>
      </p:sp>
      <p:cxnSp>
        <p:nvCxnSpPr>
          <p:cNvPr id="61" name="Straight Connector 51"/>
          <p:cNvCxnSpPr>
            <a:stCxn id="71" idx="3"/>
            <a:endCxn id="129" idx="3"/>
          </p:cNvCxnSpPr>
          <p:nvPr/>
        </p:nvCxnSpPr>
        <p:spPr>
          <a:xfrm flipH="1">
            <a:off x="5839170" y="1797711"/>
            <a:ext cx="4710" cy="1203986"/>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sp>
        <p:nvSpPr>
          <p:cNvPr id="71" name="TextBox 20"/>
          <p:cNvSpPr txBox="1"/>
          <p:nvPr/>
        </p:nvSpPr>
        <p:spPr>
          <a:xfrm>
            <a:off x="5148699" y="1666906"/>
            <a:ext cx="695181" cy="26161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100" b="1" dirty="0">
                <a:solidFill>
                  <a:prstClr val="black"/>
                </a:solidFill>
              </a:rPr>
              <a:t> TBC</a:t>
            </a:r>
          </a:p>
        </p:txBody>
      </p:sp>
      <p:cxnSp>
        <p:nvCxnSpPr>
          <p:cNvPr id="89" name="Straight Connector 58"/>
          <p:cNvCxnSpPr>
            <a:endCxn id="117" idx="3"/>
          </p:cNvCxnSpPr>
          <p:nvPr/>
        </p:nvCxnSpPr>
        <p:spPr>
          <a:xfrm flipH="1">
            <a:off x="2319400" y="1720815"/>
            <a:ext cx="856" cy="689002"/>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sp>
        <p:nvSpPr>
          <p:cNvPr id="90" name="TextBox 59"/>
          <p:cNvSpPr txBox="1"/>
          <p:nvPr/>
        </p:nvSpPr>
        <p:spPr>
          <a:xfrm>
            <a:off x="1133341" y="1666906"/>
            <a:ext cx="1186915" cy="26161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100" b="1" dirty="0" smtClean="0">
                <a:solidFill>
                  <a:prstClr val="black"/>
                </a:solidFill>
              </a:rPr>
              <a:t>June </a:t>
            </a:r>
            <a:r>
              <a:rPr lang="en-US" sz="1100" b="1" dirty="0">
                <a:solidFill>
                  <a:prstClr val="black"/>
                </a:solidFill>
              </a:rPr>
              <a:t>2018</a:t>
            </a:r>
          </a:p>
        </p:txBody>
      </p:sp>
      <p:sp>
        <p:nvSpPr>
          <p:cNvPr id="116" name="Punthaak 47"/>
          <p:cNvSpPr/>
          <p:nvPr/>
        </p:nvSpPr>
        <p:spPr>
          <a:xfrm>
            <a:off x="885551" y="3001697"/>
            <a:ext cx="2455496" cy="809095"/>
          </a:xfrm>
          <a:prstGeom prst="chevron">
            <a:avLst>
              <a:gd name="adj" fmla="val 51302"/>
            </a:avLst>
          </a:prstGeom>
          <a:solidFill>
            <a:schemeClr val="tx2"/>
          </a:solidFill>
          <a:ln>
            <a:solidFill>
              <a:schemeClr val="tx2"/>
            </a:solidFill>
          </a:ln>
        </p:spPr>
        <p:style>
          <a:lnRef idx="3">
            <a:schemeClr val="lt1"/>
          </a:lnRef>
          <a:fillRef idx="1">
            <a:schemeClr val="accent5"/>
          </a:fillRef>
          <a:effectRef idx="1">
            <a:schemeClr val="accent5"/>
          </a:effectRef>
          <a:fontRef idx="minor">
            <a:schemeClr val="lt1"/>
          </a:fontRef>
        </p:style>
        <p:txBody>
          <a:bodyPr vert="horz" rtlCol="0" anchor="ctr"/>
          <a:lstStyle/>
          <a:p>
            <a:pPr algn="ctr"/>
            <a:r>
              <a:rPr lang="en-US" sz="1400" b="1" dirty="0">
                <a:solidFill>
                  <a:schemeClr val="tx1"/>
                </a:solidFill>
              </a:rPr>
              <a:t>Shipping Module 2.0 Investment  in production</a:t>
            </a:r>
          </a:p>
        </p:txBody>
      </p:sp>
      <p:sp>
        <p:nvSpPr>
          <p:cNvPr id="117" name="Punthaak 47"/>
          <p:cNvSpPr/>
          <p:nvPr/>
        </p:nvSpPr>
        <p:spPr>
          <a:xfrm>
            <a:off x="435935" y="2083537"/>
            <a:ext cx="1883465" cy="652559"/>
          </a:xfrm>
          <a:prstGeom prst="chevron">
            <a:avLst/>
          </a:prstGeom>
          <a:solidFill>
            <a:schemeClr val="accent2"/>
          </a:solidFill>
          <a:ln>
            <a:solidFill>
              <a:schemeClr val="accent2"/>
            </a:solidFill>
          </a:ln>
        </p:spPr>
        <p:style>
          <a:lnRef idx="3">
            <a:schemeClr val="lt1"/>
          </a:lnRef>
          <a:fillRef idx="1">
            <a:schemeClr val="accent5"/>
          </a:fillRef>
          <a:effectRef idx="1">
            <a:schemeClr val="accent5"/>
          </a:effectRef>
          <a:fontRef idx="minor">
            <a:schemeClr val="lt1"/>
          </a:fontRef>
        </p:style>
        <p:txBody>
          <a:bodyPr vert="horz" lIns="0" rIns="0" rtlCol="0" anchor="ctr"/>
          <a:lstStyle/>
          <a:p>
            <a:pPr algn="ctr"/>
            <a:r>
              <a:rPr lang="en-US" sz="1400" b="1" dirty="0">
                <a:solidFill>
                  <a:schemeClr val="bg1"/>
                </a:solidFill>
              </a:rPr>
              <a:t>XBID Go-live</a:t>
            </a:r>
          </a:p>
        </p:txBody>
      </p:sp>
      <p:sp>
        <p:nvSpPr>
          <p:cNvPr id="16" name="TextBox 15"/>
          <p:cNvSpPr txBox="1"/>
          <p:nvPr/>
        </p:nvSpPr>
        <p:spPr>
          <a:xfrm>
            <a:off x="603099" y="6441043"/>
            <a:ext cx="1205458" cy="138499"/>
          </a:xfrm>
          <a:prstGeom prst="rect">
            <a:avLst/>
          </a:prstGeom>
          <a:noFill/>
        </p:spPr>
        <p:txBody>
          <a:bodyPr wrap="none" lIns="0" tIns="0" rIns="0" bIns="0" rtlCol="0">
            <a:spAutoFit/>
          </a:bodyPr>
          <a:lstStyle/>
          <a:p>
            <a:r>
              <a:rPr lang="en-GB" sz="900" dirty="0"/>
              <a:t>*SM – Shipping Module</a:t>
            </a:r>
          </a:p>
        </p:txBody>
      </p:sp>
      <p:sp>
        <p:nvSpPr>
          <p:cNvPr id="122" name="TextBox 20"/>
          <p:cNvSpPr txBox="1"/>
          <p:nvPr/>
        </p:nvSpPr>
        <p:spPr>
          <a:xfrm>
            <a:off x="2638960" y="1674655"/>
            <a:ext cx="695181" cy="26161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100" b="1" dirty="0">
                <a:solidFill>
                  <a:prstClr val="black"/>
                </a:solidFill>
              </a:rPr>
              <a:t> TBC</a:t>
            </a:r>
          </a:p>
        </p:txBody>
      </p:sp>
      <p:sp>
        <p:nvSpPr>
          <p:cNvPr id="125" name="Punthaak 47"/>
          <p:cNvSpPr/>
          <p:nvPr/>
        </p:nvSpPr>
        <p:spPr>
          <a:xfrm>
            <a:off x="1205829" y="4992067"/>
            <a:ext cx="2987336" cy="999300"/>
          </a:xfrm>
          <a:prstGeom prst="chevron">
            <a:avLst>
              <a:gd name="adj" fmla="val 51302"/>
            </a:avLst>
          </a:prstGeom>
          <a:solidFill>
            <a:schemeClr val="tx2"/>
          </a:solidFill>
          <a:ln>
            <a:solidFill>
              <a:schemeClr val="tx2"/>
            </a:solidFill>
          </a:ln>
        </p:spPr>
        <p:style>
          <a:lnRef idx="3">
            <a:schemeClr val="lt1"/>
          </a:lnRef>
          <a:fillRef idx="1">
            <a:schemeClr val="accent5"/>
          </a:fillRef>
          <a:effectRef idx="1">
            <a:schemeClr val="accent5"/>
          </a:effectRef>
          <a:fontRef idx="minor">
            <a:schemeClr val="lt1"/>
          </a:fontRef>
        </p:style>
        <p:txBody>
          <a:bodyPr vert="horz" rtlCol="0" anchor="ctr"/>
          <a:lstStyle/>
          <a:p>
            <a:pPr algn="ctr"/>
            <a:r>
              <a:rPr lang="en-US" sz="1400" b="1" dirty="0">
                <a:solidFill>
                  <a:schemeClr val="tx1"/>
                </a:solidFill>
              </a:rPr>
              <a:t>Additional Architecture Investment to enable 2</a:t>
            </a:r>
            <a:r>
              <a:rPr lang="en-US" sz="1400" b="1" baseline="30000" dirty="0">
                <a:solidFill>
                  <a:schemeClr val="tx1"/>
                </a:solidFill>
              </a:rPr>
              <a:t>nd</a:t>
            </a:r>
            <a:r>
              <a:rPr lang="en-US" sz="1400" b="1" dirty="0">
                <a:solidFill>
                  <a:schemeClr val="tx1"/>
                </a:solidFill>
              </a:rPr>
              <a:t> Wave LIPs</a:t>
            </a:r>
          </a:p>
        </p:txBody>
      </p:sp>
      <p:sp>
        <p:nvSpPr>
          <p:cNvPr id="126" name="TextBox 20"/>
          <p:cNvSpPr txBox="1"/>
          <p:nvPr/>
        </p:nvSpPr>
        <p:spPr>
          <a:xfrm>
            <a:off x="4310162" y="1666906"/>
            <a:ext cx="695181" cy="26161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100" b="1" dirty="0">
                <a:solidFill>
                  <a:prstClr val="black"/>
                </a:solidFill>
              </a:rPr>
              <a:t> TBC</a:t>
            </a:r>
          </a:p>
        </p:txBody>
      </p:sp>
      <p:cxnSp>
        <p:nvCxnSpPr>
          <p:cNvPr id="23" name="Straight Connector 51"/>
          <p:cNvCxnSpPr>
            <a:stCxn id="24" idx="3"/>
            <a:endCxn id="125" idx="3"/>
          </p:cNvCxnSpPr>
          <p:nvPr/>
        </p:nvCxnSpPr>
        <p:spPr>
          <a:xfrm>
            <a:off x="4185416" y="1797711"/>
            <a:ext cx="7749" cy="3694006"/>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sp>
        <p:nvSpPr>
          <p:cNvPr id="24" name="TextBox 20"/>
          <p:cNvSpPr txBox="1"/>
          <p:nvPr/>
        </p:nvSpPr>
        <p:spPr>
          <a:xfrm>
            <a:off x="3490235" y="1666906"/>
            <a:ext cx="695181" cy="26161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US" sz="1100" b="1" dirty="0">
                <a:solidFill>
                  <a:prstClr val="black"/>
                </a:solidFill>
              </a:rPr>
              <a:t> TBC</a:t>
            </a:r>
          </a:p>
        </p:txBody>
      </p:sp>
      <p:sp>
        <p:nvSpPr>
          <p:cNvPr id="37" name="Punthaak 47"/>
          <p:cNvSpPr/>
          <p:nvPr/>
        </p:nvSpPr>
        <p:spPr>
          <a:xfrm>
            <a:off x="1726798" y="4064005"/>
            <a:ext cx="3310305" cy="767301"/>
          </a:xfrm>
          <a:prstGeom prst="chevron">
            <a:avLst>
              <a:gd name="adj" fmla="val 51302"/>
            </a:avLst>
          </a:prstGeom>
          <a:solidFill>
            <a:schemeClr val="tx2"/>
          </a:solidFill>
          <a:ln>
            <a:solidFill>
              <a:schemeClr val="tx2"/>
            </a:solidFill>
          </a:ln>
        </p:spPr>
        <p:style>
          <a:lnRef idx="3">
            <a:schemeClr val="lt1"/>
          </a:lnRef>
          <a:fillRef idx="1">
            <a:schemeClr val="accent5"/>
          </a:fillRef>
          <a:effectRef idx="1">
            <a:schemeClr val="accent5"/>
          </a:effectRef>
          <a:fontRef idx="minor">
            <a:schemeClr val="lt1"/>
          </a:fontRef>
        </p:style>
        <p:txBody>
          <a:bodyPr vert="horz" rtlCol="0" anchor="ctr"/>
          <a:lstStyle/>
          <a:p>
            <a:pPr algn="ctr"/>
            <a:r>
              <a:rPr lang="en-US" sz="1400" b="1" dirty="0">
                <a:solidFill>
                  <a:schemeClr val="tx1"/>
                </a:solidFill>
              </a:rPr>
              <a:t>Realistic Test Scenario 3 ‘Slice B’ to model future system demands</a:t>
            </a:r>
          </a:p>
        </p:txBody>
      </p:sp>
      <p:sp>
        <p:nvSpPr>
          <p:cNvPr id="129" name="Punthaak 47"/>
          <p:cNvSpPr/>
          <p:nvPr/>
        </p:nvSpPr>
        <p:spPr>
          <a:xfrm>
            <a:off x="3490235" y="2538022"/>
            <a:ext cx="2348935" cy="927350"/>
          </a:xfrm>
          <a:prstGeom prst="chevron">
            <a:avLst>
              <a:gd name="adj" fmla="val 51302"/>
            </a:avLst>
          </a:prstGeom>
          <a:solidFill>
            <a:schemeClr val="tx2"/>
          </a:solidFill>
          <a:ln>
            <a:solidFill>
              <a:schemeClr val="tx2"/>
            </a:solidFill>
          </a:ln>
        </p:spPr>
        <p:style>
          <a:lnRef idx="3">
            <a:schemeClr val="lt1"/>
          </a:lnRef>
          <a:fillRef idx="1">
            <a:schemeClr val="accent5"/>
          </a:fillRef>
          <a:effectRef idx="1">
            <a:schemeClr val="accent5"/>
          </a:effectRef>
          <a:fontRef idx="minor">
            <a:schemeClr val="lt1"/>
          </a:fontRef>
        </p:style>
        <p:txBody>
          <a:bodyPr vert="horz" rtlCol="0" anchor="ctr"/>
          <a:lstStyle/>
          <a:p>
            <a:pPr algn="ctr"/>
            <a:r>
              <a:rPr lang="en-US" sz="1400" b="1" dirty="0">
                <a:solidFill>
                  <a:schemeClr val="tx1"/>
                </a:solidFill>
              </a:rPr>
              <a:t>DC Losses Functionality in production</a:t>
            </a:r>
          </a:p>
        </p:txBody>
      </p:sp>
    </p:spTree>
    <p:extLst>
      <p:ext uri="{BB962C8B-B14F-4D97-AF65-F5344CB8AC3E}">
        <p14:creationId xmlns:p14="http://schemas.microsoft.com/office/powerpoint/2010/main" val="2422692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24991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7"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ounded Rectangular Callout 12"/>
          <p:cNvSpPr/>
          <p:nvPr/>
        </p:nvSpPr>
        <p:spPr>
          <a:xfrm>
            <a:off x="448194" y="4557988"/>
            <a:ext cx="1994277" cy="1643782"/>
          </a:xfrm>
          <a:prstGeom prst="wedgeRoundRectCallout">
            <a:avLst>
              <a:gd name="adj1" fmla="val 163931"/>
              <a:gd name="adj2" fmla="val -66701"/>
              <a:gd name="adj3" fmla="val 16667"/>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r>
              <a:rPr lang="en-GB" sz="1200" b="1" dirty="0">
                <a:solidFill>
                  <a:schemeClr val="tx1"/>
                </a:solidFill>
              </a:rPr>
              <a:t>Sequence of all these activities are not agreed – sequence/ planning will be discussed with Steering Committee &amp; external stakeholders such as NRAs </a:t>
            </a:r>
          </a:p>
        </p:txBody>
      </p:sp>
      <p:sp>
        <p:nvSpPr>
          <p:cNvPr id="6" name="Rounded Rectangular Callout 5"/>
          <p:cNvSpPr/>
          <p:nvPr/>
        </p:nvSpPr>
        <p:spPr>
          <a:xfrm>
            <a:off x="6398746" y="1726429"/>
            <a:ext cx="2037734" cy="819150"/>
          </a:xfrm>
          <a:prstGeom prst="wedgeRoundRectCallout">
            <a:avLst>
              <a:gd name="adj1" fmla="val -125478"/>
              <a:gd name="adj2" fmla="val 296201"/>
              <a:gd name="adj3" fmla="val 16667"/>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algn="ctr"/>
            <a:r>
              <a:rPr lang="en-GB" sz="1200" b="1" dirty="0">
                <a:solidFill>
                  <a:schemeClr val="tx1"/>
                </a:solidFill>
              </a:rPr>
              <a:t>Release planning likely to mean no more than 2 releases p.a. due to testing cycles etc.</a:t>
            </a:r>
          </a:p>
        </p:txBody>
      </p:sp>
      <p:sp>
        <p:nvSpPr>
          <p:cNvPr id="2" name="Titel 1"/>
          <p:cNvSpPr>
            <a:spLocks noGrp="1"/>
          </p:cNvSpPr>
          <p:nvPr>
            <p:ph type="title"/>
          </p:nvPr>
        </p:nvSpPr>
        <p:spPr>
          <a:xfrm>
            <a:off x="540386" y="792334"/>
            <a:ext cx="8046000" cy="583015"/>
          </a:xfrm>
        </p:spPr>
        <p:txBody>
          <a:bodyPr/>
          <a:lstStyle/>
          <a:p>
            <a:r>
              <a:rPr lang="en-GB" dirty="0"/>
              <a:t>4. XBID Strategic Roadmap – Illustrative “Longer Term” sequence of developments to be prioritised/agreed with stakeholders</a:t>
            </a:r>
          </a:p>
        </p:txBody>
      </p:sp>
      <p:cxnSp>
        <p:nvCxnSpPr>
          <p:cNvPr id="89" name="Straight Connector 58"/>
          <p:cNvCxnSpPr>
            <a:stCxn id="90" idx="3"/>
            <a:endCxn id="117" idx="3"/>
          </p:cNvCxnSpPr>
          <p:nvPr/>
        </p:nvCxnSpPr>
        <p:spPr>
          <a:xfrm>
            <a:off x="1907207" y="1605439"/>
            <a:ext cx="3241" cy="583528"/>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sp>
        <p:nvSpPr>
          <p:cNvPr id="90" name="TextBox 59"/>
          <p:cNvSpPr txBox="1"/>
          <p:nvPr/>
        </p:nvSpPr>
        <p:spPr>
          <a:xfrm>
            <a:off x="759854" y="1484449"/>
            <a:ext cx="1147353" cy="24198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wrap="square" lIns="0" tIns="36000" rIns="0" bIns="36000" rtlCol="0">
            <a:spAutoFit/>
          </a:bodyPr>
          <a:lstStyle/>
          <a:p>
            <a:pPr algn="ctr"/>
            <a:r>
              <a:rPr lang="en-US" sz="1100" b="1" dirty="0" smtClean="0">
                <a:solidFill>
                  <a:prstClr val="black"/>
                </a:solidFill>
              </a:rPr>
              <a:t>June </a:t>
            </a:r>
            <a:r>
              <a:rPr lang="en-US" sz="1100" b="1" dirty="0">
                <a:solidFill>
                  <a:prstClr val="black"/>
                </a:solidFill>
              </a:rPr>
              <a:t>2018</a:t>
            </a:r>
          </a:p>
        </p:txBody>
      </p:sp>
      <p:sp>
        <p:nvSpPr>
          <p:cNvPr id="117" name="Punthaak 47"/>
          <p:cNvSpPr/>
          <p:nvPr/>
        </p:nvSpPr>
        <p:spPr>
          <a:xfrm>
            <a:off x="540385" y="1885906"/>
            <a:ext cx="1370063" cy="606122"/>
          </a:xfrm>
          <a:prstGeom prst="chevron">
            <a:avLst/>
          </a:prstGeom>
          <a:solidFill>
            <a:schemeClr val="accent2"/>
          </a:solidFill>
          <a:ln>
            <a:solidFill>
              <a:schemeClr val="accent2"/>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400" b="1" dirty="0">
                <a:solidFill>
                  <a:schemeClr val="bg1"/>
                </a:solidFill>
              </a:rPr>
              <a:t>XBID Go-live</a:t>
            </a:r>
          </a:p>
        </p:txBody>
      </p:sp>
      <p:sp>
        <p:nvSpPr>
          <p:cNvPr id="132" name="Punthaak 47"/>
          <p:cNvSpPr/>
          <p:nvPr/>
        </p:nvSpPr>
        <p:spPr>
          <a:xfrm>
            <a:off x="4865181" y="5510504"/>
            <a:ext cx="2552432" cy="886686"/>
          </a:xfrm>
          <a:prstGeom prst="chevron">
            <a:avLst>
              <a:gd name="adj" fmla="val 51302"/>
            </a:avLst>
          </a:prstGeom>
          <a:solidFill>
            <a:schemeClr val="tx1"/>
          </a:solidFill>
          <a:ln>
            <a:solidFill>
              <a:schemeClr val="tx1"/>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200" b="1" dirty="0">
                <a:solidFill>
                  <a:schemeClr val="bg1"/>
                </a:solidFill>
              </a:rPr>
              <a:t>Analysis &amp; Design of Flow Based Allocation</a:t>
            </a:r>
          </a:p>
        </p:txBody>
      </p:sp>
      <p:sp>
        <p:nvSpPr>
          <p:cNvPr id="134" name="Punthaak 47"/>
          <p:cNvSpPr/>
          <p:nvPr/>
        </p:nvSpPr>
        <p:spPr>
          <a:xfrm>
            <a:off x="4983416" y="4490662"/>
            <a:ext cx="1971294" cy="829842"/>
          </a:xfrm>
          <a:prstGeom prst="chevron">
            <a:avLst>
              <a:gd name="adj" fmla="val 51302"/>
            </a:avLst>
          </a:prstGeom>
          <a:solidFill>
            <a:schemeClr val="accent2">
              <a:lumMod val="60000"/>
              <a:lumOff val="40000"/>
            </a:schemeClr>
          </a:solidFill>
          <a:ln>
            <a:solidFill>
              <a:schemeClr val="accent2">
                <a:lumMod val="60000"/>
                <a:lumOff val="40000"/>
              </a:schemeClr>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200" b="1" dirty="0">
                <a:solidFill>
                  <a:schemeClr val="tx1"/>
                </a:solidFill>
              </a:rPr>
              <a:t>Capacity Pricing Developed &amp; into Production</a:t>
            </a:r>
          </a:p>
        </p:txBody>
      </p:sp>
      <p:sp>
        <p:nvSpPr>
          <p:cNvPr id="56" name="Rounded Rectangular Callout 12"/>
          <p:cNvSpPr/>
          <p:nvPr/>
        </p:nvSpPr>
        <p:spPr>
          <a:xfrm flipH="1">
            <a:off x="2685737" y="1558565"/>
            <a:ext cx="1831881" cy="630402"/>
          </a:xfrm>
          <a:prstGeom prst="wedgeRoundRectCallout">
            <a:avLst>
              <a:gd name="adj1" fmla="val -67426"/>
              <a:gd name="adj2" fmla="val 351826"/>
              <a:gd name="adj3" fmla="val 16667"/>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dirty="0">
                <a:solidFill>
                  <a:schemeClr val="tx1"/>
                </a:solidFill>
              </a:rPr>
              <a:t>Impact analysis needs to be done for all elements</a:t>
            </a:r>
            <a:endParaRPr lang="en-GB" sz="1100" b="1" dirty="0">
              <a:solidFill>
                <a:schemeClr val="tx1"/>
              </a:solidFill>
            </a:endParaRPr>
          </a:p>
        </p:txBody>
      </p:sp>
      <p:sp>
        <p:nvSpPr>
          <p:cNvPr id="135" name="Punthaak 47"/>
          <p:cNvSpPr/>
          <p:nvPr/>
        </p:nvSpPr>
        <p:spPr>
          <a:xfrm>
            <a:off x="7084812" y="5510505"/>
            <a:ext cx="1924326" cy="890296"/>
          </a:xfrm>
          <a:prstGeom prst="chevron">
            <a:avLst>
              <a:gd name="adj" fmla="val 51302"/>
            </a:avLst>
          </a:prstGeom>
          <a:solidFill>
            <a:schemeClr val="accent2">
              <a:lumMod val="60000"/>
              <a:lumOff val="40000"/>
            </a:schemeClr>
          </a:solidFill>
          <a:ln>
            <a:solidFill>
              <a:schemeClr val="accent2">
                <a:lumMod val="60000"/>
                <a:lumOff val="40000"/>
              </a:schemeClr>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200" b="1" dirty="0">
                <a:solidFill>
                  <a:schemeClr val="tx1"/>
                </a:solidFill>
              </a:rPr>
              <a:t>Flow Based Allocation Developed/ Prod. then Parallel Run</a:t>
            </a:r>
          </a:p>
        </p:txBody>
      </p:sp>
      <p:sp>
        <p:nvSpPr>
          <p:cNvPr id="55" name="Slide Number Placeholder 2"/>
          <p:cNvSpPr>
            <a:spLocks noGrp="1"/>
          </p:cNvSpPr>
          <p:nvPr>
            <p:ph type="sldNum" sz="quarter" idx="11"/>
          </p:nvPr>
        </p:nvSpPr>
        <p:spPr/>
        <p:txBody>
          <a:bodyPr/>
          <a:lstStyle/>
          <a:p>
            <a:fld id="{AD89DE65-C7D9-40CE-B96E-B8C3E7B233C5}" type="slidenum">
              <a:rPr lang="de-DE" smtClean="0"/>
              <a:pPr/>
              <a:t>98</a:t>
            </a:fld>
            <a:endParaRPr lang="de-DE" dirty="0"/>
          </a:p>
        </p:txBody>
      </p:sp>
      <p:sp>
        <p:nvSpPr>
          <p:cNvPr id="131" name="Punthaak 47"/>
          <p:cNvSpPr/>
          <p:nvPr/>
        </p:nvSpPr>
        <p:spPr>
          <a:xfrm>
            <a:off x="2884871" y="4490662"/>
            <a:ext cx="2279629" cy="829842"/>
          </a:xfrm>
          <a:prstGeom prst="chevron">
            <a:avLst>
              <a:gd name="adj" fmla="val 51302"/>
            </a:avLst>
          </a:prstGeom>
          <a:solidFill>
            <a:schemeClr val="tx1"/>
          </a:solidFill>
          <a:ln>
            <a:solidFill>
              <a:schemeClr val="tx1"/>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200" b="1" dirty="0">
                <a:solidFill>
                  <a:schemeClr val="bg1"/>
                </a:solidFill>
              </a:rPr>
              <a:t>Analysis &amp; Design of Capacity Pricing</a:t>
            </a:r>
          </a:p>
        </p:txBody>
      </p:sp>
      <p:sp>
        <p:nvSpPr>
          <p:cNvPr id="133" name="Punthaak 47"/>
          <p:cNvSpPr/>
          <p:nvPr/>
        </p:nvSpPr>
        <p:spPr>
          <a:xfrm>
            <a:off x="2928329" y="3498194"/>
            <a:ext cx="1804968" cy="812566"/>
          </a:xfrm>
          <a:prstGeom prst="chevron">
            <a:avLst>
              <a:gd name="adj" fmla="val 51302"/>
            </a:avLst>
          </a:prstGeom>
          <a:solidFill>
            <a:schemeClr val="accent2">
              <a:lumMod val="60000"/>
              <a:lumOff val="40000"/>
            </a:schemeClr>
          </a:solidFill>
          <a:ln>
            <a:solidFill>
              <a:schemeClr val="accent2">
                <a:lumMod val="60000"/>
                <a:lumOff val="40000"/>
              </a:schemeClr>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200" b="1" dirty="0">
                <a:solidFill>
                  <a:schemeClr val="tx1"/>
                </a:solidFill>
              </a:rPr>
              <a:t>Enduring Shipping Solution implemented</a:t>
            </a:r>
          </a:p>
        </p:txBody>
      </p:sp>
      <p:sp>
        <p:nvSpPr>
          <p:cNvPr id="130" name="Punthaak 47"/>
          <p:cNvSpPr/>
          <p:nvPr/>
        </p:nvSpPr>
        <p:spPr>
          <a:xfrm>
            <a:off x="624431" y="2613995"/>
            <a:ext cx="2183165" cy="760265"/>
          </a:xfrm>
          <a:prstGeom prst="chevron">
            <a:avLst>
              <a:gd name="adj" fmla="val 51302"/>
            </a:avLst>
          </a:prstGeom>
          <a:solidFill>
            <a:schemeClr val="accent5"/>
          </a:solidFill>
          <a:ln>
            <a:solidFill>
              <a:schemeClr val="accent5"/>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200" b="1" dirty="0">
                <a:solidFill>
                  <a:schemeClr val="bg1"/>
                </a:solidFill>
              </a:rPr>
              <a:t>Analysis &amp; Design of Enduring Shipping Solution (by external group)</a:t>
            </a:r>
          </a:p>
        </p:txBody>
      </p:sp>
      <p:sp>
        <p:nvSpPr>
          <p:cNvPr id="35" name="Punthaak 47"/>
          <p:cNvSpPr/>
          <p:nvPr/>
        </p:nvSpPr>
        <p:spPr>
          <a:xfrm>
            <a:off x="6629326" y="3511074"/>
            <a:ext cx="1971294" cy="808369"/>
          </a:xfrm>
          <a:prstGeom prst="chevron">
            <a:avLst>
              <a:gd name="adj" fmla="val 51302"/>
            </a:avLst>
          </a:prstGeom>
          <a:solidFill>
            <a:schemeClr val="accent2">
              <a:lumMod val="60000"/>
              <a:lumOff val="40000"/>
            </a:schemeClr>
          </a:solidFill>
          <a:ln>
            <a:solidFill>
              <a:schemeClr val="accent2">
                <a:lumMod val="60000"/>
                <a:lumOff val="40000"/>
              </a:schemeClr>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200" b="1" dirty="0">
                <a:solidFill>
                  <a:schemeClr val="tx1"/>
                </a:solidFill>
              </a:rPr>
              <a:t>Implementation of non-standard ID products </a:t>
            </a:r>
          </a:p>
        </p:txBody>
      </p:sp>
      <p:sp>
        <p:nvSpPr>
          <p:cNvPr id="36" name="Punthaak 47"/>
          <p:cNvSpPr/>
          <p:nvPr/>
        </p:nvSpPr>
        <p:spPr>
          <a:xfrm>
            <a:off x="4772426" y="3511074"/>
            <a:ext cx="2075843" cy="808370"/>
          </a:xfrm>
          <a:prstGeom prst="chevron">
            <a:avLst>
              <a:gd name="adj" fmla="val 51302"/>
            </a:avLst>
          </a:prstGeom>
          <a:solidFill>
            <a:schemeClr val="tx1"/>
          </a:solidFill>
          <a:ln>
            <a:solidFill>
              <a:schemeClr val="tx1"/>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200" b="1" dirty="0">
                <a:solidFill>
                  <a:schemeClr val="bg1"/>
                </a:solidFill>
              </a:rPr>
              <a:t>Design of non-standard ID products</a:t>
            </a:r>
          </a:p>
        </p:txBody>
      </p:sp>
      <p:sp>
        <p:nvSpPr>
          <p:cNvPr id="37" name="Punthaak 47"/>
          <p:cNvSpPr/>
          <p:nvPr/>
        </p:nvSpPr>
        <p:spPr>
          <a:xfrm>
            <a:off x="1119116" y="3511073"/>
            <a:ext cx="2117143" cy="783974"/>
          </a:xfrm>
          <a:prstGeom prst="chevron">
            <a:avLst>
              <a:gd name="adj" fmla="val 51302"/>
            </a:avLst>
          </a:prstGeom>
          <a:solidFill>
            <a:schemeClr val="tx1"/>
          </a:solidFill>
          <a:ln>
            <a:solidFill>
              <a:schemeClr val="tx1"/>
            </a:solidFill>
          </a:ln>
        </p:spPr>
        <p:style>
          <a:lnRef idx="3">
            <a:schemeClr val="lt1"/>
          </a:lnRef>
          <a:fillRef idx="1">
            <a:schemeClr val="accent5"/>
          </a:fillRef>
          <a:effectRef idx="1">
            <a:schemeClr val="accent5"/>
          </a:effectRef>
          <a:fontRef idx="minor">
            <a:schemeClr val="lt1"/>
          </a:fontRef>
        </p:style>
        <p:txBody>
          <a:bodyPr vert="horz" lIns="0" tIns="36000" rIns="0" bIns="36000" rtlCol="0" anchor="ctr"/>
          <a:lstStyle/>
          <a:p>
            <a:pPr algn="ctr"/>
            <a:r>
              <a:rPr lang="en-US" sz="1200" b="1" dirty="0">
                <a:solidFill>
                  <a:schemeClr val="bg1"/>
                </a:solidFill>
              </a:rPr>
              <a:t>Assess technical feasibility of Shipping Solution</a:t>
            </a:r>
          </a:p>
        </p:txBody>
      </p:sp>
    </p:spTree>
    <p:extLst>
      <p:ext uri="{BB962C8B-B14F-4D97-AF65-F5344CB8AC3E}">
        <p14:creationId xmlns:p14="http://schemas.microsoft.com/office/powerpoint/2010/main" val="3622703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XBID Governance</a:t>
            </a:r>
          </a:p>
        </p:txBody>
      </p:sp>
      <p:sp>
        <p:nvSpPr>
          <p:cNvPr id="3" name="Slide Number Placeholder 2"/>
          <p:cNvSpPr>
            <a:spLocks noGrp="1"/>
          </p:cNvSpPr>
          <p:nvPr>
            <p:ph type="sldNum" sz="quarter" idx="11"/>
          </p:nvPr>
        </p:nvSpPr>
        <p:spPr/>
        <p:txBody>
          <a:bodyPr/>
          <a:lstStyle/>
          <a:p>
            <a:fld id="{AD89DE65-C7D9-40CE-B96E-B8C3E7B233C5}" type="slidenum">
              <a:rPr lang="de-DE" smtClean="0"/>
              <a:pPr/>
              <a:t>99</a:t>
            </a:fld>
            <a:endParaRPr lang="de-DE" dirty="0"/>
          </a:p>
        </p:txBody>
      </p:sp>
      <p:sp>
        <p:nvSpPr>
          <p:cNvPr id="4" name="Text Placeholder 3"/>
          <p:cNvSpPr>
            <a:spLocks noGrp="1"/>
          </p:cNvSpPr>
          <p:nvPr>
            <p:ph type="body" sz="quarter" idx="13"/>
          </p:nvPr>
        </p:nvSpPr>
        <p:spPr>
          <a:xfrm>
            <a:off x="540386" y="1426867"/>
            <a:ext cx="8046000" cy="5084626"/>
          </a:xfrm>
        </p:spPr>
        <p:txBody>
          <a:bodyPr>
            <a:normAutofit/>
          </a:bodyPr>
          <a:lstStyle/>
          <a:p>
            <a:pPr algn="just"/>
            <a:r>
              <a:rPr lang="en-GB" sz="2000" dirty="0"/>
              <a:t>From </a:t>
            </a:r>
            <a:r>
              <a:rPr lang="en-GB" sz="2000" dirty="0" err="1"/>
              <a:t>go-live</a:t>
            </a:r>
            <a:r>
              <a:rPr lang="en-GB" sz="2000" dirty="0"/>
              <a:t> XBID will be managed</a:t>
            </a:r>
            <a:r>
              <a:rPr lang="en-GB" dirty="0"/>
              <a:t>:</a:t>
            </a:r>
          </a:p>
          <a:p>
            <a:pPr lvl="1" algn="just"/>
            <a:r>
              <a:rPr lang="en-GB" b="1" dirty="0">
                <a:solidFill>
                  <a:schemeClr val="accent1"/>
                </a:solidFill>
              </a:rPr>
              <a:t>1. Operationally</a:t>
            </a:r>
          </a:p>
          <a:p>
            <a:pPr lvl="2" algn="just"/>
            <a:r>
              <a:rPr lang="en-GB" dirty="0"/>
              <a:t>OPSCOM will be established</a:t>
            </a:r>
          </a:p>
          <a:p>
            <a:pPr lvl="2" algn="just"/>
            <a:r>
              <a:rPr lang="en-GB" dirty="0"/>
              <a:t>Incident Committees will be mobilised in the event of an incident</a:t>
            </a:r>
          </a:p>
          <a:p>
            <a:pPr lvl="1" algn="just"/>
            <a:r>
              <a:rPr lang="en-GB" b="1" dirty="0">
                <a:solidFill>
                  <a:schemeClr val="accent1"/>
                </a:solidFill>
              </a:rPr>
              <a:t>2. Further Development</a:t>
            </a:r>
          </a:p>
          <a:p>
            <a:pPr lvl="2" algn="just"/>
            <a:r>
              <a:rPr lang="en-GB" dirty="0"/>
              <a:t>Steering Committee comprising all parties who have signed the Intraday Operational Agreement</a:t>
            </a:r>
          </a:p>
          <a:p>
            <a:pPr lvl="2" algn="just"/>
            <a:r>
              <a:rPr lang="en-GB" dirty="0"/>
              <a:t>Annual budget and agreed priorities</a:t>
            </a:r>
          </a:p>
          <a:p>
            <a:pPr lvl="2" algn="just"/>
            <a:r>
              <a:rPr lang="en-GB" dirty="0"/>
              <a:t>Responsible for development of short, medium and long term strategic roadmap</a:t>
            </a:r>
          </a:p>
          <a:p>
            <a:pPr lvl="1" algn="just"/>
            <a:r>
              <a:rPr lang="en-GB" b="1" dirty="0">
                <a:solidFill>
                  <a:schemeClr val="accent1"/>
                </a:solidFill>
              </a:rPr>
              <a:t>NEMOs and TSOs agree that</a:t>
            </a:r>
          </a:p>
          <a:p>
            <a:pPr marL="180975" lvl="1" indent="0" algn="just">
              <a:buNone/>
            </a:pPr>
            <a:r>
              <a:rPr lang="en-GB" b="1" dirty="0">
                <a:solidFill>
                  <a:schemeClr val="accent1"/>
                </a:solidFill>
              </a:rPr>
              <a:t>   governance for DA and ID </a:t>
            </a:r>
            <a:endParaRPr lang="en-GB" b="1" dirty="0" smtClean="0">
              <a:solidFill>
                <a:schemeClr val="accent1"/>
              </a:solidFill>
            </a:endParaRPr>
          </a:p>
          <a:p>
            <a:pPr marL="180975" lvl="1" indent="0" algn="just">
              <a:buNone/>
            </a:pPr>
            <a:r>
              <a:rPr lang="en-GB" b="1" dirty="0" smtClean="0">
                <a:solidFill>
                  <a:schemeClr val="accent1"/>
                </a:solidFill>
              </a:rPr>
              <a:t>   should </a:t>
            </a:r>
            <a:r>
              <a:rPr lang="en-GB" b="1" dirty="0">
                <a:solidFill>
                  <a:schemeClr val="accent1"/>
                </a:solidFill>
              </a:rPr>
              <a:t>be merged in the future </a:t>
            </a:r>
          </a:p>
        </p:txBody>
      </p:sp>
      <p:sp>
        <p:nvSpPr>
          <p:cNvPr id="5" name="AutoShape 2" descr="Image result for images of roadmap"/>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 name="AutoShape 4" descr="Image result for images of roadmap"/>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 name="AutoShape 6" descr="Image result for images of roadmap"/>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AutoShape 8" descr="Image result for images of roadmap"/>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 name="AutoShape 10" descr="Image result for images of roadmap"/>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51212" name="Picture 12" descr="Image result for images of roa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2521" y="4391242"/>
            <a:ext cx="5166510" cy="20666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139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74f89591-2282-4047-ad3b-4ad0efc07134"/>
</p:tagLst>
</file>

<file path=ppt/tags/tag10.xml><?xml version="1.0" encoding="utf-8"?>
<p:tagLst xmlns:a="http://schemas.openxmlformats.org/drawingml/2006/main" xmlns:r="http://schemas.openxmlformats.org/officeDocument/2006/relationships" xmlns:p="http://schemas.openxmlformats.org/presentationml/2006/main">
  <p:tag name="EE4P_MAPWIZARD_ID" val="52"/>
  <p:tag name="EE4P_MAPWIZARD_HEADINGS" val="party_name\display_na"/>
  <p:tag name="EE4P_MAPWIZARD" val="Polskie Sieci Elektroenergetyczne Spółka Akcyjna\PSE"/>
</p:tagLst>
</file>

<file path=ppt/tags/tag100.xml><?xml version="1.0" encoding="utf-8"?>
<p:tagLst xmlns:a="http://schemas.openxmlformats.org/drawingml/2006/main" xmlns:r="http://schemas.openxmlformats.org/officeDocument/2006/relationships" xmlns:p="http://schemas.openxmlformats.org/presentationml/2006/main">
  <p:tag name="EE4P_MAPWIZARD_ID" val="8"/>
  <p:tag name="EE4P_MAPWIZARD_HEADINGS" val="party_name\display_na"/>
  <p:tag name="EE4P_MAPWIZARD" val="Vorarlberger Übertragungsnetz GmbH\VUEN"/>
</p:tagLst>
</file>

<file path=ppt/tags/tag101.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102.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103.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104.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105.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106.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107.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108.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109.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11.xml><?xml version="1.0" encoding="utf-8"?>
<p:tagLst xmlns:a="http://schemas.openxmlformats.org/drawingml/2006/main" xmlns:r="http://schemas.openxmlformats.org/officeDocument/2006/relationships" xmlns:p="http://schemas.openxmlformats.org/presentationml/2006/main">
  <p:tag name="EE4P_MAPWIZARD_ID" val="17"/>
  <p:tag name="EE4P_MAPWIZARD_HEADINGS" val="party_name\display_na"/>
  <p:tag name="EE4P_MAPWIZARD" val="Réseau de Transport d'Electricité (RTE)\RTE"/>
</p:tagLst>
</file>

<file path=ppt/tags/tag110.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111.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112.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113.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114.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115.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116.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117.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118.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119.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12.xml><?xml version="1.0" encoding="utf-8"?>
<p:tagLst xmlns:a="http://schemas.openxmlformats.org/drawingml/2006/main" xmlns:r="http://schemas.openxmlformats.org/officeDocument/2006/relationships" xmlns:p="http://schemas.openxmlformats.org/presentationml/2006/main">
  <p:tag name="EE4P_MAPWIZARD_ID" val="36"/>
  <p:tag name="EE4P_MAPWIZARD_HEADINGS" val="party_name\display_na"/>
  <p:tag name="EE4P_MAPWIZARD" val="swissgrid AG\Swissgrid"/>
</p:tagLst>
</file>

<file path=ppt/tags/tag120.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121.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122.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123.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124.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125.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126.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127.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128.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129.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13.xml><?xml version="1.0" encoding="utf-8"?>
<p:tagLst xmlns:a="http://schemas.openxmlformats.org/drawingml/2006/main" xmlns:r="http://schemas.openxmlformats.org/officeDocument/2006/relationships" xmlns:p="http://schemas.openxmlformats.org/presentationml/2006/main">
  <p:tag name="EE4P_MAPWIZARD_ID" val="5"/>
  <p:tag name="EE4P_MAPWIZARD_HEADINGS" val="party_name\display_na"/>
  <p:tag name="EE4P_MAPWIZARD" val="MAVIR Magyar Villamosenergia-ipari Átviteli Rendszerirányító Zrt.\MAVIR"/>
</p:tagLst>
</file>

<file path=ppt/tags/tag130.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13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13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13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13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13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136.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13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138.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139.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14.xml><?xml version="1.0" encoding="utf-8"?>
<p:tagLst xmlns:a="http://schemas.openxmlformats.org/drawingml/2006/main" xmlns:r="http://schemas.openxmlformats.org/officeDocument/2006/relationships" xmlns:p="http://schemas.openxmlformats.org/presentationml/2006/main">
  <p:tag name="EE4P_MAPWIZARD_ID" val="6"/>
  <p:tag name="EE4P_MAPWIZARD_HEADINGS" val="party_name\display_na"/>
  <p:tag name="EE4P_MAPWIZARD" val="Red Eléctrica de España S.A.U.\REE"/>
</p:tagLst>
</file>

<file path=ppt/tags/tag140.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14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14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143.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144.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145.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146.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147.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148.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149.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15.xml><?xml version="1.0" encoding="utf-8"?>
<p:tagLst xmlns:a="http://schemas.openxmlformats.org/drawingml/2006/main" xmlns:r="http://schemas.openxmlformats.org/officeDocument/2006/relationships" xmlns:p="http://schemas.openxmlformats.org/presentationml/2006/main">
  <p:tag name="EE4P_MAPWIZARD_ID" val="9"/>
  <p:tag name="EE4P_MAPWIZARD_HEADINGS" val="party_name\display_na"/>
  <p:tag name="EE4P_MAPWIZARD" val="Elia\Elia"/>
</p:tagLst>
</file>

<file path=ppt/tags/tag150.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151.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152.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153.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154.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155.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156.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157.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158.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159.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16.xml><?xml version="1.0" encoding="utf-8"?>
<p:tagLst xmlns:a="http://schemas.openxmlformats.org/drawingml/2006/main" xmlns:r="http://schemas.openxmlformats.org/officeDocument/2006/relationships" xmlns:p="http://schemas.openxmlformats.org/presentationml/2006/main">
  <p:tag name="EE4P_MAPWIZARD_ID" val="16"/>
  <p:tag name="EE4P_MAPWIZARD_HEADINGS" val="party_name\display_na"/>
  <p:tag name="EE4P_MAPWIZARD" val="Fingrid Oyj\Fingrid"/>
</p:tagLst>
</file>

<file path=ppt/tags/tag160.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161.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162.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163.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164.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165.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166.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167.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168.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169.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17.xml><?xml version="1.0" encoding="utf-8"?>
<p:tagLst xmlns:a="http://schemas.openxmlformats.org/drawingml/2006/main" xmlns:r="http://schemas.openxmlformats.org/officeDocument/2006/relationships" xmlns:p="http://schemas.openxmlformats.org/presentationml/2006/main">
  <p:tag name="EE4P_MAPWIZARD_ID" val="19"/>
  <p:tag name="EE4P_MAPWIZARD_HEADINGS" val="party_name\display_na"/>
  <p:tag name="EE4P_MAPWIZARD" val="EirGrid Plc.\Eirgrid"/>
</p:tagLst>
</file>

<file path=ppt/tags/tag170.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171.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172.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173.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174.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175.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176.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177.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178.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179.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18.xml><?xml version="1.0" encoding="utf-8"?>
<p:tagLst xmlns:a="http://schemas.openxmlformats.org/drawingml/2006/main" xmlns:r="http://schemas.openxmlformats.org/officeDocument/2006/relationships" xmlns:p="http://schemas.openxmlformats.org/presentationml/2006/main">
  <p:tag name="EE4P_MAPWIZARD_ID" val="22"/>
  <p:tag name="EE4P_MAPWIZARD_HEADINGS" val="party_name\display_na"/>
  <p:tag name="EE4P_MAPWIZARD" val="STATNETT SF\Statnett"/>
</p:tagLst>
</file>

<file path=ppt/tags/tag180.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181.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182.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183.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184.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185.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186.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187.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188.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189.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19.xml><?xml version="1.0" encoding="utf-8"?>
<p:tagLst xmlns:a="http://schemas.openxmlformats.org/drawingml/2006/main" xmlns:r="http://schemas.openxmlformats.org/officeDocument/2006/relationships" xmlns:p="http://schemas.openxmlformats.org/presentationml/2006/main">
  <p:tag name="EE4P_MAPWIZARD_ID" val="23"/>
  <p:tag name="EE4P_MAPWIZARD_HEADINGS" val="party_name\display_na"/>
  <p:tag name="EE4P_MAPWIZARD" val="Rede Eléctrica Nacional, S.A\REN"/>
</p:tagLst>
</file>

<file path=ppt/tags/tag190.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191.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192.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193.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194.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195.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196.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197.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19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19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PWIZARD_ID" val="26"/>
  <p:tag name="EE4P_MAPWIZARD_HEADINGS" val="party_name\display_na"/>
  <p:tag name="EE4P_MAPWIZARD" val="SLOVENSKA ELEKTRIZACNA PRENOSOVA SUSTAVA a.s.\SEPS"/>
</p:tagLst>
</file>

<file path=ppt/tags/tag20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20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20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203.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204.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205.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20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20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20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20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21.xml><?xml version="1.0" encoding="utf-8"?>
<p:tagLst xmlns:a="http://schemas.openxmlformats.org/drawingml/2006/main" xmlns:r="http://schemas.openxmlformats.org/officeDocument/2006/relationships" xmlns:p="http://schemas.openxmlformats.org/presentationml/2006/main">
  <p:tag name="EE4P_MAPWIZARD_ID" val="29"/>
  <p:tag name="EE4P_MAPWIZARD_HEADINGS" val="party_name\display_na"/>
  <p:tag name="EE4P_MAPWIZARD" val="CNTEE TRANSELECTRICA SA\TEL"/>
</p:tagLst>
</file>

<file path=ppt/tags/tag210.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211.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212.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213.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214.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215.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216.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217.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218.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219.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22.xml><?xml version="1.0" encoding="utf-8"?>
<p:tagLst xmlns:a="http://schemas.openxmlformats.org/drawingml/2006/main" xmlns:r="http://schemas.openxmlformats.org/officeDocument/2006/relationships" xmlns:p="http://schemas.openxmlformats.org/presentationml/2006/main">
  <p:tag name="EE4P_MAPWIZARD_ID" val="32"/>
  <p:tag name="EE4P_MAPWIZARD_HEADINGS" val="party_name\display_na"/>
  <p:tag name="EE4P_MAPWIZARD" val="MEPSO - Operator na elektroprenosniot sistem na Makedonija. AD. vo dr\MEPSO"/>
</p:tagLst>
</file>

<file path=ppt/tags/tag220.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221.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222.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223.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224.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225.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226.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227.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228.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229.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23.xml><?xml version="1.0" encoding="utf-8"?>
<p:tagLst xmlns:a="http://schemas.openxmlformats.org/drawingml/2006/main" xmlns:r="http://schemas.openxmlformats.org/officeDocument/2006/relationships" xmlns:p="http://schemas.openxmlformats.org/presentationml/2006/main">
  <p:tag name="EE4P_MAPWIZARD_ID" val="33"/>
  <p:tag name="EE4P_MAPWIZARD_HEADINGS" val="party_name\display_na"/>
  <p:tag name="EE4P_MAPWIZARD" val="Crnogorski elektroprenosni sistem AD\CGES"/>
</p:tagLst>
</file>

<file path=ppt/tags/tag230.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231.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232.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233.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234.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235.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236.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237.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238.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239.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24.xml><?xml version="1.0" encoding="utf-8"?>
<p:tagLst xmlns:a="http://schemas.openxmlformats.org/drawingml/2006/main" xmlns:r="http://schemas.openxmlformats.org/officeDocument/2006/relationships" xmlns:p="http://schemas.openxmlformats.org/presentationml/2006/main">
  <p:tag name="EE4P_MAPWIZARD_ID" val="35"/>
  <p:tag name="EE4P_MAPWIZARD_HEADINGS" val="party_name\display_na"/>
  <p:tag name="EE4P_MAPWIZARD" val="TERNA\Terna"/>
</p:tagLst>
</file>

<file path=ppt/tags/tag240.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241.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242.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243.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244.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245.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246.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247.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248.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249.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25.xml><?xml version="1.0" encoding="utf-8"?>
<p:tagLst xmlns:a="http://schemas.openxmlformats.org/drawingml/2006/main" xmlns:r="http://schemas.openxmlformats.org/officeDocument/2006/relationships" xmlns:p="http://schemas.openxmlformats.org/presentationml/2006/main">
  <p:tag name="EE4P_MAPWIZARD_ID" val="41"/>
  <p:tag name="EE4P_MAPWIZARD_HEADINGS" val="party_name\display_na"/>
  <p:tag name="EE4P_MAPWIZARD" val="Cyprus Transmission System Operator\CYPRUS_TSO"/>
</p:tagLst>
</file>

<file path=ppt/tags/tag250.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251.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252.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253.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254.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255.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256.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257.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258.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259.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26.xml><?xml version="1.0" encoding="utf-8"?>
<p:tagLst xmlns:a="http://schemas.openxmlformats.org/drawingml/2006/main" xmlns:r="http://schemas.openxmlformats.org/officeDocument/2006/relationships" xmlns:p="http://schemas.openxmlformats.org/presentationml/2006/main">
  <p:tag name="EE4P_MAPWIZARD_ID" val="42"/>
  <p:tag name="EE4P_MAPWIZARD_HEADINGS" val="party_name\display_na"/>
  <p:tag name="EE4P_MAPWIZARD" val="AS Augstsprieguma tīkls\LV-AST"/>
</p:tagLst>
</file>

<file path=ppt/tags/tag260.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261.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262.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263.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264.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265.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266.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267.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268.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269.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27.xml><?xml version="1.0" encoding="utf-8"?>
<p:tagLst xmlns:a="http://schemas.openxmlformats.org/drawingml/2006/main" xmlns:r="http://schemas.openxmlformats.org/officeDocument/2006/relationships" xmlns:p="http://schemas.openxmlformats.org/presentationml/2006/main">
  <p:tag name="EE4P_MAPWIZARD_ID" val="43"/>
  <p:tag name="EE4P_MAPWIZARD_HEADINGS" val="party_name\display_na"/>
  <p:tag name="EE4P_MAPWIZARD" val="LITGRID\Litgrid"/>
</p:tagLst>
</file>

<file path=ppt/tags/tag270.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271.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272.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273.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274.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275.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276.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277.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278.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279.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28.xml><?xml version="1.0" encoding="utf-8"?>
<p:tagLst xmlns:a="http://schemas.openxmlformats.org/drawingml/2006/main" xmlns:r="http://schemas.openxmlformats.org/officeDocument/2006/relationships" xmlns:p="http://schemas.openxmlformats.org/presentationml/2006/main">
  <p:tag name="EE4P_MAPWIZARD_ID" val="54"/>
  <p:tag name="EE4P_MAPWIZARD_HEADINGS" val="party_name\display_na"/>
  <p:tag name="EE4P_MAPWIZARD" val="TEIAS Elektrik Piyasa Hizmetleri ve Mali Uzlastirma Daire Baskanligi\TEIAS"/>
</p:tagLst>
</file>

<file path=ppt/tags/tag280.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281.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282.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283.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284.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285.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286.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287.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288.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289.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29.xml><?xml version="1.0" encoding="utf-8"?>
<p:tagLst xmlns:a="http://schemas.openxmlformats.org/drawingml/2006/main" xmlns:r="http://schemas.openxmlformats.org/officeDocument/2006/relationships" xmlns:p="http://schemas.openxmlformats.org/presentationml/2006/main">
  <p:tag name="EE4P_MAPWIZARD_ID" val="57"/>
  <p:tag name="EE4P_MAPWIZARD_HEADINGS" val="party_name\display_na"/>
  <p:tag name="EE4P_MAPWIZARD" val="\HOPS"/>
</p:tagLst>
</file>

<file path=ppt/tags/tag290.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291.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292.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293.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294.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295.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296.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297.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298.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299.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PWIZARD_ID" val="58"/>
  <p:tag name="EE4P_MAPWIZARD_HEADINGS" val="party_name\display_na"/>
  <p:tag name="EE4P_MAPWIZARD" val="\NOS BiH"/>
</p:tagLst>
</file>

<file path=ppt/tags/tag300.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301.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302.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303.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304.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305.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306.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307.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308.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309.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31.xml><?xml version="1.0" encoding="utf-8"?>
<p:tagLst xmlns:a="http://schemas.openxmlformats.org/drawingml/2006/main" xmlns:r="http://schemas.openxmlformats.org/officeDocument/2006/relationships" xmlns:p="http://schemas.openxmlformats.org/presentationml/2006/main">
  <p:tag name="EE4P_MAPWIZARD_ID" val="65"/>
  <p:tag name="EE4P_MAPWIZARD_HEADINGS" val="party_name\display_na"/>
  <p:tag name="EE4P_MAPWIZARD" val="\ESO"/>
</p:tagLst>
</file>

<file path=ppt/tags/tag310.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311.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312.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313.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314.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315.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316.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317.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318.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319.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32.xml><?xml version="1.0" encoding="utf-8"?>
<p:tagLst xmlns:a="http://schemas.openxmlformats.org/drawingml/2006/main" xmlns:r="http://schemas.openxmlformats.org/officeDocument/2006/relationships" xmlns:p="http://schemas.openxmlformats.org/presentationml/2006/main">
  <p:tag name="EE4P_MAPWIZARD_ID" val="13"/>
  <p:tag name="EE4P_MAPWIZARD_HEADINGS" val="party_name\display_na"/>
  <p:tag name="EE4P_MAPWIZARD" val="Amprion GmbH\Amprion"/>
</p:tagLst>
</file>

<file path=ppt/tags/tag320.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321.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322.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323.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324.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325.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326.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327.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328.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329.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33.xml><?xml version="1.0" encoding="utf-8"?>
<p:tagLst xmlns:a="http://schemas.openxmlformats.org/drawingml/2006/main" xmlns:r="http://schemas.openxmlformats.org/officeDocument/2006/relationships" xmlns:p="http://schemas.openxmlformats.org/presentationml/2006/main">
  <p:tag name="EE4P_MAPWIZARD_ID" val="13"/>
  <p:tag name="EE4P_MAPWIZARD_HEADINGS" val="party_name\display_na"/>
  <p:tag name="EE4P_MAPWIZARD" val="Amprion GmbH\Amprion"/>
</p:tagLst>
</file>

<file path=ppt/tags/tag330.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331.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332.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333.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334.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335.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336.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337.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338.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339.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34.xml><?xml version="1.0" encoding="utf-8"?>
<p:tagLst xmlns:a="http://schemas.openxmlformats.org/drawingml/2006/main" xmlns:r="http://schemas.openxmlformats.org/officeDocument/2006/relationships" xmlns:p="http://schemas.openxmlformats.org/presentationml/2006/main">
  <p:tag name="EE4P_MAPWIZARD_ID" val="12"/>
  <p:tag name="EE4P_MAPWIZARD_HEADINGS" val="party_name\display_na"/>
  <p:tag name="EE4P_MAPWIZARD" val="EnBW Transportnetze AG\TransnetBW"/>
</p:tagLst>
</file>

<file path=ppt/tags/tag340.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341.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342.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343.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344.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345.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346.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347.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348.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349.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35.xml><?xml version="1.0" encoding="utf-8"?>
<p:tagLst xmlns:a="http://schemas.openxmlformats.org/drawingml/2006/main" xmlns:r="http://schemas.openxmlformats.org/officeDocument/2006/relationships" xmlns:p="http://schemas.openxmlformats.org/presentationml/2006/main">
  <p:tag name="EE4P_MAPWIZARD_ID" val="14"/>
  <p:tag name="EE4P_MAPWIZARD_HEADINGS" val="party_name\display_na"/>
  <p:tag name="EE4P_MAPWIZARD" val="50Hertz Transmission\50Hertz"/>
</p:tagLst>
</file>

<file path=ppt/tags/tag350.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35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35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35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35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35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356.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35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358.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359.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36.xml><?xml version="1.0" encoding="utf-8"?>
<p:tagLst xmlns:a="http://schemas.openxmlformats.org/drawingml/2006/main" xmlns:r="http://schemas.openxmlformats.org/officeDocument/2006/relationships" xmlns:p="http://schemas.openxmlformats.org/presentationml/2006/main">
  <p:tag name="EE4P_MAPWIZARD_ID" val="11"/>
  <p:tag name="EE4P_MAPWIZARD_HEADINGS" val="party_name\display_na"/>
  <p:tag name="EE4P_MAPWIZARD" val="TenneT TSO GmbH\TenneT Deutschland"/>
</p:tagLst>
</file>

<file path=ppt/tags/tag360.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36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36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363.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364.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365.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366.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367.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368.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369.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37.xml><?xml version="1.0" encoding="utf-8"?>
<p:tagLst xmlns:a="http://schemas.openxmlformats.org/drawingml/2006/main" xmlns:r="http://schemas.openxmlformats.org/officeDocument/2006/relationships" xmlns:p="http://schemas.openxmlformats.org/presentationml/2006/main">
  <p:tag name="EE4P_MAPWIZARD_ID" val="51"/>
  <p:tag name="EE4P_MAPWIZARD_HEADINGS" val="party_name\display_na"/>
  <p:tag name="EE4P_MAPWIZARD" val="\IPTO"/>
</p:tagLst>
</file>

<file path=ppt/tags/tag370.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371.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372.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373.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374.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375.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376.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377.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378.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379.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38.xml><?xml version="1.0" encoding="utf-8"?>
<p:tagLst xmlns:a="http://schemas.openxmlformats.org/drawingml/2006/main" xmlns:r="http://schemas.openxmlformats.org/officeDocument/2006/relationships" xmlns:p="http://schemas.openxmlformats.org/presentationml/2006/main">
  <p:tag name="EE4P_MAPWIZARD_ID" val="53"/>
  <p:tag name="EE4P_MAPWIZARD_HEADINGS" val="party_name\display_na"/>
  <p:tag name="EE4P_MAPWIZARD" val="National Grid\National Grid"/>
</p:tagLst>
</file>

<file path=ppt/tags/tag380.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381.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382.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383.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384.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385.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386.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387.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388.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389.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39.xml><?xml version="1.0" encoding="utf-8"?>
<p:tagLst xmlns:a="http://schemas.openxmlformats.org/drawingml/2006/main" xmlns:r="http://schemas.openxmlformats.org/officeDocument/2006/relationships" xmlns:p="http://schemas.openxmlformats.org/presentationml/2006/main">
  <p:tag name="EE4P_MAPWIZARD_ID" val="55"/>
  <p:tag name="EE4P_MAPWIZARD_HEADINGS" val="party_name\display_na"/>
  <p:tag name="EE4P_MAPWIZARD" val="\Elering"/>
</p:tagLst>
</file>

<file path=ppt/tags/tag390.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391.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392.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393.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394.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395.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396.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397.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398.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399.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MAPWIZARD_ID" val="56"/>
  <p:tag name="EE4P_MAPWIZARD_HEADINGS" val="party_name\display_na"/>
  <p:tag name="EE4P_MAPWIZARD" val="\ELES"/>
</p:tagLst>
</file>

<file path=ppt/tags/tag400.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401.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402.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403.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404.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405.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406.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407.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408.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40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xml><?xml version="1.0" encoding="utf-8"?>
<p:tagLst xmlns:a="http://schemas.openxmlformats.org/drawingml/2006/main" xmlns:r="http://schemas.openxmlformats.org/officeDocument/2006/relationships" xmlns:p="http://schemas.openxmlformats.org/presentationml/2006/main">
  <p:tag name="EE4P_MAPWIZARD_ID" val="60"/>
  <p:tag name="EE4P_MAPWIZARD_HEADINGS" val="party_name\display_na"/>
  <p:tag name="EE4P_MAPWIZARD" val="\EMS"/>
</p:tagLst>
</file>

<file path=ppt/tags/tag41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1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xml><?xml version="1.0" encoding="utf-8"?>
<p:tagLst xmlns:a="http://schemas.openxmlformats.org/drawingml/2006/main" xmlns:r="http://schemas.openxmlformats.org/officeDocument/2006/relationships" xmlns:p="http://schemas.openxmlformats.org/presentationml/2006/main">
  <p:tag name="EE4P_MAPWIZARD_ID" val="8"/>
  <p:tag name="EE4P_MAPWIZARD_HEADINGS" val="party_name\display_na"/>
  <p:tag name="EE4P_MAPWIZARD" val="Vorarlberger Übertragungsnetz GmbH\VUEN"/>
</p:tagLst>
</file>

<file path=ppt/tags/tag42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2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kM4Qb_VVk6pr_VHZdLkcA"/>
</p:tagLst>
</file>

<file path=ppt/tags/tag43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3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44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6.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7.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8.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49.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kM4Qb_VVk6pr_VHZdLkcA"/>
</p:tagLst>
</file>

<file path=ppt/tags/tag450.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51.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52.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53.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54.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55.xml><?xml version="1.0" encoding="utf-8"?>
<p:tagLst xmlns:a="http://schemas.openxmlformats.org/drawingml/2006/main" xmlns:r="http://schemas.openxmlformats.org/officeDocument/2006/relationships" xmlns:p="http://schemas.openxmlformats.org/presentationml/2006/main">
  <p:tag name="EE4P_TEMPLATESTYLE" val="13"/>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kM4Qb_VVk6pr_VHZdLk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5.xml><?xml version="1.0" encoding="utf-8"?>
<p:tagLst xmlns:a="http://schemas.openxmlformats.org/drawingml/2006/main" xmlns:r="http://schemas.openxmlformats.org/officeDocument/2006/relationships" xmlns:p="http://schemas.openxmlformats.org/presentationml/2006/main">
  <p:tag name="EE4P_MAPWIZARD_ID" val="10"/>
  <p:tag name="EE4P_MAPWIZARD_HEADINGS" val="party_name\display_na"/>
  <p:tag name="EE4P_MAPWIZARD" val="ČEPS, a.s.\CEP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kM4Qb_VVk6pr_VHZdLkc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kM4Qb_VVk6pr_VHZdLk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kM4Qb_VVk6pr_VHZdLkc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kM4Qb_VVk6pr_VHZdLk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6.xml><?xml version="1.0" encoding="utf-8"?>
<p:tagLst xmlns:a="http://schemas.openxmlformats.org/drawingml/2006/main" xmlns:r="http://schemas.openxmlformats.org/officeDocument/2006/relationships" xmlns:p="http://schemas.openxmlformats.org/presentationml/2006/main">
  <p:tag name="EE4P_MAPWIZARD_ID" val="24"/>
  <p:tag name="EE4P_MAPWIZARD_HEADINGS" val="party_name\display_na"/>
  <p:tag name="EE4P_MAPWIZARD" val="Svenska kraftnät\SVK"/>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kM4Qb_VVk6pr_VHZdLkc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eUPur9uc0S0NaDP94.Hrg"/>
</p:tagLst>
</file>

<file path=ppt/tags/tag63.xml><?xml version="1.0" encoding="utf-8"?>
<p:tagLst xmlns:a="http://schemas.openxmlformats.org/drawingml/2006/main" xmlns:r="http://schemas.openxmlformats.org/officeDocument/2006/relationships" xmlns:p="http://schemas.openxmlformats.org/presentationml/2006/main">
  <p:tag name="EE4P_MAPWIZARD_ID" val="10"/>
  <p:tag name="EE4P_MAPWIZARD_HEADINGS" val="party_name\display_na"/>
  <p:tag name="EE4P_MAPWIZARD" val="ČEPS, a.s.\CEPS"/>
</p:tagLst>
</file>

<file path=ppt/tags/tag64.xml><?xml version="1.0" encoding="utf-8"?>
<p:tagLst xmlns:a="http://schemas.openxmlformats.org/drawingml/2006/main" xmlns:r="http://schemas.openxmlformats.org/officeDocument/2006/relationships" xmlns:p="http://schemas.openxmlformats.org/presentationml/2006/main">
  <p:tag name="EE4P_MAPWIZARD_ID" val="24"/>
  <p:tag name="EE4P_MAPWIZARD_HEADINGS" val="party_name\display_na"/>
  <p:tag name="EE4P_MAPWIZARD" val="Svenska kraftnät\SVK"/>
</p:tagLst>
</file>

<file path=ppt/tags/tag65.xml><?xml version="1.0" encoding="utf-8"?>
<p:tagLst xmlns:a="http://schemas.openxmlformats.org/drawingml/2006/main" xmlns:r="http://schemas.openxmlformats.org/officeDocument/2006/relationships" xmlns:p="http://schemas.openxmlformats.org/presentationml/2006/main">
  <p:tag name="EE4P_MAPWIZARD_ID" val="15"/>
  <p:tag name="EE4P_MAPWIZARD_HEADINGS" val="party_name\display_na"/>
  <p:tag name="EE4P_MAPWIZARD" val="Energinet.dk\Energinet"/>
</p:tagLst>
</file>

<file path=ppt/tags/tag66.xml><?xml version="1.0" encoding="utf-8"?>
<p:tagLst xmlns:a="http://schemas.openxmlformats.org/drawingml/2006/main" xmlns:r="http://schemas.openxmlformats.org/officeDocument/2006/relationships" xmlns:p="http://schemas.openxmlformats.org/presentationml/2006/main">
  <p:tag name="EE4P_MAPWIZARD_ID" val="20"/>
  <p:tag name="EE4P_MAPWIZARD_HEADINGS" val="party_name\display_na"/>
  <p:tag name="EE4P_MAPWIZARD" val="Creos Luxembourg S.A.\Creos"/>
</p:tagLst>
</file>

<file path=ppt/tags/tag67.xml><?xml version="1.0" encoding="utf-8"?>
<p:tagLst xmlns:a="http://schemas.openxmlformats.org/drawingml/2006/main" xmlns:r="http://schemas.openxmlformats.org/officeDocument/2006/relationships" xmlns:p="http://schemas.openxmlformats.org/presentationml/2006/main">
  <p:tag name="EE4P_MAPWIZARD_ID" val="21"/>
  <p:tag name="EE4P_MAPWIZARD_HEADINGS" val="party_name\display_na"/>
  <p:tag name="EE4P_MAPWIZARD" val="TenneT TSO B.V.\TenneT Niederlande"/>
</p:tagLst>
</file>

<file path=ppt/tags/tag68.xml><?xml version="1.0" encoding="utf-8"?>
<p:tagLst xmlns:a="http://schemas.openxmlformats.org/drawingml/2006/main" xmlns:r="http://schemas.openxmlformats.org/officeDocument/2006/relationships" xmlns:p="http://schemas.openxmlformats.org/presentationml/2006/main">
  <p:tag name="EE4P_MAPWIZARD_ID" val="52"/>
  <p:tag name="EE4P_MAPWIZARD_HEADINGS" val="party_name\display_na"/>
  <p:tag name="EE4P_MAPWIZARD" val="Polskie Sieci Elektroenergetyczne Spółka Akcyjna\PSE"/>
</p:tagLst>
</file>

<file path=ppt/tags/tag69.xml><?xml version="1.0" encoding="utf-8"?>
<p:tagLst xmlns:a="http://schemas.openxmlformats.org/drawingml/2006/main" xmlns:r="http://schemas.openxmlformats.org/officeDocument/2006/relationships" xmlns:p="http://schemas.openxmlformats.org/presentationml/2006/main">
  <p:tag name="EE4P_MAPWIZARD_ID" val="17"/>
  <p:tag name="EE4P_MAPWIZARD_HEADINGS" val="party_name\display_na"/>
  <p:tag name="EE4P_MAPWIZARD" val="Réseau de Transport d'Electricité (RTE)\RTE"/>
</p:tagLst>
</file>

<file path=ppt/tags/tag7.xml><?xml version="1.0" encoding="utf-8"?>
<p:tagLst xmlns:a="http://schemas.openxmlformats.org/drawingml/2006/main" xmlns:r="http://schemas.openxmlformats.org/officeDocument/2006/relationships" xmlns:p="http://schemas.openxmlformats.org/presentationml/2006/main">
  <p:tag name="EE4P_MAPWIZARD_ID" val="15"/>
  <p:tag name="EE4P_MAPWIZARD_HEADINGS" val="party_name\display_na"/>
  <p:tag name="EE4P_MAPWIZARD" val="Energinet.dk\Energinet"/>
</p:tagLst>
</file>

<file path=ppt/tags/tag70.xml><?xml version="1.0" encoding="utf-8"?>
<p:tagLst xmlns:a="http://schemas.openxmlformats.org/drawingml/2006/main" xmlns:r="http://schemas.openxmlformats.org/officeDocument/2006/relationships" xmlns:p="http://schemas.openxmlformats.org/presentationml/2006/main">
  <p:tag name="EE4P_MAPWIZARD_ID" val="36"/>
  <p:tag name="EE4P_MAPWIZARD_HEADINGS" val="party_name\display_na"/>
  <p:tag name="EE4P_MAPWIZARD" val="swissgrid AG\Swissgrid"/>
</p:tagLst>
</file>

<file path=ppt/tags/tag71.xml><?xml version="1.0" encoding="utf-8"?>
<p:tagLst xmlns:a="http://schemas.openxmlformats.org/drawingml/2006/main" xmlns:r="http://schemas.openxmlformats.org/officeDocument/2006/relationships" xmlns:p="http://schemas.openxmlformats.org/presentationml/2006/main">
  <p:tag name="EE4P_MAPWIZARD_ID" val="5"/>
  <p:tag name="EE4P_MAPWIZARD_HEADINGS" val="party_name\display_na"/>
  <p:tag name="EE4P_MAPWIZARD" val="MAVIR Magyar Villamosenergia-ipari Átviteli Rendszerirányító Zrt.\MAVIR"/>
</p:tagLst>
</file>

<file path=ppt/tags/tag72.xml><?xml version="1.0" encoding="utf-8"?>
<p:tagLst xmlns:a="http://schemas.openxmlformats.org/drawingml/2006/main" xmlns:r="http://schemas.openxmlformats.org/officeDocument/2006/relationships" xmlns:p="http://schemas.openxmlformats.org/presentationml/2006/main">
  <p:tag name="EE4P_MAPWIZARD_ID" val="6"/>
  <p:tag name="EE4P_MAPWIZARD_HEADINGS" val="party_name\display_na"/>
  <p:tag name="EE4P_MAPWIZARD" val="Red Eléctrica de España S.A.U.\REE"/>
</p:tagLst>
</file>

<file path=ppt/tags/tag73.xml><?xml version="1.0" encoding="utf-8"?>
<p:tagLst xmlns:a="http://schemas.openxmlformats.org/drawingml/2006/main" xmlns:r="http://schemas.openxmlformats.org/officeDocument/2006/relationships" xmlns:p="http://schemas.openxmlformats.org/presentationml/2006/main">
  <p:tag name="EE4P_MAPWIZARD_ID" val="9"/>
  <p:tag name="EE4P_MAPWIZARD_HEADINGS" val="party_name\display_na"/>
  <p:tag name="EE4P_MAPWIZARD" val="Elia\Elia"/>
</p:tagLst>
</file>

<file path=ppt/tags/tag74.xml><?xml version="1.0" encoding="utf-8"?>
<p:tagLst xmlns:a="http://schemas.openxmlformats.org/drawingml/2006/main" xmlns:r="http://schemas.openxmlformats.org/officeDocument/2006/relationships" xmlns:p="http://schemas.openxmlformats.org/presentationml/2006/main">
  <p:tag name="EE4P_MAPWIZARD_ID" val="16"/>
  <p:tag name="EE4P_MAPWIZARD_HEADINGS" val="party_name\display_na"/>
  <p:tag name="EE4P_MAPWIZARD" val="Fingrid Oyj\Fingrid"/>
</p:tagLst>
</file>

<file path=ppt/tags/tag75.xml><?xml version="1.0" encoding="utf-8"?>
<p:tagLst xmlns:a="http://schemas.openxmlformats.org/drawingml/2006/main" xmlns:r="http://schemas.openxmlformats.org/officeDocument/2006/relationships" xmlns:p="http://schemas.openxmlformats.org/presentationml/2006/main">
  <p:tag name="EE4P_MAPWIZARD_ID" val="19"/>
  <p:tag name="EE4P_MAPWIZARD_HEADINGS" val="party_name\display_na"/>
  <p:tag name="EE4P_MAPWIZARD" val="EirGrid Plc.\Eirgrid"/>
</p:tagLst>
</file>

<file path=ppt/tags/tag76.xml><?xml version="1.0" encoding="utf-8"?>
<p:tagLst xmlns:a="http://schemas.openxmlformats.org/drawingml/2006/main" xmlns:r="http://schemas.openxmlformats.org/officeDocument/2006/relationships" xmlns:p="http://schemas.openxmlformats.org/presentationml/2006/main">
  <p:tag name="EE4P_MAPWIZARD_ID" val="22"/>
  <p:tag name="EE4P_MAPWIZARD_HEADINGS" val="party_name\display_na"/>
  <p:tag name="EE4P_MAPWIZARD" val="STATNETT SF\Statnett"/>
</p:tagLst>
</file>

<file path=ppt/tags/tag77.xml><?xml version="1.0" encoding="utf-8"?>
<p:tagLst xmlns:a="http://schemas.openxmlformats.org/drawingml/2006/main" xmlns:r="http://schemas.openxmlformats.org/officeDocument/2006/relationships" xmlns:p="http://schemas.openxmlformats.org/presentationml/2006/main">
  <p:tag name="EE4P_MAPWIZARD_ID" val="23"/>
  <p:tag name="EE4P_MAPWIZARD_HEADINGS" val="party_name\display_na"/>
  <p:tag name="EE4P_MAPWIZARD" val="Rede Eléctrica Nacional, S.A\REN"/>
</p:tagLst>
</file>

<file path=ppt/tags/tag78.xml><?xml version="1.0" encoding="utf-8"?>
<p:tagLst xmlns:a="http://schemas.openxmlformats.org/drawingml/2006/main" xmlns:r="http://schemas.openxmlformats.org/officeDocument/2006/relationships" xmlns:p="http://schemas.openxmlformats.org/presentationml/2006/main">
  <p:tag name="EE4P_MAPWIZARD_ID" val="26"/>
  <p:tag name="EE4P_MAPWIZARD_HEADINGS" val="party_name\display_na"/>
  <p:tag name="EE4P_MAPWIZARD" val="SLOVENSKA ELEKTRIZACNA PRENOSOVA SUSTAVA a.s.\SEPS"/>
</p:tagLst>
</file>

<file path=ppt/tags/tag79.xml><?xml version="1.0" encoding="utf-8"?>
<p:tagLst xmlns:a="http://schemas.openxmlformats.org/drawingml/2006/main" xmlns:r="http://schemas.openxmlformats.org/officeDocument/2006/relationships" xmlns:p="http://schemas.openxmlformats.org/presentationml/2006/main">
  <p:tag name="EE4P_MAPWIZARD_ID" val="29"/>
  <p:tag name="EE4P_MAPWIZARD_HEADINGS" val="party_name\display_na"/>
  <p:tag name="EE4P_MAPWIZARD" val="CNTEE TRANSELECTRICA SA\TEL"/>
</p:tagLst>
</file>

<file path=ppt/tags/tag8.xml><?xml version="1.0" encoding="utf-8"?>
<p:tagLst xmlns:a="http://schemas.openxmlformats.org/drawingml/2006/main" xmlns:r="http://schemas.openxmlformats.org/officeDocument/2006/relationships" xmlns:p="http://schemas.openxmlformats.org/presentationml/2006/main">
  <p:tag name="EE4P_MAPWIZARD_ID" val="20"/>
  <p:tag name="EE4P_MAPWIZARD_HEADINGS" val="party_name\display_na"/>
  <p:tag name="EE4P_MAPWIZARD" val="Creos Luxembourg S.A.\Creos"/>
</p:tagLst>
</file>

<file path=ppt/tags/tag80.xml><?xml version="1.0" encoding="utf-8"?>
<p:tagLst xmlns:a="http://schemas.openxmlformats.org/drawingml/2006/main" xmlns:r="http://schemas.openxmlformats.org/officeDocument/2006/relationships" xmlns:p="http://schemas.openxmlformats.org/presentationml/2006/main">
  <p:tag name="EE4P_MAPWIZARD_ID" val="32"/>
  <p:tag name="EE4P_MAPWIZARD_HEADINGS" val="party_name\display_na"/>
  <p:tag name="EE4P_MAPWIZARD" val="MEPSO - Operator na elektroprenosniot sistem na Makedonija. AD. vo dr\MEPSO"/>
</p:tagLst>
</file>

<file path=ppt/tags/tag81.xml><?xml version="1.0" encoding="utf-8"?>
<p:tagLst xmlns:a="http://schemas.openxmlformats.org/drawingml/2006/main" xmlns:r="http://schemas.openxmlformats.org/officeDocument/2006/relationships" xmlns:p="http://schemas.openxmlformats.org/presentationml/2006/main">
  <p:tag name="EE4P_MAPWIZARD_ID" val="33"/>
  <p:tag name="EE4P_MAPWIZARD_HEADINGS" val="party_name\display_na"/>
  <p:tag name="EE4P_MAPWIZARD" val="Crnogorski elektroprenosni sistem AD\CGES"/>
</p:tagLst>
</file>

<file path=ppt/tags/tag82.xml><?xml version="1.0" encoding="utf-8"?>
<p:tagLst xmlns:a="http://schemas.openxmlformats.org/drawingml/2006/main" xmlns:r="http://schemas.openxmlformats.org/officeDocument/2006/relationships" xmlns:p="http://schemas.openxmlformats.org/presentationml/2006/main">
  <p:tag name="EE4P_MAPWIZARD_ID" val="35"/>
  <p:tag name="EE4P_MAPWIZARD_HEADINGS" val="party_name\display_na"/>
  <p:tag name="EE4P_MAPWIZARD" val="TERNA\Terna"/>
</p:tagLst>
</file>

<file path=ppt/tags/tag83.xml><?xml version="1.0" encoding="utf-8"?>
<p:tagLst xmlns:a="http://schemas.openxmlformats.org/drawingml/2006/main" xmlns:r="http://schemas.openxmlformats.org/officeDocument/2006/relationships" xmlns:p="http://schemas.openxmlformats.org/presentationml/2006/main">
  <p:tag name="EE4P_MAPWIZARD_ID" val="41"/>
  <p:tag name="EE4P_MAPWIZARD_HEADINGS" val="party_name\display_na"/>
  <p:tag name="EE4P_MAPWIZARD" val="Cyprus Transmission System Operator\CYPRUS_TSO"/>
</p:tagLst>
</file>

<file path=ppt/tags/tag84.xml><?xml version="1.0" encoding="utf-8"?>
<p:tagLst xmlns:a="http://schemas.openxmlformats.org/drawingml/2006/main" xmlns:r="http://schemas.openxmlformats.org/officeDocument/2006/relationships" xmlns:p="http://schemas.openxmlformats.org/presentationml/2006/main">
  <p:tag name="EE4P_MAPWIZARD_ID" val="42"/>
  <p:tag name="EE4P_MAPWIZARD_HEADINGS" val="party_name\display_na"/>
  <p:tag name="EE4P_MAPWIZARD" val="AS Augstsprieguma tīkls\LV-AST"/>
</p:tagLst>
</file>

<file path=ppt/tags/tag85.xml><?xml version="1.0" encoding="utf-8"?>
<p:tagLst xmlns:a="http://schemas.openxmlformats.org/drawingml/2006/main" xmlns:r="http://schemas.openxmlformats.org/officeDocument/2006/relationships" xmlns:p="http://schemas.openxmlformats.org/presentationml/2006/main">
  <p:tag name="EE4P_MAPWIZARD_ID" val="43"/>
  <p:tag name="EE4P_MAPWIZARD_HEADINGS" val="party_name\display_na"/>
  <p:tag name="EE4P_MAPWIZARD" val="LITGRID\Litgrid"/>
</p:tagLst>
</file>

<file path=ppt/tags/tag86.xml><?xml version="1.0" encoding="utf-8"?>
<p:tagLst xmlns:a="http://schemas.openxmlformats.org/drawingml/2006/main" xmlns:r="http://schemas.openxmlformats.org/officeDocument/2006/relationships" xmlns:p="http://schemas.openxmlformats.org/presentationml/2006/main">
  <p:tag name="EE4P_MAPWIZARD_ID" val="54"/>
  <p:tag name="EE4P_MAPWIZARD_HEADINGS" val="party_name\display_na"/>
  <p:tag name="EE4P_MAPWIZARD" val="TEIAS Elektrik Piyasa Hizmetleri ve Mali Uzlastirma Daire Baskanligi\TEIAS"/>
</p:tagLst>
</file>

<file path=ppt/tags/tag87.xml><?xml version="1.0" encoding="utf-8"?>
<p:tagLst xmlns:a="http://schemas.openxmlformats.org/drawingml/2006/main" xmlns:r="http://schemas.openxmlformats.org/officeDocument/2006/relationships" xmlns:p="http://schemas.openxmlformats.org/presentationml/2006/main">
  <p:tag name="EE4P_MAPWIZARD_ID" val="57"/>
  <p:tag name="EE4P_MAPWIZARD_HEADINGS" val="party_name\display_na"/>
  <p:tag name="EE4P_MAPWIZARD" val="\HOPS"/>
</p:tagLst>
</file>

<file path=ppt/tags/tag88.xml><?xml version="1.0" encoding="utf-8"?>
<p:tagLst xmlns:a="http://schemas.openxmlformats.org/drawingml/2006/main" xmlns:r="http://schemas.openxmlformats.org/officeDocument/2006/relationships" xmlns:p="http://schemas.openxmlformats.org/presentationml/2006/main">
  <p:tag name="EE4P_MAPWIZARD_ID" val="58"/>
  <p:tag name="EE4P_MAPWIZARD_HEADINGS" val="party_name\display_na"/>
  <p:tag name="EE4P_MAPWIZARD" val="\NOS BiH"/>
</p:tagLst>
</file>

<file path=ppt/tags/tag89.xml><?xml version="1.0" encoding="utf-8"?>
<p:tagLst xmlns:a="http://schemas.openxmlformats.org/drawingml/2006/main" xmlns:r="http://schemas.openxmlformats.org/officeDocument/2006/relationships" xmlns:p="http://schemas.openxmlformats.org/presentationml/2006/main">
  <p:tag name="EE4P_MAPWIZARD_ID" val="65"/>
  <p:tag name="EE4P_MAPWIZARD_HEADINGS" val="party_name\display_na"/>
  <p:tag name="EE4P_MAPWIZARD" val="\ESO"/>
</p:tagLst>
</file>

<file path=ppt/tags/tag9.xml><?xml version="1.0" encoding="utf-8"?>
<p:tagLst xmlns:a="http://schemas.openxmlformats.org/drawingml/2006/main" xmlns:r="http://schemas.openxmlformats.org/officeDocument/2006/relationships" xmlns:p="http://schemas.openxmlformats.org/presentationml/2006/main">
  <p:tag name="EE4P_MAPWIZARD_ID" val="21"/>
  <p:tag name="EE4P_MAPWIZARD_HEADINGS" val="party_name\display_na"/>
  <p:tag name="EE4P_MAPWIZARD" val="TenneT TSO B.V.\TenneT Niederlande"/>
</p:tagLst>
</file>

<file path=ppt/tags/tag90.xml><?xml version="1.0" encoding="utf-8"?>
<p:tagLst xmlns:a="http://schemas.openxmlformats.org/drawingml/2006/main" xmlns:r="http://schemas.openxmlformats.org/officeDocument/2006/relationships" xmlns:p="http://schemas.openxmlformats.org/presentationml/2006/main">
  <p:tag name="EE4P_MAPWIZARD_ID" val="13"/>
  <p:tag name="EE4P_MAPWIZARD_HEADINGS" val="party_name\display_na"/>
  <p:tag name="EE4P_MAPWIZARD" val="Amprion GmbH\Amprion"/>
</p:tagLst>
</file>

<file path=ppt/tags/tag91.xml><?xml version="1.0" encoding="utf-8"?>
<p:tagLst xmlns:a="http://schemas.openxmlformats.org/drawingml/2006/main" xmlns:r="http://schemas.openxmlformats.org/officeDocument/2006/relationships" xmlns:p="http://schemas.openxmlformats.org/presentationml/2006/main">
  <p:tag name="EE4P_MAPWIZARD_ID" val="13"/>
  <p:tag name="EE4P_MAPWIZARD_HEADINGS" val="party_name\display_na"/>
  <p:tag name="EE4P_MAPWIZARD" val="Amprion GmbH\Amprion"/>
</p:tagLst>
</file>

<file path=ppt/tags/tag92.xml><?xml version="1.0" encoding="utf-8"?>
<p:tagLst xmlns:a="http://schemas.openxmlformats.org/drawingml/2006/main" xmlns:r="http://schemas.openxmlformats.org/officeDocument/2006/relationships" xmlns:p="http://schemas.openxmlformats.org/presentationml/2006/main">
  <p:tag name="EE4P_MAPWIZARD_ID" val="12"/>
  <p:tag name="EE4P_MAPWIZARD_HEADINGS" val="party_name\display_na"/>
  <p:tag name="EE4P_MAPWIZARD" val="EnBW Transportnetze AG\TransnetBW"/>
</p:tagLst>
</file>

<file path=ppt/tags/tag93.xml><?xml version="1.0" encoding="utf-8"?>
<p:tagLst xmlns:a="http://schemas.openxmlformats.org/drawingml/2006/main" xmlns:r="http://schemas.openxmlformats.org/officeDocument/2006/relationships" xmlns:p="http://schemas.openxmlformats.org/presentationml/2006/main">
  <p:tag name="EE4P_MAPWIZARD_ID" val="14"/>
  <p:tag name="EE4P_MAPWIZARD_HEADINGS" val="party_name\display_na"/>
  <p:tag name="EE4P_MAPWIZARD" val="50Hertz Transmission\50Hertz"/>
</p:tagLst>
</file>

<file path=ppt/tags/tag94.xml><?xml version="1.0" encoding="utf-8"?>
<p:tagLst xmlns:a="http://schemas.openxmlformats.org/drawingml/2006/main" xmlns:r="http://schemas.openxmlformats.org/officeDocument/2006/relationships" xmlns:p="http://schemas.openxmlformats.org/presentationml/2006/main">
  <p:tag name="EE4P_MAPWIZARD_ID" val="11"/>
  <p:tag name="EE4P_MAPWIZARD_HEADINGS" val="party_name\display_na"/>
  <p:tag name="EE4P_MAPWIZARD" val="TenneT TSO GmbH\TenneT Deutschland"/>
</p:tagLst>
</file>

<file path=ppt/tags/tag95.xml><?xml version="1.0" encoding="utf-8"?>
<p:tagLst xmlns:a="http://schemas.openxmlformats.org/drawingml/2006/main" xmlns:r="http://schemas.openxmlformats.org/officeDocument/2006/relationships" xmlns:p="http://schemas.openxmlformats.org/presentationml/2006/main">
  <p:tag name="EE4P_MAPWIZARD_ID" val="51"/>
  <p:tag name="EE4P_MAPWIZARD_HEADINGS" val="party_name\display_na"/>
  <p:tag name="EE4P_MAPWIZARD" val="\IPTO"/>
</p:tagLst>
</file>

<file path=ppt/tags/tag96.xml><?xml version="1.0" encoding="utf-8"?>
<p:tagLst xmlns:a="http://schemas.openxmlformats.org/drawingml/2006/main" xmlns:r="http://schemas.openxmlformats.org/officeDocument/2006/relationships" xmlns:p="http://schemas.openxmlformats.org/presentationml/2006/main">
  <p:tag name="EE4P_MAPWIZARD_ID" val="53"/>
  <p:tag name="EE4P_MAPWIZARD_HEADINGS" val="party_name\display_na"/>
  <p:tag name="EE4P_MAPWIZARD" val="National Grid\National Grid"/>
</p:tagLst>
</file>

<file path=ppt/tags/tag97.xml><?xml version="1.0" encoding="utf-8"?>
<p:tagLst xmlns:a="http://schemas.openxmlformats.org/drawingml/2006/main" xmlns:r="http://schemas.openxmlformats.org/officeDocument/2006/relationships" xmlns:p="http://schemas.openxmlformats.org/presentationml/2006/main">
  <p:tag name="EE4P_MAPWIZARD_ID" val="55"/>
  <p:tag name="EE4P_MAPWIZARD_HEADINGS" val="party_name\display_na"/>
  <p:tag name="EE4P_MAPWIZARD" val="\Elering"/>
</p:tagLst>
</file>

<file path=ppt/tags/tag98.xml><?xml version="1.0" encoding="utf-8"?>
<p:tagLst xmlns:a="http://schemas.openxmlformats.org/drawingml/2006/main" xmlns:r="http://schemas.openxmlformats.org/officeDocument/2006/relationships" xmlns:p="http://schemas.openxmlformats.org/presentationml/2006/main">
  <p:tag name="EE4P_MAPWIZARD_ID" val="56"/>
  <p:tag name="EE4P_MAPWIZARD_HEADINGS" val="party_name\display_na"/>
  <p:tag name="EE4P_MAPWIZARD" val="\ELES"/>
</p:tagLst>
</file>

<file path=ppt/tags/tag99.xml><?xml version="1.0" encoding="utf-8"?>
<p:tagLst xmlns:a="http://schemas.openxmlformats.org/drawingml/2006/main" xmlns:r="http://schemas.openxmlformats.org/officeDocument/2006/relationships" xmlns:p="http://schemas.openxmlformats.org/presentationml/2006/main">
  <p:tag name="EE4P_MAPWIZARD_ID" val="60"/>
  <p:tag name="EE4P_MAPWIZARD_HEADINGS" val="party_name\display_na"/>
  <p:tag name="EE4P_MAPWIZARD" val="\EMS"/>
</p:tagLst>
</file>

<file path=ppt/theme/theme1.xml><?xml version="1.0" encoding="utf-8"?>
<a:theme xmlns:a="http://schemas.openxmlformats.org/drawingml/2006/main" name="XBID Templates">
  <a:themeElements>
    <a:clrScheme name="XBID">
      <a:dk1>
        <a:sysClr val="windowText" lastClr="000000"/>
      </a:dk1>
      <a:lt1>
        <a:sysClr val="window" lastClr="FFFFFF"/>
      </a:lt1>
      <a:dk2>
        <a:srgbClr val="DADADA"/>
      </a:dk2>
      <a:lt2>
        <a:srgbClr val="EDEDED"/>
      </a:lt2>
      <a:accent1>
        <a:srgbClr val="D70057"/>
      </a:accent1>
      <a:accent2>
        <a:srgbClr val="FF7300"/>
      </a:accent2>
      <a:accent3>
        <a:srgbClr val="BDBDBD"/>
      </a:accent3>
      <a:accent4>
        <a:srgbClr val="9D9D9D"/>
      </a:accent4>
      <a:accent5>
        <a:srgbClr val="646464"/>
      </a:accent5>
      <a:accent6>
        <a:srgbClr val="3C3C3C"/>
      </a:accent6>
      <a:hlink>
        <a:srgbClr val="D70057"/>
      </a:hlink>
      <a:folHlink>
        <a:srgbClr val="FF73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ACER">
  <a:themeElements>
    <a:clrScheme name="ACER">
      <a:dk1>
        <a:srgbClr val="000000"/>
      </a:dk1>
      <a:lt1>
        <a:srgbClr val="FFFFFF"/>
      </a:lt1>
      <a:dk2>
        <a:srgbClr val="000000"/>
      </a:dk2>
      <a:lt2>
        <a:srgbClr val="EAEAEA"/>
      </a:lt2>
      <a:accent1>
        <a:srgbClr val="307098"/>
      </a:accent1>
      <a:accent2>
        <a:srgbClr val="307098"/>
      </a:accent2>
      <a:accent3>
        <a:srgbClr val="FFFFFF"/>
      </a:accent3>
      <a:accent4>
        <a:srgbClr val="000000"/>
      </a:accent4>
      <a:accent5>
        <a:srgbClr val="CCE2AF"/>
      </a:accent5>
      <a:accent6>
        <a:srgbClr val="307098"/>
      </a:accent6>
      <a:hlink>
        <a:srgbClr val="307098"/>
      </a:hlink>
      <a:folHlink>
        <a:srgbClr val="FC5E1A"/>
      </a:folHlink>
    </a:clrScheme>
    <a:fontScheme name="Ganymed">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Office Theme 1">
        <a:dk1>
          <a:srgbClr val="000000"/>
        </a:dk1>
        <a:lt1>
          <a:srgbClr val="FFFFFF"/>
        </a:lt1>
        <a:dk2>
          <a:srgbClr val="000000"/>
        </a:dk2>
        <a:lt2>
          <a:srgbClr val="EAEAEA"/>
        </a:lt2>
        <a:accent1>
          <a:srgbClr val="9ECC3B"/>
        </a:accent1>
        <a:accent2>
          <a:srgbClr val="005BAB"/>
        </a:accent2>
        <a:accent3>
          <a:srgbClr val="FFFFFF"/>
        </a:accent3>
        <a:accent4>
          <a:srgbClr val="000000"/>
        </a:accent4>
        <a:accent5>
          <a:srgbClr val="CCE2AF"/>
        </a:accent5>
        <a:accent6>
          <a:srgbClr val="00529B"/>
        </a:accent6>
        <a:hlink>
          <a:srgbClr val="39ABEB"/>
        </a:hlink>
        <a:folHlink>
          <a:srgbClr val="FC5E1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Workshop on Fact Book 260614">
  <a:themeElements>
    <a:clrScheme name="dbg">
      <a:dk1>
        <a:sysClr val="windowText" lastClr="000000"/>
      </a:dk1>
      <a:lt1>
        <a:srgbClr val="FFFFFF"/>
      </a:lt1>
      <a:dk2>
        <a:srgbClr val="000099"/>
      </a:dk2>
      <a:lt2>
        <a:srgbClr val="DCF0FF"/>
      </a:lt2>
      <a:accent1>
        <a:srgbClr val="0099FF"/>
      </a:accent1>
      <a:accent2>
        <a:srgbClr val="5FBEFF"/>
      </a:accent2>
      <a:accent3>
        <a:srgbClr val="8CD2FF"/>
      </a:accent3>
      <a:accent4>
        <a:srgbClr val="B4E1FF"/>
      </a:accent4>
      <a:accent5>
        <a:srgbClr val="DEDEDE"/>
      </a:accent5>
      <a:accent6>
        <a:srgbClr val="CCCCCC"/>
      </a:accent6>
      <a:hlink>
        <a:srgbClr val="999999"/>
      </a:hlink>
      <a:folHlink>
        <a:srgbClr val="66666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99"/>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0099"/>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9DDFD41AEF010449D0D055600B60DC5" ma:contentTypeVersion="1" ma:contentTypeDescription="Create a new document." ma:contentTypeScope="" ma:versionID="ef287326ae33b33fea4a2afc557ee89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F578032D-E595-4B6F-8C8A-0511820FB9E9}"/>
</file>

<file path=customXml/itemProps2.xml><?xml version="1.0" encoding="utf-8"?>
<ds:datastoreItem xmlns:ds="http://schemas.openxmlformats.org/officeDocument/2006/customXml" ds:itemID="{C917C69A-4B43-4258-9061-FE57603E109B}"/>
</file>

<file path=customXml/itemProps3.xml><?xml version="1.0" encoding="utf-8"?>
<ds:datastoreItem xmlns:ds="http://schemas.openxmlformats.org/officeDocument/2006/customXml" ds:itemID="{9A4706BA-26B3-4E9A-B718-C1CB0055E960}"/>
</file>

<file path=docProps/app.xml><?xml version="1.0" encoding="utf-8"?>
<Properties xmlns="http://schemas.openxmlformats.org/officeDocument/2006/extended-properties" xmlns:vt="http://schemas.openxmlformats.org/officeDocument/2006/docPropsVTypes">
  <Template/>
  <TotalTime>0</TotalTime>
  <Words>7634</Words>
  <Application>Microsoft Office PowerPoint</Application>
  <PresentationFormat>Bildschirmpräsentation (4:3)</PresentationFormat>
  <Paragraphs>1739</Paragraphs>
  <Slides>101</Slides>
  <Notes>33</Notes>
  <HiddenSlides>3</HiddenSlides>
  <MMClips>0</MMClips>
  <ScaleCrop>false</ScaleCrop>
  <HeadingPairs>
    <vt:vector size="6" baseType="variant">
      <vt:variant>
        <vt:lpstr>Design</vt:lpstr>
      </vt:variant>
      <vt:variant>
        <vt:i4>3</vt:i4>
      </vt:variant>
      <vt:variant>
        <vt:lpstr>Eingebettete OLE-Server</vt:lpstr>
      </vt:variant>
      <vt:variant>
        <vt:i4>2</vt:i4>
      </vt:variant>
      <vt:variant>
        <vt:lpstr>Folientitel</vt:lpstr>
      </vt:variant>
      <vt:variant>
        <vt:i4>101</vt:i4>
      </vt:variant>
    </vt:vector>
  </HeadingPairs>
  <TitlesOfParts>
    <vt:vector size="106" baseType="lpstr">
      <vt:lpstr>XBID Templates</vt:lpstr>
      <vt:lpstr>ACER</vt:lpstr>
      <vt:lpstr>Workshop on Fact Book 260614</vt:lpstr>
      <vt:lpstr>think-cell Folie</vt:lpstr>
      <vt:lpstr>Arbeitsblatt</vt:lpstr>
      <vt:lpstr>  Cross Border Intraday (XBID) Trading Solution Pre-launch Event </vt:lpstr>
      <vt:lpstr>Welcome to the  Cross Border Intraday (XBID) Trading Solution Pre-launch Event </vt:lpstr>
      <vt:lpstr>Agenda</vt:lpstr>
      <vt:lpstr>Agenda        10:40-11:00</vt:lpstr>
      <vt:lpstr>Key note speech </vt:lpstr>
      <vt:lpstr>Agenda        11:00-11:20</vt:lpstr>
      <vt:lpstr>Overview of XBID Project</vt:lpstr>
      <vt:lpstr>What is XBID?</vt:lpstr>
      <vt:lpstr>Benefits delivered by XBID</vt:lpstr>
      <vt:lpstr>Intra-day versus Day-ahead  – What are the challenges?</vt:lpstr>
      <vt:lpstr>XBID complexity</vt:lpstr>
      <vt:lpstr>Project Approach</vt:lpstr>
      <vt:lpstr>Key Project Historical Milestones</vt:lpstr>
      <vt:lpstr>And the Delivery Plan until Go-Live … </vt:lpstr>
      <vt:lpstr>Countries coupled Intraday with XBID Go-Live</vt:lpstr>
      <vt:lpstr>Project parties</vt:lpstr>
      <vt:lpstr>Agenda        11:20-12:00</vt:lpstr>
      <vt:lpstr>The XBID matching solution</vt:lpstr>
      <vt:lpstr>XBID - Trading Solution</vt:lpstr>
      <vt:lpstr>XBID – High Level Architecture</vt:lpstr>
      <vt:lpstr>XBID – Architecture</vt:lpstr>
      <vt:lpstr>XBID – CMM. Capacity Management Module </vt:lpstr>
      <vt:lpstr>XBID – CMM. Capacity Management Module </vt:lpstr>
      <vt:lpstr>XBID – CMM. Market Area / Delivery Area</vt:lpstr>
      <vt:lpstr>XBID – CMM. Interconnectors and borders</vt:lpstr>
      <vt:lpstr>XBID – CMM. Topology Example</vt:lpstr>
      <vt:lpstr>XBID – CMM. Process</vt:lpstr>
      <vt:lpstr>XBID – Relation between products, contracts, delivery and market areas</vt:lpstr>
      <vt:lpstr>XBID – Contract Life Cycle</vt:lpstr>
      <vt:lpstr>XBID – SOB</vt:lpstr>
      <vt:lpstr>XBID – SOB. Order Book Update</vt:lpstr>
      <vt:lpstr>XBID – SOB. Local View Calculation</vt:lpstr>
      <vt:lpstr>XBID – SOB. Cross Border Routing</vt:lpstr>
      <vt:lpstr>XBID – SOB. Local View Update based on ATC</vt:lpstr>
      <vt:lpstr>XBID – SOB. Matching Process</vt:lpstr>
      <vt:lpstr>XBID - Shipping Module</vt:lpstr>
      <vt:lpstr>XBID - Shipping Module </vt:lpstr>
      <vt:lpstr>Agenda        12:00-12:15</vt:lpstr>
      <vt:lpstr>Overview of borders, market areas &amp; products</vt:lpstr>
      <vt:lpstr>PowerPoint-Präsentation</vt:lpstr>
      <vt:lpstr>1. Overview of established Market Areas as part of the 1st go-live</vt:lpstr>
      <vt:lpstr>2. Products offered in the XBID solution A. Overview</vt:lpstr>
      <vt:lpstr>2. Products offered in the XBID solution B. Details</vt:lpstr>
      <vt:lpstr>2. Products offered in the XBID solution C. Order types</vt:lpstr>
      <vt:lpstr>3. Contract life cycle for a Market Area (MA)</vt:lpstr>
      <vt:lpstr>4. Opening and closing times A. Intra-MA</vt:lpstr>
      <vt:lpstr>4. Opening and closing times B. Cross-MA</vt:lpstr>
      <vt:lpstr>Agenda        12:15-12:40</vt:lpstr>
      <vt:lpstr>Relevant information for market parties from Local Implementation Projects (LIPs)</vt:lpstr>
      <vt:lpstr>Overview TSOs, NEMOs and LIPs part of initial go-live</vt:lpstr>
      <vt:lpstr>Means of cross-zonal capacity allocation</vt:lpstr>
      <vt:lpstr>Granularity offered cross-zonal capacity and imbalance settlement periods</vt:lpstr>
      <vt:lpstr>Gate opening (GOT) and gate closure (GCT) times today</vt:lpstr>
      <vt:lpstr>Gate opening (GOT) and gate closure (GCT) times as of 12.06.2018</vt:lpstr>
      <vt:lpstr>Fallback</vt:lpstr>
      <vt:lpstr>Rollback </vt:lpstr>
      <vt:lpstr>Cross-border trading possibilities for D-1 delivery (tentative)*  1/3</vt:lpstr>
      <vt:lpstr>Cross-border trading possibilities for D-1 delivery (tentative)*  2/3</vt:lpstr>
      <vt:lpstr>Cross-border trading possibilities for D-1 delivery (tentative)*  3/3</vt:lpstr>
      <vt:lpstr>PowerPoint-Präsentation</vt:lpstr>
      <vt:lpstr>PowerPoint-Präsentation</vt:lpstr>
      <vt:lpstr>Agenda        14:00-14:15</vt:lpstr>
      <vt:lpstr>Explicit access on French-German border </vt:lpstr>
      <vt:lpstr>Explicit access on FR-DE border 1-Background - current technical setup before XBID go-live</vt:lpstr>
      <vt:lpstr>Explicit access on FR-DE border 2-Background - current contractual setup before XBID go-live</vt:lpstr>
      <vt:lpstr>Explicit access on FR-DE border 3.1-New technical setup with XBID</vt:lpstr>
      <vt:lpstr>Explicit access on FR-DE border 3.2-Requests type</vt:lpstr>
      <vt:lpstr>Explicit access on FR-DE border 4-Path towards go-live</vt:lpstr>
      <vt:lpstr>Explicit access on FR-DE border 5-New contractual setup with XBID</vt:lpstr>
      <vt:lpstr>Agenda        14:15-14:30</vt:lpstr>
      <vt:lpstr>XBID Pre-launch event   Johan Roupe Energimarknadsinpektionen </vt:lpstr>
      <vt:lpstr>XBID Pre-launch</vt:lpstr>
      <vt:lpstr>Agenda        14:30-14:50</vt:lpstr>
      <vt:lpstr>Deutsche Börse’ trading solution provider </vt:lpstr>
      <vt:lpstr>Deutsche Börse Group </vt:lpstr>
      <vt:lpstr>PowerPoint-Präsentation</vt:lpstr>
      <vt:lpstr>PowerPoint-Präsentation</vt:lpstr>
      <vt:lpstr>PowerPoint-Präsentation</vt:lpstr>
      <vt:lpstr>XBID’s Technical Architecture </vt:lpstr>
      <vt:lpstr>XBID’s Focus on Reliability </vt:lpstr>
      <vt:lpstr>PowerPoint-Präsentation</vt:lpstr>
      <vt:lpstr>XBID’s Joint Quality Assurance Process </vt:lpstr>
      <vt:lpstr>Thank You!</vt:lpstr>
      <vt:lpstr>Agenda        14:50-15:15</vt:lpstr>
      <vt:lpstr>Member’s trial period, go-live plan and next steps for readiness </vt:lpstr>
      <vt:lpstr>PowerPoint-Präsentation</vt:lpstr>
      <vt:lpstr>Market Trial (1) </vt:lpstr>
      <vt:lpstr>Market Trial (2) </vt:lpstr>
      <vt:lpstr>Market Trial (3) </vt:lpstr>
      <vt:lpstr>2. Go-live sequence </vt:lpstr>
      <vt:lpstr>3. Summary </vt:lpstr>
      <vt:lpstr>Agenda        15:15-15:30</vt:lpstr>
      <vt:lpstr>Future plan for XBID</vt:lpstr>
      <vt:lpstr>XBID Go-live…….. is just the beginning!</vt:lpstr>
      <vt:lpstr>1. Enhance and improve XBID usability </vt:lpstr>
      <vt:lpstr>2. 2nd Wave of LIPs </vt:lpstr>
      <vt:lpstr>3. Illustrative “Shorter Term” changes. Sequence must be prioritised/agreed with stakeholders</vt:lpstr>
      <vt:lpstr>4. XBID Strategic Roadmap – Illustrative “Longer Term” sequence of developments to be prioritised/agreed with stakeholders</vt:lpstr>
      <vt:lpstr>XBID Governance</vt:lpstr>
      <vt:lpstr>PowerPoint-Präsentation</vt:lpstr>
      <vt:lpstr>Thank you very much for your attention!   We will send you a copy of today’s slides  You are welcome to stay for the get together 16:00-17:00  A safe journey home…</vt:lpstr>
    </vt:vector>
  </TitlesOfParts>
  <Company>APX-ENDEX/Belpex</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oss Border Intraday (XBID) Trading Solution Pre-launch Event</dc:title>
  <dc:creator>Dornick, Susanne</dc:creator>
  <cp:lastModifiedBy>Dornick, Susanne</cp:lastModifiedBy>
  <cp:revision>2554</cp:revision>
  <cp:lastPrinted>2012-11-12T07:39:19Z</cp:lastPrinted>
  <dcterms:created xsi:type="dcterms:W3CDTF">2012-03-01T10:29:33Z</dcterms:created>
  <dcterms:modified xsi:type="dcterms:W3CDTF">2018-01-31T13:4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DDFD41AEF010449D0D055600B60DC5</vt:lpwstr>
  </property>
</Properties>
</file>